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ags/tag1.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 id="2147483738" r:id="rId2"/>
    <p:sldMasterId id="2147483783" r:id="rId3"/>
  </p:sldMasterIdLst>
  <p:notesMasterIdLst>
    <p:notesMasterId r:id="rId11"/>
  </p:notesMasterIdLst>
  <p:sldIdLst>
    <p:sldId id="263" r:id="rId4"/>
    <p:sldId id="257" r:id="rId5"/>
    <p:sldId id="259" r:id="rId6"/>
    <p:sldId id="265" r:id="rId7"/>
    <p:sldId id="266" r:id="rId8"/>
    <p:sldId id="260" r:id="rId9"/>
    <p:sldId id="262"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972" autoAdjust="0"/>
    <p:restoredTop sz="94660"/>
  </p:normalViewPr>
  <p:slideViewPr>
    <p:cSldViewPr snapToGrid="0">
      <p:cViewPr varScale="1">
        <p:scale>
          <a:sx n="57" d="100"/>
          <a:sy n="57" d="100"/>
        </p:scale>
        <p:origin x="156" y="12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viewProps" Target="viewProp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presProps" Target="presProps.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notesMaster" Target="notesMasters/notesMaster1.xml"/><Relationship Id="rId5" Type="http://schemas.openxmlformats.org/officeDocument/2006/relationships/slide" Target="slides/slide2.xml"/><Relationship Id="rId15" Type="http://schemas.openxmlformats.org/officeDocument/2006/relationships/tableStyles" Target="tableStyles.xml"/><Relationship Id="rId10" Type="http://schemas.openxmlformats.org/officeDocument/2006/relationships/slide" Target="slides/slide7.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E56183F-D8B4-4ACF-87A0-B61DA56951F2}" type="datetimeFigureOut">
              <a:t>4/28/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60445F8-8905-4300-87E7-6C5F862A0EF4}" type="slidenum">
              <a:t>‹#›</a:t>
            </a:fld>
            <a:endParaRPr lang="en-US"/>
          </a:p>
        </p:txBody>
      </p:sp>
    </p:spTree>
    <p:extLst>
      <p:ext uri="{BB962C8B-B14F-4D97-AF65-F5344CB8AC3E}">
        <p14:creationId xmlns:p14="http://schemas.microsoft.com/office/powerpoint/2010/main" val="40054381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B9B3027-B0AE-47F6-A1F3-C27C8BDFA60B}" type="slidenum">
              <a:rPr lang="en-CA" smtClean="0"/>
              <a:t>1</a:t>
            </a:fld>
            <a:endParaRPr lang="en-CA"/>
          </a:p>
        </p:txBody>
      </p:sp>
    </p:spTree>
    <p:extLst>
      <p:ext uri="{BB962C8B-B14F-4D97-AF65-F5344CB8AC3E}">
        <p14:creationId xmlns:p14="http://schemas.microsoft.com/office/powerpoint/2010/main" val="412243336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4.svg"/><Relationship Id="rId4" Type="http://schemas.openxmlformats.org/officeDocument/2006/relationships/image" Target="../media/image3.png"/><Relationship Id="rId9" Type="http://schemas.openxmlformats.org/officeDocument/2006/relationships/image" Target="../media/image17.svg"/></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3.xml"/><Relationship Id="rId6" Type="http://schemas.openxmlformats.org/officeDocument/2006/relationships/image" Target="../media/image8.pn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3.xml"/><Relationship Id="rId6" Type="http://schemas.openxmlformats.org/officeDocument/2006/relationships/image" Target="../media/image8.png"/><Relationship Id="rId5" Type="http://schemas.openxmlformats.org/officeDocument/2006/relationships/image" Target="../media/image5.png"/><Relationship Id="rId4" Type="http://schemas.openxmlformats.org/officeDocument/2006/relationships/image" Target="../media/image4.svg"/></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8.png"/><Relationship Id="rId1" Type="http://schemas.openxmlformats.org/officeDocument/2006/relationships/slideMaster" Target="../slideMasters/slideMaster3.xml"/><Relationship Id="rId6" Type="http://schemas.openxmlformats.org/officeDocument/2006/relationships/image" Target="../media/image10.png"/><Relationship Id="rId5" Type="http://schemas.openxmlformats.org/officeDocument/2006/relationships/image" Target="../media/image6.png"/><Relationship Id="rId4" Type="http://schemas.openxmlformats.org/officeDocument/2006/relationships/image" Target="../media/image4.svg"/></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10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13.png"/><Relationship Id="rId5" Type="http://schemas.openxmlformats.org/officeDocument/2006/relationships/image" Target="../media/image4.svg"/><Relationship Id="rId4" Type="http://schemas.openxmlformats.org/officeDocument/2006/relationships/image" Target="../media/image36.png"/><Relationship Id="rId9" Type="http://schemas.openxmlformats.org/officeDocument/2006/relationships/image" Target="../media/image16.svg"/></Relationships>
</file>

<file path=ppt/slideLayouts/_rels/slideLayout105.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13.png"/><Relationship Id="rId5" Type="http://schemas.openxmlformats.org/officeDocument/2006/relationships/image" Target="../media/image4.svg"/><Relationship Id="rId4" Type="http://schemas.openxmlformats.org/officeDocument/2006/relationships/image" Target="../media/image36.png"/><Relationship Id="rId9" Type="http://schemas.openxmlformats.org/officeDocument/2006/relationships/image" Target="../media/image17.svg"/></Relationships>
</file>

<file path=ppt/slideLayouts/_rels/slideLayout106.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13.png"/><Relationship Id="rId5" Type="http://schemas.openxmlformats.org/officeDocument/2006/relationships/image" Target="../media/image4.svg"/><Relationship Id="rId4" Type="http://schemas.openxmlformats.org/officeDocument/2006/relationships/image" Target="../media/image36.png"/><Relationship Id="rId9" Type="http://schemas.openxmlformats.org/officeDocument/2006/relationships/image" Target="../media/image17.svg"/></Relationships>
</file>

<file path=ppt/slideLayouts/_rels/slideLayout10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13.png"/><Relationship Id="rId5" Type="http://schemas.openxmlformats.org/officeDocument/2006/relationships/image" Target="../media/image4.svg"/><Relationship Id="rId4" Type="http://schemas.openxmlformats.org/officeDocument/2006/relationships/image" Target="../media/image36.png"/><Relationship Id="rId9" Type="http://schemas.openxmlformats.org/officeDocument/2006/relationships/image" Target="../media/image17.svg"/></Relationships>
</file>

<file path=ppt/slideLayouts/_rels/slideLayout10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13.png"/><Relationship Id="rId5" Type="http://schemas.openxmlformats.org/officeDocument/2006/relationships/image" Target="../media/image4.svg"/><Relationship Id="rId4" Type="http://schemas.openxmlformats.org/officeDocument/2006/relationships/image" Target="../media/image36.png"/><Relationship Id="rId9" Type="http://schemas.openxmlformats.org/officeDocument/2006/relationships/image" Target="../media/image17.svg"/></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6.png"/><Relationship Id="rId4" Type="http://schemas.openxmlformats.org/officeDocument/2006/relationships/image" Target="../media/image12.png"/></Relationships>
</file>

<file path=ppt/slideLayouts/_rels/slideLayout1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4.svg"/><Relationship Id="rId4" Type="http://schemas.openxmlformats.org/officeDocument/2006/relationships/image" Target="../media/image3.png"/><Relationship Id="rId9" Type="http://schemas.openxmlformats.org/officeDocument/2006/relationships/image" Target="../media/image17.svg"/></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6.png"/><Relationship Id="rId4" Type="http://schemas.openxmlformats.org/officeDocument/2006/relationships/image" Target="../media/image12.png"/></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6.png"/><Relationship Id="rId4" Type="http://schemas.openxmlformats.org/officeDocument/2006/relationships/image" Target="../media/image12.png"/></Relationships>
</file>

<file path=ppt/slideLayouts/_rels/slideLayout112.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19.png"/><Relationship Id="rId7" Type="http://schemas.openxmlformats.org/officeDocument/2006/relationships/image" Target="../media/image11.png"/><Relationship Id="rId2"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6.png"/><Relationship Id="rId10" Type="http://schemas.openxmlformats.org/officeDocument/2006/relationships/image" Target="../media/image14.png"/><Relationship Id="rId4" Type="http://schemas.openxmlformats.org/officeDocument/2006/relationships/image" Target="../media/image12.png"/><Relationship Id="rId9" Type="http://schemas.openxmlformats.org/officeDocument/2006/relationships/image" Target="../media/image17.svg"/></Relationships>
</file>

<file path=ppt/slideLayouts/_rels/slideLayout113.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9.png"/><Relationship Id="rId7" Type="http://schemas.openxmlformats.org/officeDocument/2006/relationships/image" Target="../media/image20.png"/><Relationship Id="rId2" Type="http://schemas.openxmlformats.org/officeDocument/2006/relationships/image" Target="../media/image18.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6.png"/><Relationship Id="rId4" Type="http://schemas.openxmlformats.org/officeDocument/2006/relationships/image" Target="../media/image12.png"/></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19.png"/><Relationship Id="rId2" Type="http://schemas.openxmlformats.org/officeDocument/2006/relationships/image" Target="../media/image22.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6.png"/><Relationship Id="rId4" Type="http://schemas.openxmlformats.org/officeDocument/2006/relationships/image" Target="../media/image12.png"/></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37.pn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 Id="rId9" Type="http://schemas.openxmlformats.org/officeDocument/2006/relationships/image" Target="../media/image14.png"/></Relationships>
</file>

<file path=ppt/slideLayouts/_rels/slideLayout116.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37.pn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 Id="rId9" Type="http://schemas.openxmlformats.org/officeDocument/2006/relationships/image" Target="../media/image14.png"/></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37.pn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 Id="rId9" Type="http://schemas.openxmlformats.org/officeDocument/2006/relationships/image" Target="../media/image14.png"/></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37.pn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 Id="rId9" Type="http://schemas.openxmlformats.org/officeDocument/2006/relationships/image" Target="../media/image14.png"/></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4.svg"/><Relationship Id="rId4" Type="http://schemas.openxmlformats.org/officeDocument/2006/relationships/image" Target="../media/image3.png"/><Relationship Id="rId9" Type="http://schemas.openxmlformats.org/officeDocument/2006/relationships/image" Target="../media/image17.svg"/></Relationships>
</file>

<file path=ppt/slideLayouts/_rels/slideLayout120.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37.pn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 Id="rId9" Type="http://schemas.openxmlformats.org/officeDocument/2006/relationships/image" Target="../media/image14.png"/></Relationships>
</file>

<file path=ppt/slideLayouts/_rels/slideLayout121.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37.png"/><Relationship Id="rId2" Type="http://schemas.openxmlformats.org/officeDocument/2006/relationships/image" Target="../media/image23.png"/><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 Id="rId9" Type="http://schemas.openxmlformats.org/officeDocument/2006/relationships/image" Target="../media/image24.png"/></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37.png"/><Relationship Id="rId2" Type="http://schemas.openxmlformats.org/officeDocument/2006/relationships/image" Target="../media/image23.png"/><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 Id="rId9" Type="http://schemas.openxmlformats.org/officeDocument/2006/relationships/image" Target="../media/image24.png"/></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5.png"/><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6.png"/><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5.png"/><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4.svg"/><Relationship Id="rId4" Type="http://schemas.openxmlformats.org/officeDocument/2006/relationships/image" Target="../media/image3.png"/><Relationship Id="rId9" Type="http://schemas.openxmlformats.org/officeDocument/2006/relationships/image" Target="../media/image17.svg"/></Relationships>
</file>

<file path=ppt/slideLayouts/_rels/slideLayout130.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9.png"/><Relationship Id="rId7" Type="http://schemas.openxmlformats.org/officeDocument/2006/relationships/image" Target="../media/image6.png"/><Relationship Id="rId2" Type="http://schemas.openxmlformats.org/officeDocument/2006/relationships/image" Target="../media/image27.png"/><Relationship Id="rId1" Type="http://schemas.openxmlformats.org/officeDocument/2006/relationships/slideMaster" Target="../slideMasters/slideMaster3.xml"/><Relationship Id="rId6" Type="http://schemas.openxmlformats.org/officeDocument/2006/relationships/image" Target="../media/image4.svg"/><Relationship Id="rId5" Type="http://schemas.openxmlformats.org/officeDocument/2006/relationships/image" Target="../media/image36.png"/><Relationship Id="rId4" Type="http://schemas.openxmlformats.org/officeDocument/2006/relationships/image" Target="../media/image12.png"/></Relationships>
</file>

<file path=ppt/slideLayouts/_rels/slideLayout13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1.png"/><Relationship Id="rId7" Type="http://schemas.openxmlformats.org/officeDocument/2006/relationships/image" Target="../media/image13.png"/><Relationship Id="rId2" Type="http://schemas.openxmlformats.org/officeDocument/2006/relationships/image" Target="../media/image27.png"/><Relationship Id="rId1" Type="http://schemas.openxmlformats.org/officeDocument/2006/relationships/slideMaster" Target="../slideMasters/slideMaster3.xml"/><Relationship Id="rId6" Type="http://schemas.openxmlformats.org/officeDocument/2006/relationships/image" Target="../media/image4.svg"/><Relationship Id="rId11" Type="http://schemas.openxmlformats.org/officeDocument/2006/relationships/image" Target="../media/image14.png"/><Relationship Id="rId5" Type="http://schemas.openxmlformats.org/officeDocument/2006/relationships/image" Target="../media/image36.png"/><Relationship Id="rId10" Type="http://schemas.openxmlformats.org/officeDocument/2006/relationships/image" Target="../media/image17.svg"/><Relationship Id="rId4" Type="http://schemas.openxmlformats.org/officeDocument/2006/relationships/image" Target="../media/image12.png"/><Relationship Id="rId9" Type="http://schemas.openxmlformats.org/officeDocument/2006/relationships/image" Target="../media/image37.png"/></Relationships>
</file>

<file path=ppt/slideLayouts/_rels/slideLayout13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13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134.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37.pn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 Id="rId9" Type="http://schemas.openxmlformats.org/officeDocument/2006/relationships/image" Target="../media/image14.png"/></Relationships>
</file>

<file path=ppt/slideLayouts/_rels/slideLayout135.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37.png"/><Relationship Id="rId2" Type="http://schemas.openxmlformats.org/officeDocument/2006/relationships/image" Target="../media/image11.png"/><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 Id="rId9" Type="http://schemas.openxmlformats.org/officeDocument/2006/relationships/image" Target="../media/image14.png"/></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8.png"/><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9.png"/><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9.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2.png"/></Relationships>
</file>

<file path=ppt/slideLayouts/_rels/slideLayout14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0.png"/><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s>
</file>

<file path=ppt/slideLayouts/_rels/slideLayout141.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12.png"/><Relationship Id="rId7"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s>
</file>

<file path=ppt/slideLayouts/_rels/slideLayout142.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12.png"/><Relationship Id="rId7" Type="http://schemas.openxmlformats.org/officeDocument/2006/relationships/image" Target="../media/image31.png"/><Relationship Id="rId2" Type="http://schemas.openxmlformats.org/officeDocument/2006/relationships/image" Target="../media/image32.png"/><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 Id="rId9" Type="http://schemas.openxmlformats.org/officeDocument/2006/relationships/image" Target="../media/image35.png"/></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12.png"/><Relationship Id="rId7" Type="http://schemas.openxmlformats.org/officeDocument/2006/relationships/image" Target="../media/image31.png"/><Relationship Id="rId2" Type="http://schemas.openxmlformats.org/officeDocument/2006/relationships/image" Target="../media/image32.png"/><Relationship Id="rId1" Type="http://schemas.openxmlformats.org/officeDocument/2006/relationships/slideMaster" Target="../slideMasters/slideMaster3.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s>
</file>

<file path=ppt/slideLayouts/_rels/slideLayout144.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35.png"/><Relationship Id="rId2" Type="http://schemas.openxmlformats.org/officeDocument/2006/relationships/image" Target="../media/image32.png"/><Relationship Id="rId1" Type="http://schemas.openxmlformats.org/officeDocument/2006/relationships/slideMaster" Target="../slideMasters/slideMaster3.xml"/><Relationship Id="rId6" Type="http://schemas.openxmlformats.org/officeDocument/2006/relationships/image" Target="../media/image31.png"/><Relationship Id="rId5" Type="http://schemas.openxmlformats.org/officeDocument/2006/relationships/image" Target="../media/image4.svg"/><Relationship Id="rId4" Type="http://schemas.openxmlformats.org/officeDocument/2006/relationships/image" Target="../media/image36.png"/></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2.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2.png"/></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9.png"/><Relationship Id="rId7" Type="http://schemas.openxmlformats.org/officeDocument/2006/relationships/image" Target="../media/image11.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10" Type="http://schemas.openxmlformats.org/officeDocument/2006/relationships/image" Target="../media/image14.png"/><Relationship Id="rId4" Type="http://schemas.openxmlformats.org/officeDocument/2006/relationships/image" Target="../media/image12.png"/><Relationship Id="rId9" Type="http://schemas.openxmlformats.org/officeDocument/2006/relationships/image" Target="../media/image17.svg"/></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9.png"/><Relationship Id="rId7" Type="http://schemas.openxmlformats.org/officeDocument/2006/relationships/image" Target="../media/image20.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2.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2.png"/><Relationship Id="rId7"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2.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6" Type="http://schemas.openxmlformats.org/officeDocument/2006/relationships/image" Target="../media/image2.png"/><Relationship Id="rId5" Type="http://schemas.openxmlformats.org/officeDocument/2006/relationships/image" Target="../media/image6.pn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5.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png"/><Relationship Id="rId9"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5.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png"/><Relationship Id="rId9" Type="http://schemas.openxmlformats.org/officeDocument/2006/relationships/image" Target="../media/image14.png"/></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5.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png"/><Relationship Id="rId9" Type="http://schemas.openxmlformats.org/officeDocument/2006/relationships/image" Target="../media/image14.png"/></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5.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png"/><Relationship Id="rId9" Type="http://schemas.openxmlformats.org/officeDocument/2006/relationships/image" Target="../media/image1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5.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png"/><Relationship Id="rId9" Type="http://schemas.openxmlformats.org/officeDocument/2006/relationships/image" Target="../media/image14.png"/></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5.png"/><Relationship Id="rId2" Type="http://schemas.openxmlformats.org/officeDocument/2006/relationships/image" Target="../media/image23.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png"/><Relationship Id="rId9" Type="http://schemas.openxmlformats.org/officeDocument/2006/relationships/image" Target="../media/image24.png"/></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5.png"/><Relationship Id="rId2" Type="http://schemas.openxmlformats.org/officeDocument/2006/relationships/image" Target="../media/image23.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png"/><Relationship Id="rId9" Type="http://schemas.openxmlformats.org/officeDocument/2006/relationships/image" Target="../media/image24.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5.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6.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6.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9.png"/><Relationship Id="rId7" Type="http://schemas.openxmlformats.org/officeDocument/2006/relationships/image" Target="../media/image6.png"/><Relationship Id="rId2" Type="http://schemas.openxmlformats.org/officeDocument/2006/relationships/image" Target="../media/image27.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2.png"/></Relationships>
</file>

<file path=ppt/slideLayouts/_rels/slideLayout3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1.png"/><Relationship Id="rId7" Type="http://schemas.openxmlformats.org/officeDocument/2006/relationships/image" Target="../media/image13.png"/><Relationship Id="rId2" Type="http://schemas.openxmlformats.org/officeDocument/2006/relationships/image" Target="../media/image27.png"/><Relationship Id="rId1" Type="http://schemas.openxmlformats.org/officeDocument/2006/relationships/slideMaster" Target="../slideMasters/slideMaster1.xml"/><Relationship Id="rId6" Type="http://schemas.openxmlformats.org/officeDocument/2006/relationships/image" Target="../media/image4.svg"/><Relationship Id="rId11" Type="http://schemas.openxmlformats.org/officeDocument/2006/relationships/image" Target="../media/image14.png"/><Relationship Id="rId5" Type="http://schemas.openxmlformats.org/officeDocument/2006/relationships/image" Target="../media/image3.png"/><Relationship Id="rId10" Type="http://schemas.openxmlformats.org/officeDocument/2006/relationships/image" Target="../media/image17.svg"/><Relationship Id="rId4" Type="http://schemas.openxmlformats.org/officeDocument/2006/relationships/image" Target="../media/image12.png"/><Relationship Id="rId9" Type="http://schemas.openxmlformats.org/officeDocument/2006/relationships/image" Target="../media/image15.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5.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png"/><Relationship Id="rId9" Type="http://schemas.openxmlformats.org/officeDocument/2006/relationships/image" Target="../media/image14.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5.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png"/><Relationship Id="rId9" Type="http://schemas.openxmlformats.org/officeDocument/2006/relationships/image" Target="../media/image14.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9.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0.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46.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30.png"/><Relationship Id="rId7"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2.png"/></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32.png"/><Relationship Id="rId7" Type="http://schemas.openxmlformats.org/officeDocument/2006/relationships/image" Target="../media/image6.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2.png"/><Relationship Id="rId9" Type="http://schemas.openxmlformats.org/officeDocument/2006/relationships/image" Target="../media/image33.jpeg"/></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12.png"/><Relationship Id="rId7" Type="http://schemas.openxmlformats.org/officeDocument/2006/relationships/image" Target="../media/image31.png"/><Relationship Id="rId2" Type="http://schemas.openxmlformats.org/officeDocument/2006/relationships/image" Target="../media/image32.png"/><Relationship Id="rId1" Type="http://schemas.openxmlformats.org/officeDocument/2006/relationships/slideMaster" Target="../slideMasters/slideMaster1.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png"/></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1.png"/><Relationship Id="rId2" Type="http://schemas.openxmlformats.org/officeDocument/2006/relationships/image" Target="../media/image2.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2.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5.png"/><Relationship Id="rId4" Type="http://schemas.openxmlformats.org/officeDocument/2006/relationships/image" Target="../media/image4.sv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2.xml"/><Relationship Id="rId5" Type="http://schemas.openxmlformats.org/officeDocument/2006/relationships/image" Target="../media/image6.png"/><Relationship Id="rId4" Type="http://schemas.openxmlformats.org/officeDocument/2006/relationships/image" Target="../media/image4.svg"/></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 Id="rId6" Type="http://schemas.openxmlformats.org/officeDocument/2006/relationships/image" Target="../media/image8.png"/><Relationship Id="rId5" Type="http://schemas.openxmlformats.org/officeDocument/2006/relationships/image" Target="../media/image5.png"/><Relationship Id="rId4" Type="http://schemas.openxmlformats.org/officeDocument/2006/relationships/image" Target="../media/image4.svg"/></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6.png"/><Relationship Id="rId7"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2.xml"/><Relationship Id="rId6" Type="http://schemas.openxmlformats.org/officeDocument/2006/relationships/image" Target="../media/image8.png"/><Relationship Id="rId5" Type="http://schemas.openxmlformats.org/officeDocument/2006/relationships/image" Target="../media/image5.png"/><Relationship Id="rId4" Type="http://schemas.openxmlformats.org/officeDocument/2006/relationships/image" Target="../media/image4.sv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10.png"/><Relationship Id="rId5" Type="http://schemas.openxmlformats.org/officeDocument/2006/relationships/image" Target="../media/image6.png"/><Relationship Id="rId4" Type="http://schemas.openxmlformats.org/officeDocument/2006/relationships/image" Target="../media/image4.sv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13.png"/><Relationship Id="rId5" Type="http://schemas.openxmlformats.org/officeDocument/2006/relationships/image" Target="../media/image4.svg"/><Relationship Id="rId4" Type="http://schemas.openxmlformats.org/officeDocument/2006/relationships/image" Target="../media/image36.png"/><Relationship Id="rId9" Type="http://schemas.openxmlformats.org/officeDocument/2006/relationships/image" Target="../media/image16.svg"/></Relationships>
</file>

<file path=ppt/slideLayouts/_rels/slideLayout5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13.png"/><Relationship Id="rId5" Type="http://schemas.openxmlformats.org/officeDocument/2006/relationships/image" Target="../media/image4.svg"/><Relationship Id="rId4" Type="http://schemas.openxmlformats.org/officeDocument/2006/relationships/image" Target="../media/image36.png"/><Relationship Id="rId9" Type="http://schemas.openxmlformats.org/officeDocument/2006/relationships/image" Target="../media/image17.svg"/></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13.png"/><Relationship Id="rId5" Type="http://schemas.openxmlformats.org/officeDocument/2006/relationships/image" Target="../media/image4.svg"/><Relationship Id="rId4" Type="http://schemas.openxmlformats.org/officeDocument/2006/relationships/image" Target="../media/image36.png"/><Relationship Id="rId9" Type="http://schemas.openxmlformats.org/officeDocument/2006/relationships/image" Target="../media/image17.svg"/></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13.png"/><Relationship Id="rId5" Type="http://schemas.openxmlformats.org/officeDocument/2006/relationships/image" Target="../media/image4.svg"/><Relationship Id="rId4" Type="http://schemas.openxmlformats.org/officeDocument/2006/relationships/image" Target="../media/image36.png"/><Relationship Id="rId9" Type="http://schemas.openxmlformats.org/officeDocument/2006/relationships/image" Target="../media/image17.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1.xml"/><Relationship Id="rId6" Type="http://schemas.openxmlformats.org/officeDocument/2006/relationships/image" Target="../media/image8.png"/><Relationship Id="rId5" Type="http://schemas.openxmlformats.org/officeDocument/2006/relationships/image" Target="../media/image5.png"/><Relationship Id="rId4" Type="http://schemas.openxmlformats.org/officeDocument/2006/relationships/image" Target="../media/image4.svg"/></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13.png"/><Relationship Id="rId5" Type="http://schemas.openxmlformats.org/officeDocument/2006/relationships/image" Target="../media/image4.svg"/><Relationship Id="rId4" Type="http://schemas.openxmlformats.org/officeDocument/2006/relationships/image" Target="../media/image36.png"/><Relationship Id="rId9" Type="http://schemas.openxmlformats.org/officeDocument/2006/relationships/image" Target="../media/image17.svg"/></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image" Target="../media/image4.svg"/><Relationship Id="rId5" Type="http://schemas.openxmlformats.org/officeDocument/2006/relationships/image" Target="../media/image36.png"/><Relationship Id="rId4" Type="http://schemas.openxmlformats.org/officeDocument/2006/relationships/image" Target="../media/image12.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image" Target="../media/image4.svg"/><Relationship Id="rId5" Type="http://schemas.openxmlformats.org/officeDocument/2006/relationships/image" Target="../media/image36.png"/><Relationship Id="rId4" Type="http://schemas.openxmlformats.org/officeDocument/2006/relationships/image" Target="../media/image12.png"/></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image" Target="../media/image4.svg"/><Relationship Id="rId5" Type="http://schemas.openxmlformats.org/officeDocument/2006/relationships/image" Target="../media/image36.png"/><Relationship Id="rId4" Type="http://schemas.openxmlformats.org/officeDocument/2006/relationships/image" Target="../media/image12.png"/></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19.png"/><Relationship Id="rId7" Type="http://schemas.openxmlformats.org/officeDocument/2006/relationships/image" Target="../media/image11.pn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image" Target="../media/image4.svg"/><Relationship Id="rId5" Type="http://schemas.openxmlformats.org/officeDocument/2006/relationships/image" Target="../media/image36.png"/><Relationship Id="rId10" Type="http://schemas.openxmlformats.org/officeDocument/2006/relationships/image" Target="../media/image14.png"/><Relationship Id="rId4" Type="http://schemas.openxmlformats.org/officeDocument/2006/relationships/image" Target="../media/image12.png"/><Relationship Id="rId9" Type="http://schemas.openxmlformats.org/officeDocument/2006/relationships/image" Target="../media/image17.svg"/></Relationships>
</file>

<file path=ppt/slideLayouts/_rels/slideLayout65.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9.png"/><Relationship Id="rId7" Type="http://schemas.openxmlformats.org/officeDocument/2006/relationships/image" Target="../media/image20.png"/><Relationship Id="rId2" Type="http://schemas.openxmlformats.org/officeDocument/2006/relationships/image" Target="../media/image18.png"/><Relationship Id="rId1" Type="http://schemas.openxmlformats.org/officeDocument/2006/relationships/slideMaster" Target="../slideMasters/slideMaster2.xml"/><Relationship Id="rId6" Type="http://schemas.openxmlformats.org/officeDocument/2006/relationships/image" Target="../media/image4.svg"/><Relationship Id="rId5" Type="http://schemas.openxmlformats.org/officeDocument/2006/relationships/image" Target="../media/image36.png"/><Relationship Id="rId4" Type="http://schemas.openxmlformats.org/officeDocument/2006/relationships/image" Target="../media/image12.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19.png"/><Relationship Id="rId2" Type="http://schemas.openxmlformats.org/officeDocument/2006/relationships/image" Target="../media/image22.png"/><Relationship Id="rId1" Type="http://schemas.openxmlformats.org/officeDocument/2006/relationships/slideMaster" Target="../slideMasters/slideMaster2.xml"/><Relationship Id="rId6" Type="http://schemas.openxmlformats.org/officeDocument/2006/relationships/image" Target="../media/image4.svg"/><Relationship Id="rId5" Type="http://schemas.openxmlformats.org/officeDocument/2006/relationships/image" Target="../media/image36.png"/><Relationship Id="rId4" Type="http://schemas.openxmlformats.org/officeDocument/2006/relationships/image" Target="../media/image12.png"/></Relationships>
</file>

<file path=ppt/slideLayouts/_rels/slideLayout67.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37.pn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 Id="rId9" Type="http://schemas.openxmlformats.org/officeDocument/2006/relationships/image" Target="../media/image14.png"/></Relationships>
</file>

<file path=ppt/slideLayouts/_rels/slideLayout68.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37.pn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 Id="rId9" Type="http://schemas.openxmlformats.org/officeDocument/2006/relationships/image" Target="../media/image14.png"/></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37.pn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 Id="rId9" Type="http://schemas.openxmlformats.org/officeDocument/2006/relationships/image" Target="../media/image14.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0.png"/><Relationship Id="rId5" Type="http://schemas.openxmlformats.org/officeDocument/2006/relationships/image" Target="../media/image6.png"/><Relationship Id="rId4" Type="http://schemas.openxmlformats.org/officeDocument/2006/relationships/image" Target="../media/image4.svg"/></Relationships>
</file>

<file path=ppt/slideLayouts/_rels/slideLayout70.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37.pn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 Id="rId9" Type="http://schemas.openxmlformats.org/officeDocument/2006/relationships/image" Target="../media/image14.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72.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37.pn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 Id="rId9" Type="http://schemas.openxmlformats.org/officeDocument/2006/relationships/image" Target="../media/image14.png"/></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37.png"/><Relationship Id="rId2" Type="http://schemas.openxmlformats.org/officeDocument/2006/relationships/image" Target="../media/image23.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 Id="rId9" Type="http://schemas.openxmlformats.org/officeDocument/2006/relationships/image" Target="../media/image24.png"/></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37.png"/><Relationship Id="rId2" Type="http://schemas.openxmlformats.org/officeDocument/2006/relationships/image" Target="../media/image23.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 Id="rId9" Type="http://schemas.openxmlformats.org/officeDocument/2006/relationships/image" Target="../media/image24.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5.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6.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5.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82.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9.png"/><Relationship Id="rId7" Type="http://schemas.openxmlformats.org/officeDocument/2006/relationships/image" Target="../media/image6.png"/><Relationship Id="rId2" Type="http://schemas.openxmlformats.org/officeDocument/2006/relationships/image" Target="../media/image27.png"/><Relationship Id="rId1" Type="http://schemas.openxmlformats.org/officeDocument/2006/relationships/slideMaster" Target="../slideMasters/slideMaster2.xml"/><Relationship Id="rId6" Type="http://schemas.openxmlformats.org/officeDocument/2006/relationships/image" Target="../media/image4.svg"/><Relationship Id="rId5" Type="http://schemas.openxmlformats.org/officeDocument/2006/relationships/image" Target="../media/image36.png"/><Relationship Id="rId4" Type="http://schemas.openxmlformats.org/officeDocument/2006/relationships/image" Target="../media/image12.png"/></Relationships>
</file>

<file path=ppt/slideLayouts/_rels/slideLayout8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11.png"/><Relationship Id="rId7" Type="http://schemas.openxmlformats.org/officeDocument/2006/relationships/image" Target="../media/image13.png"/><Relationship Id="rId2" Type="http://schemas.openxmlformats.org/officeDocument/2006/relationships/image" Target="../media/image27.png"/><Relationship Id="rId1" Type="http://schemas.openxmlformats.org/officeDocument/2006/relationships/slideMaster" Target="../slideMasters/slideMaster2.xml"/><Relationship Id="rId6" Type="http://schemas.openxmlformats.org/officeDocument/2006/relationships/image" Target="../media/image4.svg"/><Relationship Id="rId11" Type="http://schemas.openxmlformats.org/officeDocument/2006/relationships/image" Target="../media/image14.png"/><Relationship Id="rId5" Type="http://schemas.openxmlformats.org/officeDocument/2006/relationships/image" Target="../media/image36.png"/><Relationship Id="rId10" Type="http://schemas.openxmlformats.org/officeDocument/2006/relationships/image" Target="../media/image17.svg"/><Relationship Id="rId4" Type="http://schemas.openxmlformats.org/officeDocument/2006/relationships/image" Target="../media/image12.png"/><Relationship Id="rId9" Type="http://schemas.openxmlformats.org/officeDocument/2006/relationships/image" Target="../media/image37.png"/></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36.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86.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37.pn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 Id="rId9" Type="http://schemas.openxmlformats.org/officeDocument/2006/relationships/image" Target="../media/image14.png"/></Relationships>
</file>

<file path=ppt/slideLayouts/_rels/slideLayout87.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37.png"/><Relationship Id="rId2" Type="http://schemas.openxmlformats.org/officeDocument/2006/relationships/image" Target="../media/image11.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 Id="rId9" Type="http://schemas.openxmlformats.org/officeDocument/2006/relationships/image" Target="../media/image14.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8.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2.png"/><Relationship Id="rId7" Type="http://schemas.openxmlformats.org/officeDocument/2006/relationships/image" Target="../media/image14.png"/><Relationship Id="rId2" Type="http://schemas.openxmlformats.org/officeDocument/2006/relationships/image" Target="../media/image11.png"/><Relationship Id="rId1" Type="http://schemas.openxmlformats.org/officeDocument/2006/relationships/slideMaster" Target="../slideMasters/slideMaster1.xml"/><Relationship Id="rId6" Type="http://schemas.openxmlformats.org/officeDocument/2006/relationships/image" Target="../media/image13.png"/><Relationship Id="rId5" Type="http://schemas.openxmlformats.org/officeDocument/2006/relationships/image" Target="../media/image4.svg"/><Relationship Id="rId4" Type="http://schemas.openxmlformats.org/officeDocument/2006/relationships/image" Target="../media/image3.png"/><Relationship Id="rId9" Type="http://schemas.openxmlformats.org/officeDocument/2006/relationships/image" Target="../media/image16.svg"/></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9.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0.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s>
</file>

<file path=ppt/slideLayouts/_rels/slideLayout93.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12.png"/><Relationship Id="rId7" Type="http://schemas.openxmlformats.org/officeDocument/2006/relationships/image" Target="../media/image31.png"/><Relationship Id="rId2" Type="http://schemas.openxmlformats.org/officeDocument/2006/relationships/image" Target="../media/image30.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s>
</file>

<file path=ppt/slideLayouts/_rels/slideLayout94.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12.png"/><Relationship Id="rId7" Type="http://schemas.openxmlformats.org/officeDocument/2006/relationships/image" Target="../media/image31.png"/><Relationship Id="rId2" Type="http://schemas.openxmlformats.org/officeDocument/2006/relationships/image" Target="../media/image32.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 Id="rId9" Type="http://schemas.openxmlformats.org/officeDocument/2006/relationships/image" Target="../media/image35.png"/></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12.png"/><Relationship Id="rId7" Type="http://schemas.openxmlformats.org/officeDocument/2006/relationships/image" Target="../media/image31.png"/><Relationship Id="rId2" Type="http://schemas.openxmlformats.org/officeDocument/2006/relationships/image" Target="../media/image32.png"/><Relationship Id="rId1" Type="http://schemas.openxmlformats.org/officeDocument/2006/relationships/slideMaster" Target="../slideMasters/slideMaster2.xml"/><Relationship Id="rId6" Type="http://schemas.openxmlformats.org/officeDocument/2006/relationships/image" Target="../media/image6.png"/><Relationship Id="rId5" Type="http://schemas.openxmlformats.org/officeDocument/2006/relationships/image" Target="../media/image4.svg"/><Relationship Id="rId4" Type="http://schemas.openxmlformats.org/officeDocument/2006/relationships/image" Target="../media/image36.png"/></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35.png"/><Relationship Id="rId2" Type="http://schemas.openxmlformats.org/officeDocument/2006/relationships/image" Target="../media/image32.png"/><Relationship Id="rId1" Type="http://schemas.openxmlformats.org/officeDocument/2006/relationships/slideMaster" Target="../slideMasters/slideMaster2.xml"/><Relationship Id="rId6" Type="http://schemas.openxmlformats.org/officeDocument/2006/relationships/image" Target="../media/image31.png"/><Relationship Id="rId5" Type="http://schemas.openxmlformats.org/officeDocument/2006/relationships/image" Target="../media/image4.svg"/><Relationship Id="rId4" Type="http://schemas.openxmlformats.org/officeDocument/2006/relationships/image" Target="../media/image36.pn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Master" Target="../slideMasters/slideMaster3.xml"/><Relationship Id="rId5" Type="http://schemas.openxmlformats.org/officeDocument/2006/relationships/image" Target="../media/image6.png"/><Relationship Id="rId4" Type="http://schemas.openxmlformats.org/officeDocument/2006/relationships/image" Target="../media/image4.svg"/></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Plain, Team Virginia)">
    <p:bg>
      <p:bgPr>
        <a:solidFill>
          <a:schemeClr val="bg1"/>
        </a:solidFill>
        <a:effectLst/>
      </p:bgPr>
    </p:bg>
    <p:spTree>
      <p:nvGrpSpPr>
        <p:cNvPr id="1" name=""/>
        <p:cNvGrpSpPr/>
        <p:nvPr/>
      </p:nvGrpSpPr>
      <p:grpSpPr>
        <a:xfrm>
          <a:off x="0" y="0"/>
          <a:ext cx="0" cy="0"/>
          <a:chOff x="0" y="0"/>
          <a:chExt cx="0" cy="0"/>
        </a:xfrm>
      </p:grpSpPr>
      <p:sp>
        <p:nvSpPr>
          <p:cNvPr id="20" name="Title 7">
            <a:extLst>
              <a:ext uri="{FF2B5EF4-FFF2-40B4-BE49-F238E27FC236}">
                <a16:creationId xmlns:a16="http://schemas.microsoft.com/office/drawing/2014/main" id="{2E4EC4B7-9921-7546-93EE-893BF867304E}"/>
              </a:ext>
            </a:extLst>
          </p:cNvPr>
          <p:cNvSpPr>
            <a:spLocks noGrp="1"/>
          </p:cNvSpPr>
          <p:nvPr>
            <p:ph type="title" hasCustomPrompt="1"/>
          </p:nvPr>
        </p:nvSpPr>
        <p:spPr>
          <a:xfrm>
            <a:off x="575734" y="2357718"/>
            <a:ext cx="9993969" cy="1443370"/>
          </a:xfrm>
        </p:spPr>
        <p:txBody>
          <a:bodyPr anchor="ctr"/>
          <a:lstStyle>
            <a:lvl1pPr>
              <a:defRPr sz="3600">
                <a:solidFill>
                  <a:schemeClr val="accent1"/>
                </a:solidFill>
              </a:defRPr>
            </a:lvl1pPr>
          </a:lstStyle>
          <a:p>
            <a:pPr lvl="0"/>
            <a:r>
              <a:rPr lang="en-US"/>
              <a:t>CLICK TO EDIT PRESENTATION TITLE. ALL CAPS. TWO LINES.</a:t>
            </a:r>
          </a:p>
        </p:txBody>
      </p:sp>
      <p:sp>
        <p:nvSpPr>
          <p:cNvPr id="21" name="Text Placeholder 2">
            <a:extLst>
              <a:ext uri="{FF2B5EF4-FFF2-40B4-BE49-F238E27FC236}">
                <a16:creationId xmlns:a16="http://schemas.microsoft.com/office/drawing/2014/main" id="{CBD7F296-7577-D048-B37A-792AA8CDED6B}"/>
              </a:ext>
            </a:extLst>
          </p:cNvPr>
          <p:cNvSpPr>
            <a:spLocks noGrp="1"/>
          </p:cNvSpPr>
          <p:nvPr>
            <p:ph type="body" sz="quarter" idx="27" hasCustomPrompt="1"/>
          </p:nvPr>
        </p:nvSpPr>
        <p:spPr>
          <a:xfrm>
            <a:off x="575734" y="3813061"/>
            <a:ext cx="4417905" cy="364145"/>
          </a:xfrm>
        </p:spPr>
        <p:txBody>
          <a:bodyPr anchor="ctr"/>
          <a:lstStyle>
            <a:lvl1pPr marL="9525" indent="0">
              <a:buFontTx/>
              <a:buNone/>
              <a:tabLst/>
              <a:defRPr sz="1400" b="0">
                <a:solidFill>
                  <a:srgbClr val="494848"/>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pic>
        <p:nvPicPr>
          <p:cNvPr id="22" name="Graphic 6">
            <a:extLst>
              <a:ext uri="{FF2B5EF4-FFF2-40B4-BE49-F238E27FC236}">
                <a16:creationId xmlns:a16="http://schemas.microsoft.com/office/drawing/2014/main" id="{70287834-F6B6-5348-96B2-DC0931057AB3}"/>
              </a:ext>
            </a:extLst>
          </p:cNvPr>
          <p:cNvPicPr>
            <a:picLocks noChangeAspect="1"/>
          </p:cNvPicPr>
          <p:nvPr userDrawn="1"/>
        </p:nvPicPr>
        <p:blipFill>
          <a:blip r:embed="rId2"/>
          <a:srcRect/>
          <a:stretch/>
        </p:blipFill>
        <p:spPr>
          <a:xfrm>
            <a:off x="575734" y="5985905"/>
            <a:ext cx="2576576" cy="425520"/>
          </a:xfrm>
          <a:prstGeom prst="rect">
            <a:avLst/>
          </a:prstGeom>
        </p:spPr>
      </p:pic>
      <p:sp>
        <p:nvSpPr>
          <p:cNvPr id="19" name="Rectangle 18">
            <a:extLst>
              <a:ext uri="{FF2B5EF4-FFF2-40B4-BE49-F238E27FC236}">
                <a16:creationId xmlns:a16="http://schemas.microsoft.com/office/drawing/2014/main" id="{6A28FBE0-8F8B-5440-B2CE-82E9237F7F31}"/>
              </a:ext>
            </a:extLst>
          </p:cNvPr>
          <p:cNvSpPr/>
          <p:nvPr userDrawn="1"/>
        </p:nvSpPr>
        <p:spPr>
          <a:xfrm>
            <a:off x="-5504" y="0"/>
            <a:ext cx="25146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0099D684-7431-9243-A015-9E9516AD07B7}"/>
              </a:ext>
            </a:extLst>
          </p:cNvPr>
          <p:cNvSpPr/>
          <p:nvPr userDrawn="1"/>
        </p:nvSpPr>
        <p:spPr>
          <a:xfrm>
            <a:off x="145048" y="0"/>
            <a:ext cx="27432" cy="6858000"/>
          </a:xfrm>
          <a:prstGeom prst="rect">
            <a:avLst/>
          </a:prstGeom>
          <a:solidFill>
            <a:srgbClr val="FDB9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 name="Group 1">
            <a:extLst>
              <a:ext uri="{FF2B5EF4-FFF2-40B4-BE49-F238E27FC236}">
                <a16:creationId xmlns:a16="http://schemas.microsoft.com/office/drawing/2014/main" id="{067F8F9B-3F62-6544-AA99-E6A0831B62AD}"/>
              </a:ext>
            </a:extLst>
          </p:cNvPr>
          <p:cNvGrpSpPr/>
          <p:nvPr userDrawn="1"/>
        </p:nvGrpSpPr>
        <p:grpSpPr>
          <a:xfrm>
            <a:off x="-266701" y="2662815"/>
            <a:ext cx="266701" cy="1540292"/>
            <a:chOff x="-266701" y="2662815"/>
            <a:chExt cx="266701" cy="1540292"/>
          </a:xfrm>
        </p:grpSpPr>
        <p:grpSp>
          <p:nvGrpSpPr>
            <p:cNvPr id="29" name="Group 28">
              <a:extLst>
                <a:ext uri="{FF2B5EF4-FFF2-40B4-BE49-F238E27FC236}">
                  <a16:creationId xmlns:a16="http://schemas.microsoft.com/office/drawing/2014/main" id="{AA6BBCE7-F786-454C-B36B-A2DE2ABD7173}"/>
                </a:ext>
              </a:extLst>
            </p:cNvPr>
            <p:cNvGrpSpPr/>
            <p:nvPr userDrawn="1"/>
          </p:nvGrpSpPr>
          <p:grpSpPr>
            <a:xfrm>
              <a:off x="-266701" y="2662815"/>
              <a:ext cx="259365" cy="803868"/>
              <a:chOff x="-256404" y="360363"/>
              <a:chExt cx="251461" cy="692152"/>
            </a:xfrm>
          </p:grpSpPr>
          <p:grpSp>
            <p:nvGrpSpPr>
              <p:cNvPr id="36" name="Group 35">
                <a:extLst>
                  <a:ext uri="{FF2B5EF4-FFF2-40B4-BE49-F238E27FC236}">
                    <a16:creationId xmlns:a16="http://schemas.microsoft.com/office/drawing/2014/main" id="{668D5A4F-11D5-2D46-9B1E-B0A4D60E89ED}"/>
                  </a:ext>
                </a:extLst>
              </p:cNvPr>
              <p:cNvGrpSpPr/>
              <p:nvPr userDrawn="1"/>
            </p:nvGrpSpPr>
            <p:grpSpPr>
              <a:xfrm rot="16200000">
                <a:off x="-476749" y="580708"/>
                <a:ext cx="692152" cy="251461"/>
                <a:chOff x="431800" y="-235792"/>
                <a:chExt cx="4400551" cy="235792"/>
              </a:xfrm>
            </p:grpSpPr>
            <p:cxnSp>
              <p:nvCxnSpPr>
                <p:cNvPr id="38" name="Straight Connector 37">
                  <a:extLst>
                    <a:ext uri="{FF2B5EF4-FFF2-40B4-BE49-F238E27FC236}">
                      <a16:creationId xmlns:a16="http://schemas.microsoft.com/office/drawing/2014/main" id="{44ADE6FE-8DD4-A94B-925E-F1C048668C9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36E0A35-16F0-DA4A-AC96-5A93B33F050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AA662CC8-F045-5145-840F-B8D3F56236C1}"/>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37" name="TextBox 36">
                <a:extLst>
                  <a:ext uri="{FF2B5EF4-FFF2-40B4-BE49-F238E27FC236}">
                    <a16:creationId xmlns:a16="http://schemas.microsoft.com/office/drawing/2014/main" id="{293A5A2C-98DC-BF42-93D5-FA2AC3B230B7}"/>
                  </a:ext>
                </a:extLst>
              </p:cNvPr>
              <p:cNvSpPr txBox="1"/>
              <p:nvPr userDrawn="1"/>
            </p:nvSpPr>
            <p:spPr>
              <a:xfrm rot="16200000">
                <a:off x="-235572" y="662665"/>
                <a:ext cx="209794"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ITLE</a:t>
                </a:r>
              </a:p>
            </p:txBody>
          </p:sp>
        </p:grpSp>
        <p:grpSp>
          <p:nvGrpSpPr>
            <p:cNvPr id="24" name="Group 23">
              <a:extLst>
                <a:ext uri="{FF2B5EF4-FFF2-40B4-BE49-F238E27FC236}">
                  <a16:creationId xmlns:a16="http://schemas.microsoft.com/office/drawing/2014/main" id="{C07B4995-DB1A-0846-97DA-88DBD99069C6}"/>
                </a:ext>
              </a:extLst>
            </p:cNvPr>
            <p:cNvGrpSpPr/>
            <p:nvPr userDrawn="1"/>
          </p:nvGrpSpPr>
          <p:grpSpPr>
            <a:xfrm>
              <a:off x="-251461" y="3788135"/>
              <a:ext cx="251461" cy="414972"/>
              <a:chOff x="-256404" y="360363"/>
              <a:chExt cx="251461" cy="692152"/>
            </a:xfrm>
          </p:grpSpPr>
          <p:grpSp>
            <p:nvGrpSpPr>
              <p:cNvPr id="25" name="Group 24">
                <a:extLst>
                  <a:ext uri="{FF2B5EF4-FFF2-40B4-BE49-F238E27FC236}">
                    <a16:creationId xmlns:a16="http://schemas.microsoft.com/office/drawing/2014/main" id="{E4757ACB-2F8B-D040-A1E8-5168C6AD9F14}"/>
                  </a:ext>
                </a:extLst>
              </p:cNvPr>
              <p:cNvGrpSpPr/>
              <p:nvPr userDrawn="1"/>
            </p:nvGrpSpPr>
            <p:grpSpPr>
              <a:xfrm rot="16200000">
                <a:off x="-476749" y="580708"/>
                <a:ext cx="692152" cy="251461"/>
                <a:chOff x="431800" y="-235792"/>
                <a:chExt cx="4400551" cy="235792"/>
              </a:xfrm>
            </p:grpSpPr>
            <p:cxnSp>
              <p:nvCxnSpPr>
                <p:cNvPr id="27" name="Straight Connector 26">
                  <a:extLst>
                    <a:ext uri="{FF2B5EF4-FFF2-40B4-BE49-F238E27FC236}">
                      <a16:creationId xmlns:a16="http://schemas.microsoft.com/office/drawing/2014/main" id="{307CD924-EF08-6249-8613-02C5AB02226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8D11A444-7D49-394C-A9D6-28E26443F61D}"/>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2" name="Rectangle 41">
                  <a:extLst>
                    <a:ext uri="{FF2B5EF4-FFF2-40B4-BE49-F238E27FC236}">
                      <a16:creationId xmlns:a16="http://schemas.microsoft.com/office/drawing/2014/main" id="{8AF36CF8-4C49-8846-9074-1D39844A3DA7}"/>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6" name="TextBox 25">
                <a:extLst>
                  <a:ext uri="{FF2B5EF4-FFF2-40B4-BE49-F238E27FC236}">
                    <a16:creationId xmlns:a16="http://schemas.microsoft.com/office/drawing/2014/main" id="{1A1C27F7-E4EE-2040-97B4-4F0DD7A4E38F}"/>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DATE</a:t>
                </a:r>
              </a:p>
            </p:txBody>
          </p:sp>
        </p:grpSp>
      </p:grpSp>
    </p:spTree>
    <p:extLst>
      <p:ext uri="{BB962C8B-B14F-4D97-AF65-F5344CB8AC3E}">
        <p14:creationId xmlns:p14="http://schemas.microsoft.com/office/powerpoint/2010/main" val="3536337950"/>
      </p:ext>
    </p:extLst>
  </p:cSld>
  <p:clrMapOvr>
    <a:masterClrMapping/>
  </p:clrMapOvr>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Half)">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575736" y="1233489"/>
            <a:ext cx="5344901" cy="4932362"/>
          </a:xfrm>
        </p:spPr>
        <p:txBody>
          <a:bodyPr/>
          <a:lstStyle>
            <a:lvl1pPr>
              <a:defRPr lang="en-US" dirty="0"/>
            </a:lvl1pPr>
            <a:lvl2pPr>
              <a:defRPr lang="en-US" dirty="0"/>
            </a:lvl2pPr>
            <a:lvl3pPr>
              <a:defRPr lang="en-US" dirty="0"/>
            </a:lvl3pPr>
            <a:lvl4pPr>
              <a:defRPr lang="en-US" dirty="0"/>
            </a:lvl4pPr>
            <a:lvl5pPr>
              <a:defRPr lang="en-US" dirty="0"/>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6271363" y="1233489"/>
            <a:ext cx="5344901" cy="4932362"/>
          </a:xfrm>
        </p:spPr>
        <p:txBody>
          <a:bodyPr/>
          <a:lstStyle>
            <a:lvl1pPr>
              <a:defRPr lang="en-US"/>
            </a:lvl1pPr>
            <a:lvl2pPr>
              <a:defRPr lang="en-US"/>
            </a:lvl2pPr>
            <a:lvl3pPr>
              <a:defRPr lang="en-US"/>
            </a:lvl3pPr>
            <a:lvl4pPr>
              <a:defRPr lang="en-US"/>
            </a:lvl4pPr>
            <a:lvl5pPr>
              <a:defRPr lang="en-US" dirty="0"/>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7E28BACC-E012-5845-9150-E5A3C25B9534}"/>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4AB1449A-BA8C-D548-BDE3-4E5DB13EB4C8}"/>
              </a:ext>
            </a:extLst>
          </p:cNvPr>
          <p:cNvSpPr>
            <a:spLocks noGrp="1"/>
          </p:cNvSpPr>
          <p:nvPr userDrawn="1">
            <p:ph type="dt" sz="half" idx="106"/>
          </p:nvPr>
        </p:nvSpPr>
        <p:spPr/>
        <p:txBody>
          <a:bodyPr/>
          <a:lstStyle/>
          <a:p>
            <a:endParaRPr lang="en-US"/>
          </a:p>
        </p:txBody>
      </p:sp>
      <p:sp>
        <p:nvSpPr>
          <p:cNvPr id="7" name="Footer Placeholder 6">
            <a:extLst>
              <a:ext uri="{FF2B5EF4-FFF2-40B4-BE49-F238E27FC236}">
                <a16:creationId xmlns:a16="http://schemas.microsoft.com/office/drawing/2014/main" id="{694ECBB0-4C58-4248-88F3-5F92A8649EA9}"/>
              </a:ext>
            </a:extLst>
          </p:cNvPr>
          <p:cNvSpPr>
            <a:spLocks noGrp="1"/>
          </p:cNvSpPr>
          <p:nvPr userDrawn="1">
            <p:ph type="ftr" sz="quarter" idx="107"/>
          </p:nvPr>
        </p:nvSpPr>
        <p:spPr/>
        <p:txBody>
          <a:bodyPr/>
          <a:lstStyle/>
          <a:p>
            <a:endParaRPr lang="en-US"/>
          </a:p>
        </p:txBody>
      </p:sp>
      <p:sp>
        <p:nvSpPr>
          <p:cNvPr id="8" name="Slide Number Placeholder 7">
            <a:extLst>
              <a:ext uri="{FF2B5EF4-FFF2-40B4-BE49-F238E27FC236}">
                <a16:creationId xmlns:a16="http://schemas.microsoft.com/office/drawing/2014/main" id="{54418348-A4D7-7641-8A84-204A8DF8E9D7}"/>
              </a:ext>
            </a:extLst>
          </p:cNvPr>
          <p:cNvSpPr>
            <a:spLocks noGrp="1"/>
          </p:cNvSpPr>
          <p:nvPr userDrawn="1">
            <p:ph type="sldNum" sz="quarter" idx="108"/>
          </p:nvPr>
        </p:nvSpPr>
        <p:spPr/>
        <p:txBody>
          <a:bodyPr/>
          <a:lstStyle/>
          <a:p>
            <a:pPr marL="12700"/>
            <a:fld id="{078C017C-E1B9-8443-B047-B08AAA027B45}" type="slidenum">
              <a:rPr lang="en-US" smtClean="0"/>
              <a:pPr marL="12700"/>
              <a:t>‹#›</a:t>
            </a:fld>
            <a:endParaRPr lang="en-US"/>
          </a:p>
        </p:txBody>
      </p:sp>
      <p:grpSp>
        <p:nvGrpSpPr>
          <p:cNvPr id="57" name="Group 56">
            <a:extLst>
              <a:ext uri="{FF2B5EF4-FFF2-40B4-BE49-F238E27FC236}">
                <a16:creationId xmlns:a16="http://schemas.microsoft.com/office/drawing/2014/main" id="{BD9829DB-25CD-2C42-98B4-2F05DB9E9976}"/>
              </a:ext>
            </a:extLst>
          </p:cNvPr>
          <p:cNvGrpSpPr/>
          <p:nvPr userDrawn="1"/>
        </p:nvGrpSpPr>
        <p:grpSpPr>
          <a:xfrm>
            <a:off x="12532243" y="1"/>
            <a:ext cx="2997567" cy="6857995"/>
            <a:chOff x="9399182" y="0"/>
            <a:chExt cx="2974470" cy="6857995"/>
          </a:xfrm>
        </p:grpSpPr>
        <p:sp>
          <p:nvSpPr>
            <p:cNvPr id="58" name="Rectangle 57">
              <a:extLst>
                <a:ext uri="{FF2B5EF4-FFF2-40B4-BE49-F238E27FC236}">
                  <a16:creationId xmlns:a16="http://schemas.microsoft.com/office/drawing/2014/main" id="{39BB4EA2-C836-EA43-B18F-0949C235EC66}"/>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59" name="Picture 58">
              <a:extLst>
                <a:ext uri="{FF2B5EF4-FFF2-40B4-BE49-F238E27FC236}">
                  <a16:creationId xmlns:a16="http://schemas.microsoft.com/office/drawing/2014/main" id="{621BAF31-BC19-D146-8BE1-18AFCE87832C}"/>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0" name="Group 59">
              <a:extLst>
                <a:ext uri="{FF2B5EF4-FFF2-40B4-BE49-F238E27FC236}">
                  <a16:creationId xmlns:a16="http://schemas.microsoft.com/office/drawing/2014/main" id="{E723E6CA-2CE4-3D44-96E0-52184650183A}"/>
                </a:ext>
              </a:extLst>
            </p:cNvPr>
            <p:cNvGrpSpPr/>
            <p:nvPr userDrawn="1"/>
          </p:nvGrpSpPr>
          <p:grpSpPr>
            <a:xfrm>
              <a:off x="9541497" y="162442"/>
              <a:ext cx="2819400" cy="814510"/>
              <a:chOff x="-3644733" y="165205"/>
              <a:chExt cx="2819400" cy="814510"/>
            </a:xfrm>
          </p:grpSpPr>
          <p:sp>
            <p:nvSpPr>
              <p:cNvPr id="100" name="Rectangle 99">
                <a:extLst>
                  <a:ext uri="{FF2B5EF4-FFF2-40B4-BE49-F238E27FC236}">
                    <a16:creationId xmlns:a16="http://schemas.microsoft.com/office/drawing/2014/main" id="{B6100985-B250-4D43-ACA1-0500BC8E24A4}"/>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01" name="TextBox 100">
                <a:extLst>
                  <a:ext uri="{FF2B5EF4-FFF2-40B4-BE49-F238E27FC236}">
                    <a16:creationId xmlns:a16="http://schemas.microsoft.com/office/drawing/2014/main" id="{B219020B-057E-3A42-909A-E51BD28BC59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02" name="Picture 101">
                <a:extLst>
                  <a:ext uri="{FF2B5EF4-FFF2-40B4-BE49-F238E27FC236}">
                    <a16:creationId xmlns:a16="http://schemas.microsoft.com/office/drawing/2014/main" id="{8EC2BFFA-DE12-6A45-A854-6DAC1344D38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1" name="Group 60">
              <a:extLst>
                <a:ext uri="{FF2B5EF4-FFF2-40B4-BE49-F238E27FC236}">
                  <a16:creationId xmlns:a16="http://schemas.microsoft.com/office/drawing/2014/main" id="{613E3110-1B0B-3D4B-96D8-9CA687ECA9FC}"/>
                </a:ext>
              </a:extLst>
            </p:cNvPr>
            <p:cNvGrpSpPr/>
            <p:nvPr userDrawn="1"/>
          </p:nvGrpSpPr>
          <p:grpSpPr>
            <a:xfrm>
              <a:off x="9558507" y="1119891"/>
              <a:ext cx="2639328" cy="202617"/>
              <a:chOff x="9303325" y="149270"/>
              <a:chExt cx="2639328" cy="202617"/>
            </a:xfrm>
          </p:grpSpPr>
          <p:sp>
            <p:nvSpPr>
              <p:cNvPr id="98" name="TextBox 97">
                <a:extLst>
                  <a:ext uri="{FF2B5EF4-FFF2-40B4-BE49-F238E27FC236}">
                    <a16:creationId xmlns:a16="http://schemas.microsoft.com/office/drawing/2014/main" id="{B9D8D181-DDA1-4447-AED2-F2F2AC50D7F0}"/>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99" name="Straight Connector 98">
                <a:extLst>
                  <a:ext uri="{FF2B5EF4-FFF2-40B4-BE49-F238E27FC236}">
                    <a16:creationId xmlns:a16="http://schemas.microsoft.com/office/drawing/2014/main" id="{FABB6032-3F45-9B46-B45C-778773540AD1}"/>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7927F243-200A-D144-9699-FD23B954EEFE}"/>
                </a:ext>
              </a:extLst>
            </p:cNvPr>
            <p:cNvGrpSpPr/>
            <p:nvPr userDrawn="1"/>
          </p:nvGrpSpPr>
          <p:grpSpPr>
            <a:xfrm>
              <a:off x="9554253" y="3678850"/>
              <a:ext cx="2735151" cy="2655095"/>
              <a:chOff x="9541497" y="2555080"/>
              <a:chExt cx="2735151" cy="2655095"/>
            </a:xfrm>
          </p:grpSpPr>
          <p:grpSp>
            <p:nvGrpSpPr>
              <p:cNvPr id="75" name="Group 74">
                <a:extLst>
                  <a:ext uri="{FF2B5EF4-FFF2-40B4-BE49-F238E27FC236}">
                    <a16:creationId xmlns:a16="http://schemas.microsoft.com/office/drawing/2014/main" id="{A612B76D-92E4-1B45-BA01-18AC21082B05}"/>
                  </a:ext>
                </a:extLst>
              </p:cNvPr>
              <p:cNvGrpSpPr/>
              <p:nvPr userDrawn="1"/>
            </p:nvGrpSpPr>
            <p:grpSpPr>
              <a:xfrm>
                <a:off x="9541497" y="2555080"/>
                <a:ext cx="2735151" cy="2655095"/>
                <a:chOff x="9296567" y="4910411"/>
                <a:chExt cx="2735151" cy="2655095"/>
              </a:xfrm>
            </p:grpSpPr>
            <p:sp>
              <p:nvSpPr>
                <p:cNvPr id="82" name="Rectangle 81">
                  <a:extLst>
                    <a:ext uri="{FF2B5EF4-FFF2-40B4-BE49-F238E27FC236}">
                      <a16:creationId xmlns:a16="http://schemas.microsoft.com/office/drawing/2014/main" id="{86F5C99A-2CE4-CD4E-96E9-0CAA3B2C80FF}"/>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95" name="TextBox 94">
                  <a:extLst>
                    <a:ext uri="{FF2B5EF4-FFF2-40B4-BE49-F238E27FC236}">
                      <a16:creationId xmlns:a16="http://schemas.microsoft.com/office/drawing/2014/main" id="{563C3ECA-A55C-454D-8747-0D8557DEDB5D}"/>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Automatic paragraph spacing</a:t>
                  </a:r>
                </a:p>
              </p:txBody>
            </p:sp>
            <p:pic>
              <p:nvPicPr>
                <p:cNvPr id="96" name="Graphic 95">
                  <a:extLst>
                    <a:ext uri="{FF2B5EF4-FFF2-40B4-BE49-F238E27FC236}">
                      <a16:creationId xmlns:a16="http://schemas.microsoft.com/office/drawing/2014/main" id="{1A2201DA-8794-B843-A4F7-79AD4A285E8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97" name="TextBox 96">
                  <a:extLst>
                    <a:ext uri="{FF2B5EF4-FFF2-40B4-BE49-F238E27FC236}">
                      <a16:creationId xmlns:a16="http://schemas.microsoft.com/office/drawing/2014/main" id="{8CBFEEAE-AB08-D74F-A159-703F31EC7269}"/>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a:t>This template automatically adds paragraph spacing between first-level text paragraphs. When pasting in content, remember to delete any extra blank lines from your text.</a:t>
                  </a:r>
                </a:p>
              </p:txBody>
            </p:sp>
          </p:grpSp>
          <p:grpSp>
            <p:nvGrpSpPr>
              <p:cNvPr id="76" name="Group 75">
                <a:extLst>
                  <a:ext uri="{FF2B5EF4-FFF2-40B4-BE49-F238E27FC236}">
                    <a16:creationId xmlns:a16="http://schemas.microsoft.com/office/drawing/2014/main" id="{58579E9F-96EC-3342-AF52-FDDA765756F2}"/>
                  </a:ext>
                </a:extLst>
              </p:cNvPr>
              <p:cNvGrpSpPr/>
              <p:nvPr userDrawn="1"/>
            </p:nvGrpSpPr>
            <p:grpSpPr>
              <a:xfrm>
                <a:off x="9832250" y="3569700"/>
                <a:ext cx="2074000" cy="1627918"/>
                <a:chOff x="9832250" y="3617325"/>
                <a:chExt cx="2074000" cy="1627918"/>
              </a:xfrm>
            </p:grpSpPr>
            <p:pic>
              <p:nvPicPr>
                <p:cNvPr id="77" name="Picture 76">
                  <a:extLst>
                    <a:ext uri="{FF2B5EF4-FFF2-40B4-BE49-F238E27FC236}">
                      <a16:creationId xmlns:a16="http://schemas.microsoft.com/office/drawing/2014/main" id="{47BFC40E-50C9-6E4B-A4CC-E8B33C0C12CC}"/>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78" name="Straight Connector 77">
                  <a:extLst>
                    <a:ext uri="{FF2B5EF4-FFF2-40B4-BE49-F238E27FC236}">
                      <a16:creationId xmlns:a16="http://schemas.microsoft.com/office/drawing/2014/main" id="{BF2382E6-DD11-1948-AC5D-65EB67321E68}"/>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626670BF-19AA-D34A-8AF0-67C95048BF0B}"/>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EF7F0757-9E62-4341-9627-373FEDCEFCAC}"/>
                    </a:ext>
                  </a:extLst>
                </p:cNvPr>
                <p:cNvSpPr txBox="1"/>
                <p:nvPr userDrawn="1"/>
              </p:nvSpPr>
              <p:spPr>
                <a:xfrm>
                  <a:off x="9832250" y="3828243"/>
                  <a:ext cx="257282" cy="184666"/>
                </a:xfrm>
                <a:prstGeom prst="rect">
                  <a:avLst/>
                </a:prstGeom>
              </p:spPr>
              <p:txBody>
                <a:bodyPr vert="horz" wrap="none" lIns="0" tIns="0" rIns="0" bIns="0" rtlCol="0" anchor="t">
                  <a:spAutoFit/>
                </a:bodyPr>
                <a:lstStyle/>
                <a:p>
                  <a:pPr algn="r"/>
                  <a:r>
                    <a:rPr lang="en-US" sz="600">
                      <a:solidFill>
                        <a:schemeClr val="tx1">
                          <a:lumMod val="50000"/>
                          <a:lumOff val="50000"/>
                        </a:schemeClr>
                      </a:solidFill>
                      <a:latin typeface="Arial" charset="0"/>
                      <a:ea typeface="Arial" charset="0"/>
                      <a:cs typeface="Arial" charset="0"/>
                    </a:rPr>
                    <a:t>Automatic</a:t>
                  </a:r>
                  <a:br>
                    <a:rPr lang="en-US" sz="600">
                      <a:solidFill>
                        <a:schemeClr val="tx1">
                          <a:lumMod val="50000"/>
                          <a:lumOff val="50000"/>
                        </a:schemeClr>
                      </a:solidFill>
                      <a:latin typeface="Arial" charset="0"/>
                      <a:ea typeface="Arial" charset="0"/>
                      <a:cs typeface="Arial" charset="0"/>
                    </a:rPr>
                  </a:br>
                  <a:r>
                    <a:rPr lang="en-US" sz="600">
                      <a:solidFill>
                        <a:schemeClr val="tx1">
                          <a:lumMod val="50000"/>
                          <a:lumOff val="50000"/>
                        </a:schemeClr>
                      </a:solidFill>
                      <a:latin typeface="Arial" charset="0"/>
                      <a:ea typeface="Arial" charset="0"/>
                      <a:cs typeface="Arial" charset="0"/>
                    </a:rPr>
                    <a:t>space</a:t>
                  </a:r>
                </a:p>
              </p:txBody>
            </p:sp>
            <p:sp>
              <p:nvSpPr>
                <p:cNvPr id="81" name="TextBox 80">
                  <a:extLst>
                    <a:ext uri="{FF2B5EF4-FFF2-40B4-BE49-F238E27FC236}">
                      <a16:creationId xmlns:a16="http://schemas.microsoft.com/office/drawing/2014/main" id="{A90B3B0B-9D4C-D741-9D0D-10C3780AB035}"/>
                    </a:ext>
                  </a:extLst>
                </p:cNvPr>
                <p:cNvSpPr txBox="1"/>
                <p:nvPr userDrawn="1"/>
              </p:nvSpPr>
              <p:spPr>
                <a:xfrm>
                  <a:off x="9832250" y="4721742"/>
                  <a:ext cx="257282" cy="184666"/>
                </a:xfrm>
                <a:prstGeom prst="rect">
                  <a:avLst/>
                </a:prstGeom>
              </p:spPr>
              <p:txBody>
                <a:bodyPr vert="horz" wrap="none" lIns="0" tIns="0" rIns="0" bIns="0" rtlCol="0" anchor="t">
                  <a:spAutoFit/>
                </a:bodyPr>
                <a:lstStyle/>
                <a:p>
                  <a:pPr algn="r"/>
                  <a:r>
                    <a:rPr lang="en-US" sz="600">
                      <a:solidFill>
                        <a:schemeClr val="tx1">
                          <a:lumMod val="50000"/>
                          <a:lumOff val="50000"/>
                        </a:schemeClr>
                      </a:solidFill>
                      <a:latin typeface="Arial" charset="0"/>
                      <a:ea typeface="Arial" charset="0"/>
                      <a:cs typeface="Arial" charset="0"/>
                    </a:rPr>
                    <a:t>Automatic</a:t>
                  </a:r>
                  <a:br>
                    <a:rPr lang="en-US" sz="600">
                      <a:solidFill>
                        <a:schemeClr val="tx1">
                          <a:lumMod val="50000"/>
                          <a:lumOff val="50000"/>
                        </a:schemeClr>
                      </a:solidFill>
                      <a:latin typeface="Arial" charset="0"/>
                      <a:ea typeface="Arial" charset="0"/>
                      <a:cs typeface="Arial" charset="0"/>
                    </a:rPr>
                  </a:br>
                  <a:r>
                    <a:rPr lang="en-US" sz="600">
                      <a:solidFill>
                        <a:schemeClr val="tx1">
                          <a:lumMod val="50000"/>
                          <a:lumOff val="50000"/>
                        </a:schemeClr>
                      </a:solidFill>
                      <a:latin typeface="Arial" charset="0"/>
                      <a:ea typeface="Arial" charset="0"/>
                      <a:cs typeface="Arial" charset="0"/>
                    </a:rPr>
                    <a:t>space</a:t>
                  </a:r>
                </a:p>
              </p:txBody>
            </p:sp>
          </p:grpSp>
        </p:grpSp>
        <p:grpSp>
          <p:nvGrpSpPr>
            <p:cNvPr id="63" name="Group 62">
              <a:extLst>
                <a:ext uri="{FF2B5EF4-FFF2-40B4-BE49-F238E27FC236}">
                  <a16:creationId xmlns:a16="http://schemas.microsoft.com/office/drawing/2014/main" id="{B876E46E-0184-2742-AB05-B9FD1E000492}"/>
                </a:ext>
              </a:extLst>
            </p:cNvPr>
            <p:cNvGrpSpPr/>
            <p:nvPr userDrawn="1"/>
          </p:nvGrpSpPr>
          <p:grpSpPr>
            <a:xfrm>
              <a:off x="9558506" y="2409506"/>
              <a:ext cx="2639327" cy="684608"/>
              <a:chOff x="9558506" y="2476806"/>
              <a:chExt cx="2639327" cy="684608"/>
            </a:xfrm>
          </p:grpSpPr>
          <p:pic>
            <p:nvPicPr>
              <p:cNvPr id="72" name="Picture 71">
                <a:extLst>
                  <a:ext uri="{FF2B5EF4-FFF2-40B4-BE49-F238E27FC236}">
                    <a16:creationId xmlns:a16="http://schemas.microsoft.com/office/drawing/2014/main" id="{5A7F5300-6865-3043-940A-C6804832F6B0}"/>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73" name="Rectangle 72">
                <a:extLst>
                  <a:ext uri="{FF2B5EF4-FFF2-40B4-BE49-F238E27FC236}">
                    <a16:creationId xmlns:a16="http://schemas.microsoft.com/office/drawing/2014/main" id="{44ADFD08-23C7-1E49-BC03-50DF58018821}"/>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4" name="TextBox 73">
                <a:extLst>
                  <a:ext uri="{FF2B5EF4-FFF2-40B4-BE49-F238E27FC236}">
                    <a16:creationId xmlns:a16="http://schemas.microsoft.com/office/drawing/2014/main" id="{D7FE1353-0D70-F948-A531-829CBAF30D18}"/>
                  </a:ext>
                </a:extLst>
              </p:cNvPr>
              <p:cNvSpPr txBox="1"/>
              <p:nvPr userDrawn="1"/>
            </p:nvSpPr>
            <p:spPr>
              <a:xfrm>
                <a:off x="9635558" y="2549805"/>
                <a:ext cx="676269" cy="430887"/>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a:solidFill>
                      <a:schemeClr val="bg1"/>
                    </a:solidFill>
                    <a:latin typeface="+mn-lt"/>
                    <a:ea typeface="+mn-ea"/>
                    <a:cs typeface="+mn-cs"/>
                  </a:rPr>
                  <a:t>Note: </a:t>
                </a:r>
                <a:br>
                  <a:rPr lang="en-US" sz="700" kern="1200">
                    <a:solidFill>
                      <a:schemeClr val="bg1"/>
                    </a:solidFill>
                    <a:latin typeface="+mn-lt"/>
                    <a:ea typeface="+mn-ea"/>
                    <a:cs typeface="+mn-cs"/>
                  </a:rPr>
                </a:br>
                <a:r>
                  <a:rPr lang="en-US" sz="700" kern="1200">
                    <a:solidFill>
                      <a:schemeClr val="bg1"/>
                    </a:solidFill>
                    <a:latin typeface="+mn-lt"/>
                    <a:ea typeface="+mn-ea"/>
                    <a:cs typeface="+mn-cs"/>
                  </a:rPr>
                  <a:t>For numbered lists, see the most up-to-date Asset File.</a:t>
                </a:r>
              </a:p>
            </p:txBody>
          </p:sp>
        </p:grpSp>
        <p:grpSp>
          <p:nvGrpSpPr>
            <p:cNvPr id="64" name="Group 63">
              <a:extLst>
                <a:ext uri="{FF2B5EF4-FFF2-40B4-BE49-F238E27FC236}">
                  <a16:creationId xmlns:a16="http://schemas.microsoft.com/office/drawing/2014/main" id="{7B8EF21D-0E68-764E-834F-70FF774C8330}"/>
                </a:ext>
              </a:extLst>
            </p:cNvPr>
            <p:cNvGrpSpPr/>
            <p:nvPr userDrawn="1"/>
          </p:nvGrpSpPr>
          <p:grpSpPr>
            <a:xfrm>
              <a:off x="9554253" y="2414886"/>
              <a:ext cx="2819399" cy="1181890"/>
              <a:chOff x="9541498" y="3352649"/>
              <a:chExt cx="2819399" cy="1181890"/>
            </a:xfrm>
          </p:grpSpPr>
          <p:grpSp>
            <p:nvGrpSpPr>
              <p:cNvPr id="65" name="Group 64">
                <a:extLst>
                  <a:ext uri="{FF2B5EF4-FFF2-40B4-BE49-F238E27FC236}">
                    <a16:creationId xmlns:a16="http://schemas.microsoft.com/office/drawing/2014/main" id="{27A78323-4512-7348-B340-A5224636B0BA}"/>
                  </a:ext>
                </a:extLst>
              </p:cNvPr>
              <p:cNvGrpSpPr/>
              <p:nvPr userDrawn="1"/>
            </p:nvGrpSpPr>
            <p:grpSpPr>
              <a:xfrm>
                <a:off x="9541498" y="3352649"/>
                <a:ext cx="2735150" cy="1181890"/>
                <a:chOff x="9541498" y="3751132"/>
                <a:chExt cx="2735150" cy="1181890"/>
              </a:xfrm>
            </p:grpSpPr>
            <p:grpSp>
              <p:nvGrpSpPr>
                <p:cNvPr id="67" name="Group 66">
                  <a:extLst>
                    <a:ext uri="{FF2B5EF4-FFF2-40B4-BE49-F238E27FC236}">
                      <a16:creationId xmlns:a16="http://schemas.microsoft.com/office/drawing/2014/main" id="{F8795736-5C46-C841-B593-037C236FE2EB}"/>
                    </a:ext>
                  </a:extLst>
                </p:cNvPr>
                <p:cNvGrpSpPr/>
                <p:nvPr userDrawn="1"/>
              </p:nvGrpSpPr>
              <p:grpSpPr>
                <a:xfrm>
                  <a:off x="9541498" y="3751132"/>
                  <a:ext cx="2735150" cy="1181890"/>
                  <a:chOff x="9296568" y="4910411"/>
                  <a:chExt cx="2735150" cy="1181890"/>
                </a:xfrm>
              </p:grpSpPr>
              <p:sp>
                <p:nvSpPr>
                  <p:cNvPr id="69" name="Rectangle 68">
                    <a:extLst>
                      <a:ext uri="{FF2B5EF4-FFF2-40B4-BE49-F238E27FC236}">
                        <a16:creationId xmlns:a16="http://schemas.microsoft.com/office/drawing/2014/main" id="{B36D8E9E-4FDC-644F-9EA3-807BAD42AB4D}"/>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0" name="TextBox 69">
                    <a:extLst>
                      <a:ext uri="{FF2B5EF4-FFF2-40B4-BE49-F238E27FC236}">
                        <a16:creationId xmlns:a16="http://schemas.microsoft.com/office/drawing/2014/main" id="{A42423A3-009A-A94D-94AD-86211F4F1134}"/>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71" name="TextBox 70">
                    <a:extLst>
                      <a:ext uri="{FF2B5EF4-FFF2-40B4-BE49-F238E27FC236}">
                        <a16:creationId xmlns:a16="http://schemas.microsoft.com/office/drawing/2014/main" id="{25ACFBF4-9D14-5B4A-B004-A7BFCF6B343C}"/>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8" name="Graphic 67">
                  <a:extLst>
                    <a:ext uri="{FF2B5EF4-FFF2-40B4-BE49-F238E27FC236}">
                      <a16:creationId xmlns:a16="http://schemas.microsoft.com/office/drawing/2014/main" id="{060F2AEF-3D2A-794B-BC92-5800DF82F6B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66" name="Picture 65">
                <a:extLst>
                  <a:ext uri="{FF2B5EF4-FFF2-40B4-BE49-F238E27FC236}">
                    <a16:creationId xmlns:a16="http://schemas.microsoft.com/office/drawing/2014/main" id="{CBBA019D-33C1-0641-92C3-791DC6ABAE62}"/>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24778458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oC Agenda (8)">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8F4D58A-AA20-5048-8BA0-DD35FBF502B9}"/>
              </a:ext>
            </a:extLst>
          </p:cNvPr>
          <p:cNvSpPr/>
          <p:nvPr userDrawn="1"/>
        </p:nvSpPr>
        <p:spPr>
          <a:xfrm>
            <a:off x="0" y="614023"/>
            <a:ext cx="12192000" cy="6192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5" name="Group 4">
            <a:extLst>
              <a:ext uri="{FF2B5EF4-FFF2-40B4-BE49-F238E27FC236}">
                <a16:creationId xmlns:a16="http://schemas.microsoft.com/office/drawing/2014/main" id="{4E73969A-3A18-3447-B258-F387FB6CF9F1}"/>
              </a:ext>
            </a:extLst>
          </p:cNvPr>
          <p:cNvGrpSpPr/>
          <p:nvPr userDrawn="1"/>
        </p:nvGrpSpPr>
        <p:grpSpPr>
          <a:xfrm>
            <a:off x="12532243" y="-1"/>
            <a:ext cx="3836621" cy="8631622"/>
            <a:chOff x="9399182" y="-1"/>
            <a:chExt cx="2877466" cy="8631622"/>
          </a:xfrm>
        </p:grpSpPr>
        <p:sp>
          <p:nvSpPr>
            <p:cNvPr id="189" name="Rectangle 188">
              <a:extLst>
                <a:ext uri="{FF2B5EF4-FFF2-40B4-BE49-F238E27FC236}">
                  <a16:creationId xmlns:a16="http://schemas.microsoft.com/office/drawing/2014/main" id="{92729CBC-BDE5-8E45-A6BE-AE71C1B381A0}"/>
                </a:ext>
              </a:extLst>
            </p:cNvPr>
            <p:cNvSpPr/>
            <p:nvPr userDrawn="1"/>
          </p:nvSpPr>
          <p:spPr>
            <a:xfrm>
              <a:off x="9399182" y="-1"/>
              <a:ext cx="2798651" cy="84963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0" name="TextBox 189">
              <a:extLst>
                <a:ext uri="{FF2B5EF4-FFF2-40B4-BE49-F238E27FC236}">
                  <a16:creationId xmlns:a16="http://schemas.microsoft.com/office/drawing/2014/main" id="{F671A5E8-36A2-FB45-ADCA-9DAD0E120E46}"/>
                </a:ext>
              </a:extLst>
            </p:cNvPr>
            <p:cNvSpPr txBox="1">
              <a:spLocks noChangeAspect="1"/>
            </p:cNvSpPr>
            <p:nvPr userDrawn="1"/>
          </p:nvSpPr>
          <p:spPr>
            <a:xfrm>
              <a:off x="9521833" y="16103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91" name="TextBox 190">
              <a:extLst>
                <a:ext uri="{FF2B5EF4-FFF2-40B4-BE49-F238E27FC236}">
                  <a16:creationId xmlns:a16="http://schemas.microsoft.com/office/drawing/2014/main" id="{E301719B-2C9D-8E44-AE65-E00544489754}"/>
                </a:ext>
              </a:extLst>
            </p:cNvPr>
            <p:cNvSpPr txBox="1">
              <a:spLocks noChangeAspect="1"/>
            </p:cNvSpPr>
            <p:nvPr userDrawn="1"/>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92" name="TextBox 191">
              <a:extLst>
                <a:ext uri="{FF2B5EF4-FFF2-40B4-BE49-F238E27FC236}">
                  <a16:creationId xmlns:a16="http://schemas.microsoft.com/office/drawing/2014/main" id="{CED24EBF-9DBE-B34E-81D8-A373E4BBB1F9}"/>
                </a:ext>
              </a:extLst>
            </p:cNvPr>
            <p:cNvSpPr txBox="1">
              <a:spLocks noChangeAspect="1"/>
            </p:cNvSpPr>
            <p:nvPr userDrawn="1"/>
          </p:nvSpPr>
          <p:spPr>
            <a:xfrm>
              <a:off x="9521833" y="11390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93" name="TextBox 192">
              <a:extLst>
                <a:ext uri="{FF2B5EF4-FFF2-40B4-BE49-F238E27FC236}">
                  <a16:creationId xmlns:a16="http://schemas.microsoft.com/office/drawing/2014/main" id="{A46F68BB-A3E6-B246-94E8-AF74AACEF49A}"/>
                </a:ext>
              </a:extLst>
            </p:cNvPr>
            <p:cNvSpPr txBox="1"/>
            <p:nvPr userDrawn="1"/>
          </p:nvSpPr>
          <p:spPr>
            <a:xfrm>
              <a:off x="9686426" y="513115"/>
              <a:ext cx="2425134"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Aft>
                  <a:spcPts val="0"/>
                </a:spcAft>
              </a:pPr>
              <a:r>
                <a:rPr lang="en-US" sz="1050" dirty="0"/>
                <a:t>Enter up to 8 agenda items and their page numbers. </a:t>
              </a:r>
            </a:p>
            <a:p>
              <a:pPr lvl="2"/>
              <a:r>
                <a:rPr lang="en-US" sz="800" dirty="0"/>
                <a:t>Switch to the 14-item agenda if you need more. </a:t>
              </a:r>
            </a:p>
          </p:txBody>
        </p:sp>
        <p:sp>
          <p:nvSpPr>
            <p:cNvPr id="194" name="TextBox 193">
              <a:extLst>
                <a:ext uri="{FF2B5EF4-FFF2-40B4-BE49-F238E27FC236}">
                  <a16:creationId xmlns:a16="http://schemas.microsoft.com/office/drawing/2014/main" id="{FBB8C002-902E-6D47-BE1D-BF8509A004AD}"/>
                </a:ext>
              </a:extLst>
            </p:cNvPr>
            <p:cNvSpPr txBox="1"/>
            <p:nvPr userDrawn="1"/>
          </p:nvSpPr>
          <p:spPr>
            <a:xfrm>
              <a:off x="9558507" y="150290"/>
              <a:ext cx="140062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USE THE AGENDA</a:t>
              </a:r>
            </a:p>
          </p:txBody>
        </p:sp>
        <p:cxnSp>
          <p:nvCxnSpPr>
            <p:cNvPr id="195" name="Straight Connector 194">
              <a:extLst>
                <a:ext uri="{FF2B5EF4-FFF2-40B4-BE49-F238E27FC236}">
                  <a16:creationId xmlns:a16="http://schemas.microsoft.com/office/drawing/2014/main" id="{FE4B0B2B-3980-FB4D-8093-0BAB12D53E52}"/>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96" name="Group 195">
              <a:extLst>
                <a:ext uri="{FF2B5EF4-FFF2-40B4-BE49-F238E27FC236}">
                  <a16:creationId xmlns:a16="http://schemas.microsoft.com/office/drawing/2014/main" id="{D9DE41DC-3B7A-854E-AC16-134271A7396F}"/>
                </a:ext>
              </a:extLst>
            </p:cNvPr>
            <p:cNvGrpSpPr/>
            <p:nvPr userDrawn="1"/>
          </p:nvGrpSpPr>
          <p:grpSpPr>
            <a:xfrm>
              <a:off x="9541497" y="5505499"/>
              <a:ext cx="2735151" cy="919215"/>
              <a:chOff x="9296567" y="4150379"/>
              <a:chExt cx="2735151" cy="919215"/>
            </a:xfrm>
          </p:grpSpPr>
          <p:grpSp>
            <p:nvGrpSpPr>
              <p:cNvPr id="226" name="Group 225">
                <a:extLst>
                  <a:ext uri="{FF2B5EF4-FFF2-40B4-BE49-F238E27FC236}">
                    <a16:creationId xmlns:a16="http://schemas.microsoft.com/office/drawing/2014/main" id="{4A8E7230-F371-9049-8785-A042CADC0F97}"/>
                  </a:ext>
                </a:extLst>
              </p:cNvPr>
              <p:cNvGrpSpPr/>
              <p:nvPr userDrawn="1"/>
            </p:nvGrpSpPr>
            <p:grpSpPr>
              <a:xfrm>
                <a:off x="9296567" y="4150379"/>
                <a:ext cx="2735151" cy="919215"/>
                <a:chOff x="9296567" y="5817858"/>
                <a:chExt cx="2735151" cy="919215"/>
              </a:xfrm>
            </p:grpSpPr>
            <p:sp>
              <p:nvSpPr>
                <p:cNvPr id="228" name="Rectangle 227">
                  <a:extLst>
                    <a:ext uri="{FF2B5EF4-FFF2-40B4-BE49-F238E27FC236}">
                      <a16:creationId xmlns:a16="http://schemas.microsoft.com/office/drawing/2014/main" id="{4E2ECAE9-6825-6344-A33D-8F33A0FBEBA3}"/>
                    </a:ext>
                  </a:extLst>
                </p:cNvPr>
                <p:cNvSpPr/>
                <p:nvPr userDrawn="1"/>
              </p:nvSpPr>
              <p:spPr>
                <a:xfrm>
                  <a:off x="9296567" y="5817858"/>
                  <a:ext cx="2733136" cy="919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29" name="TextBox 228">
                  <a:extLst>
                    <a:ext uri="{FF2B5EF4-FFF2-40B4-BE49-F238E27FC236}">
                      <a16:creationId xmlns:a16="http://schemas.microsoft.com/office/drawing/2014/main" id="{A8170A63-20B8-C340-A8F1-D6D360C94661}"/>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set Placeholders</a:t>
                  </a:r>
                </a:p>
              </p:txBody>
            </p:sp>
            <p:pic>
              <p:nvPicPr>
                <p:cNvPr id="230" name="Graphic 229">
                  <a:extLst>
                    <a:ext uri="{FF2B5EF4-FFF2-40B4-BE49-F238E27FC236}">
                      <a16:creationId xmlns:a16="http://schemas.microsoft.com/office/drawing/2014/main" id="{23CD0419-FDFB-0249-BAA8-77ADB9197D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231" name="TextBox 230">
                  <a:extLst>
                    <a:ext uri="{FF2B5EF4-FFF2-40B4-BE49-F238E27FC236}">
                      <a16:creationId xmlns:a16="http://schemas.microsoft.com/office/drawing/2014/main" id="{2A9D487E-DB19-7741-BCD6-CC6ADA5A5D0E}"/>
                    </a:ext>
                  </a:extLst>
                </p:cNvPr>
                <p:cNvSpPr txBox="1"/>
                <p:nvPr userDrawn="1"/>
              </p:nvSpPr>
              <p:spPr>
                <a:xfrm>
                  <a:off x="9471805" y="6169594"/>
                  <a:ext cx="2491595" cy="441146"/>
                </a:xfrm>
                <a:prstGeom prst="rect">
                  <a:avLst/>
                </a:prstGeom>
              </p:spPr>
              <p:txBody>
                <a:bodyPr vert="horz" wrap="square" lIns="0" tIns="0" rIns="0" bIns="0" rtlCol="0" anchor="t">
                  <a:spAutoFit/>
                </a:bodyPr>
                <a:lstStyle/>
                <a:p>
                  <a:pPr algn="l">
                    <a:spcBef>
                      <a:spcPts val="200"/>
                    </a:spcBef>
                  </a:pPr>
                  <a:r>
                    <a:rPr lang="en-US" sz="900" dirty="0">
                      <a:solidFill>
                        <a:schemeClr val="tx1">
                          <a:lumMod val="50000"/>
                          <a:lumOff val="50000"/>
                        </a:schemeClr>
                      </a:solidFill>
                      <a:latin typeface="Arial" charset="0"/>
                      <a:ea typeface="Arial" charset="0"/>
                      <a:cs typeface="Arial" charset="0"/>
                    </a:rPr>
                    <a:t>Press the Reset (            ) button to bring back placeholders you have deleted if you need them. </a:t>
                  </a:r>
                </a:p>
                <a:p>
                  <a:pPr algn="l">
                    <a:spcBef>
                      <a:spcPts val="200"/>
                    </a:spcBef>
                  </a:pPr>
                  <a:r>
                    <a:rPr lang="en-US" sz="900" dirty="0">
                      <a:solidFill>
                        <a:schemeClr val="tx1">
                          <a:lumMod val="50000"/>
                          <a:lumOff val="50000"/>
                        </a:schemeClr>
                      </a:solidFill>
                      <a:latin typeface="Arial" charset="0"/>
                      <a:ea typeface="Arial" charset="0"/>
                      <a:cs typeface="Arial" charset="0"/>
                    </a:rPr>
                    <a:t>Note: this will also remove your item highlight.</a:t>
                  </a:r>
                </a:p>
              </p:txBody>
            </p:sp>
          </p:grpSp>
          <p:pic>
            <p:nvPicPr>
              <p:cNvPr id="227" name="Picture 226">
                <a:extLst>
                  <a:ext uri="{FF2B5EF4-FFF2-40B4-BE49-F238E27FC236}">
                    <a16:creationId xmlns:a16="http://schemas.microsoft.com/office/drawing/2014/main" id="{F3FDF710-03B9-F349-9989-8CC152E1DAF4}"/>
                  </a:ext>
                </a:extLst>
              </p:cNvPr>
              <p:cNvPicPr>
                <a:picLocks noChangeAspect="1"/>
              </p:cNvPicPr>
              <p:nvPr userDrawn="1"/>
            </p:nvPicPr>
            <p:blipFill rotWithShape="1">
              <a:blip r:embed="rId5"/>
              <a:srcRect t="-7688" r="11531" b="-1"/>
              <a:stretch/>
            </p:blipFill>
            <p:spPr>
              <a:xfrm>
                <a:off x="10368085" y="4507363"/>
                <a:ext cx="346954" cy="130863"/>
              </a:xfrm>
              <a:prstGeom prst="rect">
                <a:avLst/>
              </a:prstGeom>
            </p:spPr>
          </p:pic>
        </p:grpSp>
        <p:sp>
          <p:nvSpPr>
            <p:cNvPr id="197" name="TextBox 196">
              <a:extLst>
                <a:ext uri="{FF2B5EF4-FFF2-40B4-BE49-F238E27FC236}">
                  <a16:creationId xmlns:a16="http://schemas.microsoft.com/office/drawing/2014/main" id="{4142786A-0A63-4E4F-93C7-691F14EE0537}"/>
                </a:ext>
              </a:extLst>
            </p:cNvPr>
            <p:cNvSpPr txBox="1"/>
            <p:nvPr/>
          </p:nvSpPr>
          <p:spPr>
            <a:xfrm>
              <a:off x="9686426" y="1588873"/>
              <a:ext cx="2284506"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sz="1050" dirty="0"/>
                <a:t>Highlight the current item title and page number as follows:</a:t>
              </a:r>
            </a:p>
          </p:txBody>
        </p:sp>
        <p:sp>
          <p:nvSpPr>
            <p:cNvPr id="198" name="TextBox 197">
              <a:extLst>
                <a:ext uri="{FF2B5EF4-FFF2-40B4-BE49-F238E27FC236}">
                  <a16:creationId xmlns:a16="http://schemas.microsoft.com/office/drawing/2014/main" id="{07152F3A-AA58-A84A-9EB7-FBD519281D97}"/>
                </a:ext>
              </a:extLst>
            </p:cNvPr>
            <p:cNvSpPr txBox="1"/>
            <p:nvPr/>
          </p:nvSpPr>
          <p:spPr>
            <a:xfrm>
              <a:off x="9686426" y="1111528"/>
              <a:ext cx="2425134"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sz="1050" dirty="0"/>
                <a:t>Select and delete any unused item placeholders to remove the lines.</a:t>
              </a:r>
            </a:p>
          </p:txBody>
        </p:sp>
        <p:sp>
          <p:nvSpPr>
            <p:cNvPr id="199" name="TextBox 198">
              <a:extLst>
                <a:ext uri="{FF2B5EF4-FFF2-40B4-BE49-F238E27FC236}">
                  <a16:creationId xmlns:a16="http://schemas.microsoft.com/office/drawing/2014/main" id="{F9F2552A-118B-6B4D-96D5-DD7E30384C0A}"/>
                </a:ext>
              </a:extLst>
            </p:cNvPr>
            <p:cNvSpPr txBox="1"/>
            <p:nvPr/>
          </p:nvSpPr>
          <p:spPr>
            <a:xfrm>
              <a:off x="9694073" y="2789000"/>
              <a:ext cx="2269212"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e entire element is selected—it won’t work correctly if you have your cursor in the text.</a:t>
              </a:r>
            </a:p>
          </p:txBody>
        </p:sp>
        <p:sp>
          <p:nvSpPr>
            <p:cNvPr id="200" name="TextBox 199">
              <a:extLst>
                <a:ext uri="{FF2B5EF4-FFF2-40B4-BE49-F238E27FC236}">
                  <a16:creationId xmlns:a16="http://schemas.microsoft.com/office/drawing/2014/main" id="{32F571D5-4F36-EC49-8A09-B4D4A0958C3F}"/>
                </a:ext>
              </a:extLst>
            </p:cNvPr>
            <p:cNvSpPr txBox="1"/>
            <p:nvPr/>
          </p:nvSpPr>
          <p:spPr>
            <a:xfrm>
              <a:off x="9686426" y="5004333"/>
              <a:ext cx="212642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dirty="0"/>
                <a:t>Click anywhere on the page number of current agenda item (on the text works here) to apply the highlight style.</a:t>
              </a:r>
            </a:p>
          </p:txBody>
        </p:sp>
        <p:sp>
          <p:nvSpPr>
            <p:cNvPr id="201" name="Rectangle 200">
              <a:extLst>
                <a:ext uri="{FF2B5EF4-FFF2-40B4-BE49-F238E27FC236}">
                  <a16:creationId xmlns:a16="http://schemas.microsoft.com/office/drawing/2014/main" id="{6DD556FA-E7AC-9148-B57F-E293EE977EBE}"/>
                </a:ext>
              </a:extLst>
            </p:cNvPr>
            <p:cNvSpPr/>
            <p:nvPr/>
          </p:nvSpPr>
          <p:spPr>
            <a:xfrm>
              <a:off x="9686427" y="234797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nvGrpSpPr>
            <p:cNvPr id="202" name="Group 201">
              <a:extLst>
                <a:ext uri="{FF2B5EF4-FFF2-40B4-BE49-F238E27FC236}">
                  <a16:creationId xmlns:a16="http://schemas.microsoft.com/office/drawing/2014/main" id="{ADEE7DA1-1F48-384F-89D9-9DA13F350772}"/>
                </a:ext>
              </a:extLst>
            </p:cNvPr>
            <p:cNvGrpSpPr/>
            <p:nvPr/>
          </p:nvGrpSpPr>
          <p:grpSpPr>
            <a:xfrm>
              <a:off x="9686426" y="3062499"/>
              <a:ext cx="2284506" cy="249299"/>
              <a:chOff x="9431244" y="2862535"/>
              <a:chExt cx="2284506" cy="249299"/>
            </a:xfrm>
          </p:grpSpPr>
          <p:pic>
            <p:nvPicPr>
              <p:cNvPr id="224" name="Picture 223">
                <a:extLst>
                  <a:ext uri="{FF2B5EF4-FFF2-40B4-BE49-F238E27FC236}">
                    <a16:creationId xmlns:a16="http://schemas.microsoft.com/office/drawing/2014/main" id="{3ACC768F-04E3-A840-822B-D1EFB3C9876B}"/>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225" name="TextBox 224">
                <a:extLst>
                  <a:ext uri="{FF2B5EF4-FFF2-40B4-BE49-F238E27FC236}">
                    <a16:creationId xmlns:a16="http://schemas.microsoft.com/office/drawing/2014/main" id="{BE88291A-40C1-C145-821D-3DC04F178BCB}"/>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dirty="0"/>
                  <a:t>Click the Format Painter button (           ) to copy the style.</a:t>
                </a:r>
              </a:p>
            </p:txBody>
          </p:sp>
        </p:grpSp>
        <p:sp>
          <p:nvSpPr>
            <p:cNvPr id="203" name="TextBox 202">
              <a:extLst>
                <a:ext uri="{FF2B5EF4-FFF2-40B4-BE49-F238E27FC236}">
                  <a16:creationId xmlns:a16="http://schemas.microsoft.com/office/drawing/2014/main" id="{95654A3A-C98F-2A41-8935-4791ADD47024}"/>
                </a:ext>
              </a:extLst>
            </p:cNvPr>
            <p:cNvSpPr txBox="1"/>
            <p:nvPr/>
          </p:nvSpPr>
          <p:spPr>
            <a:xfrm>
              <a:off x="9686426" y="3363632"/>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dirty="0"/>
                <a:t>Click anywhere on the current agenda item (on the text works here) to apply the highlight style.</a:t>
              </a:r>
            </a:p>
          </p:txBody>
        </p:sp>
        <p:sp>
          <p:nvSpPr>
            <p:cNvPr id="204" name="Rectangle 203">
              <a:extLst>
                <a:ext uri="{FF2B5EF4-FFF2-40B4-BE49-F238E27FC236}">
                  <a16:creationId xmlns:a16="http://schemas.microsoft.com/office/drawing/2014/main" id="{FCEB0B63-DB36-F046-8D85-FA630484DC86}"/>
                </a:ext>
              </a:extLst>
            </p:cNvPr>
            <p:cNvSpPr/>
            <p:nvPr/>
          </p:nvSpPr>
          <p:spPr>
            <a:xfrm>
              <a:off x="9686427" y="420031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205" name="TextBox 204">
              <a:extLst>
                <a:ext uri="{FF2B5EF4-FFF2-40B4-BE49-F238E27FC236}">
                  <a16:creationId xmlns:a16="http://schemas.microsoft.com/office/drawing/2014/main" id="{4B3865E1-B4C1-B040-A27A-1016E8FD7E68}"/>
                </a:ext>
              </a:extLst>
            </p:cNvPr>
            <p:cNvSpPr txBox="1"/>
            <p:nvPr/>
          </p:nvSpPr>
          <p:spPr>
            <a:xfrm>
              <a:off x="9686426" y="4026515"/>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dirty="0"/>
                <a:t>Select the ‘page # style’ element below:</a:t>
              </a:r>
            </a:p>
          </p:txBody>
        </p:sp>
        <p:sp>
          <p:nvSpPr>
            <p:cNvPr id="206" name="TextBox 205">
              <a:extLst>
                <a:ext uri="{FF2B5EF4-FFF2-40B4-BE49-F238E27FC236}">
                  <a16:creationId xmlns:a16="http://schemas.microsoft.com/office/drawing/2014/main" id="{8B769E22-9CB3-1842-AE3D-A38FA4B458F9}"/>
                </a:ext>
              </a:extLst>
            </p:cNvPr>
            <p:cNvSpPr txBox="1"/>
            <p:nvPr/>
          </p:nvSpPr>
          <p:spPr>
            <a:xfrm>
              <a:off x="9686426" y="2184031"/>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dirty="0"/>
                <a:t>Select the ‘title style’ element below:</a:t>
              </a:r>
            </a:p>
          </p:txBody>
        </p:sp>
        <p:sp>
          <p:nvSpPr>
            <p:cNvPr id="207" name="TextBox 206">
              <a:extLst>
                <a:ext uri="{FF2B5EF4-FFF2-40B4-BE49-F238E27FC236}">
                  <a16:creationId xmlns:a16="http://schemas.microsoft.com/office/drawing/2014/main" id="{DEF58FFE-C8BB-A644-814F-B8E499AA1354}"/>
                </a:ext>
              </a:extLst>
            </p:cNvPr>
            <p:cNvSpPr txBox="1"/>
            <p:nvPr/>
          </p:nvSpPr>
          <p:spPr>
            <a:xfrm>
              <a:off x="9686426" y="1990139"/>
              <a:ext cx="587902"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TITLE:</a:t>
              </a:r>
            </a:p>
          </p:txBody>
        </p:sp>
        <p:cxnSp>
          <p:nvCxnSpPr>
            <p:cNvPr id="208" name="Straight Connector 207">
              <a:extLst>
                <a:ext uri="{FF2B5EF4-FFF2-40B4-BE49-F238E27FC236}">
                  <a16:creationId xmlns:a16="http://schemas.microsoft.com/office/drawing/2014/main" id="{E0FD961B-9C6C-C84B-82CA-1AE94D4B142C}"/>
                </a:ext>
              </a:extLst>
            </p:cNvPr>
            <p:cNvCxnSpPr>
              <a:cxnSpLocks/>
            </p:cNvCxnSpPr>
            <p:nvPr/>
          </p:nvCxnSpPr>
          <p:spPr>
            <a:xfrm>
              <a:off x="9679848" y="2113772"/>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09" name="TextBox 208">
              <a:extLst>
                <a:ext uri="{FF2B5EF4-FFF2-40B4-BE49-F238E27FC236}">
                  <a16:creationId xmlns:a16="http://schemas.microsoft.com/office/drawing/2014/main" id="{DFB31B83-EC2B-A841-BEB3-3BA0404E5872}"/>
                </a:ext>
              </a:extLst>
            </p:cNvPr>
            <p:cNvSpPr txBox="1"/>
            <p:nvPr/>
          </p:nvSpPr>
          <p:spPr>
            <a:xfrm>
              <a:off x="9686426" y="3831464"/>
              <a:ext cx="648014"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PAGE #:</a:t>
              </a:r>
            </a:p>
          </p:txBody>
        </p:sp>
        <p:cxnSp>
          <p:nvCxnSpPr>
            <p:cNvPr id="210" name="Straight Connector 209">
              <a:extLst>
                <a:ext uri="{FF2B5EF4-FFF2-40B4-BE49-F238E27FC236}">
                  <a16:creationId xmlns:a16="http://schemas.microsoft.com/office/drawing/2014/main" id="{1CE7C6FE-AAF6-C844-87BE-AF0B8D40B211}"/>
                </a:ext>
              </a:extLst>
            </p:cNvPr>
            <p:cNvCxnSpPr>
              <a:cxnSpLocks/>
            </p:cNvCxnSpPr>
            <p:nvPr/>
          </p:nvCxnSpPr>
          <p:spPr>
            <a:xfrm>
              <a:off x="9679848" y="3955097"/>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11" name="Group 210">
              <a:extLst>
                <a:ext uri="{FF2B5EF4-FFF2-40B4-BE49-F238E27FC236}">
                  <a16:creationId xmlns:a16="http://schemas.microsoft.com/office/drawing/2014/main" id="{6DC53FCD-82B6-7048-9F20-C8BA810B45DB}"/>
                </a:ext>
              </a:extLst>
            </p:cNvPr>
            <p:cNvGrpSpPr/>
            <p:nvPr/>
          </p:nvGrpSpPr>
          <p:grpSpPr>
            <a:xfrm>
              <a:off x="9686426" y="4692069"/>
              <a:ext cx="2284506" cy="249299"/>
              <a:chOff x="9431244" y="2862535"/>
              <a:chExt cx="2284506" cy="249299"/>
            </a:xfrm>
          </p:grpSpPr>
          <p:pic>
            <p:nvPicPr>
              <p:cNvPr id="222" name="Picture 221">
                <a:extLst>
                  <a:ext uri="{FF2B5EF4-FFF2-40B4-BE49-F238E27FC236}">
                    <a16:creationId xmlns:a16="http://schemas.microsoft.com/office/drawing/2014/main" id="{DBD2640C-E387-4844-A244-F11A31D01261}"/>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223" name="TextBox 222">
                <a:extLst>
                  <a:ext uri="{FF2B5EF4-FFF2-40B4-BE49-F238E27FC236}">
                    <a16:creationId xmlns:a16="http://schemas.microsoft.com/office/drawing/2014/main" id="{1183DA2F-9D9A-8D45-9DFA-CF2F6744B28A}"/>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dirty="0"/>
                  <a:t>Click the Format Painter button (           ) to copy the style.</a:t>
                </a:r>
              </a:p>
            </p:txBody>
          </p:sp>
        </p:grpSp>
        <p:grpSp>
          <p:nvGrpSpPr>
            <p:cNvPr id="232" name="Group 231">
              <a:extLst>
                <a:ext uri="{FF2B5EF4-FFF2-40B4-BE49-F238E27FC236}">
                  <a16:creationId xmlns:a16="http://schemas.microsoft.com/office/drawing/2014/main" id="{30958E0C-707E-074A-9E85-1719DD93FE83}"/>
                </a:ext>
              </a:extLst>
            </p:cNvPr>
            <p:cNvGrpSpPr/>
            <p:nvPr userDrawn="1"/>
          </p:nvGrpSpPr>
          <p:grpSpPr>
            <a:xfrm>
              <a:off x="9541497" y="6488937"/>
              <a:ext cx="2735151" cy="2142684"/>
              <a:chOff x="9541497" y="1525267"/>
              <a:chExt cx="2735151" cy="2142684"/>
            </a:xfrm>
          </p:grpSpPr>
          <p:grpSp>
            <p:nvGrpSpPr>
              <p:cNvPr id="233" name="Group 232">
                <a:extLst>
                  <a:ext uri="{FF2B5EF4-FFF2-40B4-BE49-F238E27FC236}">
                    <a16:creationId xmlns:a16="http://schemas.microsoft.com/office/drawing/2014/main" id="{3F659622-D770-FB48-9CA2-36AF35529F6D}"/>
                  </a:ext>
                </a:extLst>
              </p:cNvPr>
              <p:cNvGrpSpPr/>
              <p:nvPr userDrawn="1"/>
            </p:nvGrpSpPr>
            <p:grpSpPr>
              <a:xfrm>
                <a:off x="9541497" y="1525267"/>
                <a:ext cx="2735151" cy="2142684"/>
                <a:chOff x="9296567" y="5817858"/>
                <a:chExt cx="2735151" cy="2142684"/>
              </a:xfrm>
            </p:grpSpPr>
            <p:sp>
              <p:nvSpPr>
                <p:cNvPr id="235" name="Rectangle 234">
                  <a:extLst>
                    <a:ext uri="{FF2B5EF4-FFF2-40B4-BE49-F238E27FC236}">
                      <a16:creationId xmlns:a16="http://schemas.microsoft.com/office/drawing/2014/main" id="{52D66407-36D6-4244-914D-013403C7AC4E}"/>
                    </a:ext>
                  </a:extLst>
                </p:cNvPr>
                <p:cNvSpPr/>
                <p:nvPr userDrawn="1"/>
              </p:nvSpPr>
              <p:spPr>
                <a:xfrm>
                  <a:off x="9296567" y="5817858"/>
                  <a:ext cx="2733136" cy="214268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36" name="TextBox 235">
                  <a:extLst>
                    <a:ext uri="{FF2B5EF4-FFF2-40B4-BE49-F238E27FC236}">
                      <a16:creationId xmlns:a16="http://schemas.microsoft.com/office/drawing/2014/main" id="{ABB6D0F0-0B4F-694F-B630-8A3236A551BC}"/>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Drag-select</a:t>
                  </a:r>
                </a:p>
              </p:txBody>
            </p:sp>
            <p:pic>
              <p:nvPicPr>
                <p:cNvPr id="237" name="Graphic 236">
                  <a:extLst>
                    <a:ext uri="{FF2B5EF4-FFF2-40B4-BE49-F238E27FC236}">
                      <a16:creationId xmlns:a16="http://schemas.microsoft.com/office/drawing/2014/main" id="{186673D5-8245-0F44-9FE3-7768FD6A4C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238" name="TextBox 237">
                  <a:extLst>
                    <a:ext uri="{FF2B5EF4-FFF2-40B4-BE49-F238E27FC236}">
                      <a16:creationId xmlns:a16="http://schemas.microsoft.com/office/drawing/2014/main" id="{A7383FE6-0069-8142-87B1-325CA7B82F11}"/>
                    </a:ext>
                  </a:extLst>
                </p:cNvPr>
                <p:cNvSpPr txBox="1"/>
                <p:nvPr userDrawn="1"/>
              </p:nvSpPr>
              <p:spPr>
                <a:xfrm>
                  <a:off x="9471805" y="6169594"/>
                  <a:ext cx="2444785" cy="138499"/>
                </a:xfrm>
                <a:prstGeom prst="rect">
                  <a:avLst/>
                </a:prstGeom>
              </p:spPr>
              <p:txBody>
                <a:bodyPr vert="horz" wrap="square" lIns="0" tIns="0" rIns="0" bIns="0" rtlCol="0" anchor="t">
                  <a:spAutoFit/>
                </a:bodyPr>
                <a:lstStyle/>
                <a:p>
                  <a:pPr>
                    <a:spcBef>
                      <a:spcPts val="200"/>
                    </a:spcBef>
                  </a:pPr>
                  <a:r>
                    <a:rPr lang="en-US" sz="900" dirty="0">
                      <a:solidFill>
                        <a:schemeClr val="tx1">
                          <a:lumMod val="50000"/>
                          <a:lumOff val="50000"/>
                        </a:schemeClr>
                      </a:solidFill>
                      <a:latin typeface="Arial" charset="0"/>
                      <a:ea typeface="Arial" charset="0"/>
                      <a:cs typeface="Arial" charset="0"/>
                    </a:rPr>
                    <a:t>Easily select multiple placeholders for deletion:</a:t>
                  </a:r>
                </a:p>
              </p:txBody>
            </p:sp>
            <p:sp>
              <p:nvSpPr>
                <p:cNvPr id="239" name="TextBox 238">
                  <a:extLst>
                    <a:ext uri="{FF2B5EF4-FFF2-40B4-BE49-F238E27FC236}">
                      <a16:creationId xmlns:a16="http://schemas.microsoft.com/office/drawing/2014/main" id="{9210F285-B4A2-FC43-BC5B-7EF7D83CDAFB}"/>
                    </a:ext>
                  </a:extLst>
                </p:cNvPr>
                <p:cNvSpPr txBox="1"/>
                <p:nvPr userDrawn="1"/>
              </p:nvSpPr>
              <p:spPr>
                <a:xfrm>
                  <a:off x="9471806" y="6398194"/>
                  <a:ext cx="1174622"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b="1" kern="1200" dirty="0">
                      <a:solidFill>
                        <a:schemeClr val="tx1">
                          <a:lumMod val="50000"/>
                          <a:lumOff val="50000"/>
                        </a:schemeClr>
                      </a:solidFill>
                      <a:latin typeface="Arial" charset="0"/>
                      <a:ea typeface="Arial" charset="0"/>
                      <a:cs typeface="Arial" charset="0"/>
                    </a:rPr>
                    <a:t>Click</a:t>
                  </a:r>
                  <a:r>
                    <a:rPr lang="en-US" sz="900" kern="1200" dirty="0">
                      <a:solidFill>
                        <a:schemeClr val="tx1">
                          <a:lumMod val="50000"/>
                          <a:lumOff val="50000"/>
                        </a:schemeClr>
                      </a:solidFill>
                      <a:latin typeface="Arial" charset="0"/>
                      <a:ea typeface="Arial" charset="0"/>
                      <a:cs typeface="Arial" charset="0"/>
                    </a:rPr>
                    <a:t> above and to the left of the first placeholder you’d like to delete.</a:t>
                  </a:r>
                </a:p>
              </p:txBody>
            </p:sp>
            <p:sp>
              <p:nvSpPr>
                <p:cNvPr id="240" name="TextBox 239">
                  <a:extLst>
                    <a:ext uri="{FF2B5EF4-FFF2-40B4-BE49-F238E27FC236}">
                      <a16:creationId xmlns:a16="http://schemas.microsoft.com/office/drawing/2014/main" id="{EC646126-52E4-C347-AC65-C032199DDAD5}"/>
                    </a:ext>
                  </a:extLst>
                </p:cNvPr>
                <p:cNvSpPr txBox="1"/>
                <p:nvPr userDrawn="1"/>
              </p:nvSpPr>
              <p:spPr>
                <a:xfrm>
                  <a:off x="9471805" y="7426396"/>
                  <a:ext cx="2444785" cy="24929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All the placeholders inside the drag area will now be selected. Press Delete on the keyboard to remove them.</a:t>
                  </a:r>
                </a:p>
              </p:txBody>
            </p:sp>
            <p:sp>
              <p:nvSpPr>
                <p:cNvPr id="241" name="TextBox 240">
                  <a:extLst>
                    <a:ext uri="{FF2B5EF4-FFF2-40B4-BE49-F238E27FC236}">
                      <a16:creationId xmlns:a16="http://schemas.microsoft.com/office/drawing/2014/main" id="{83C0DA68-7210-F344-B933-262216762A61}"/>
                    </a:ext>
                  </a:extLst>
                </p:cNvPr>
                <p:cNvSpPr txBox="1"/>
                <p:nvPr userDrawn="1"/>
              </p:nvSpPr>
              <p:spPr>
                <a:xfrm>
                  <a:off x="9471805" y="6974619"/>
                  <a:ext cx="241440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Then (still holding down the first click) </a:t>
                  </a:r>
                  <a:br>
                    <a:rPr lang="en-US" sz="900" kern="1200" dirty="0">
                      <a:solidFill>
                        <a:schemeClr val="tx1">
                          <a:lumMod val="50000"/>
                          <a:lumOff val="50000"/>
                        </a:schemeClr>
                      </a:solidFill>
                      <a:latin typeface="Arial" charset="0"/>
                      <a:ea typeface="Arial" charset="0"/>
                      <a:cs typeface="Arial" charset="0"/>
                    </a:rPr>
                  </a:br>
                  <a:r>
                    <a:rPr lang="en-US" sz="900" b="1" kern="1200" dirty="0">
                      <a:solidFill>
                        <a:schemeClr val="tx1">
                          <a:lumMod val="50000"/>
                          <a:lumOff val="50000"/>
                        </a:schemeClr>
                      </a:solidFill>
                      <a:latin typeface="Arial" charset="0"/>
                      <a:ea typeface="Arial" charset="0"/>
                      <a:cs typeface="Arial" charset="0"/>
                    </a:rPr>
                    <a:t>drag</a:t>
                  </a:r>
                  <a:r>
                    <a:rPr lang="en-US" sz="900" kern="1200" dirty="0">
                      <a:solidFill>
                        <a:schemeClr val="tx1">
                          <a:lumMod val="50000"/>
                          <a:lumOff val="50000"/>
                        </a:schemeClr>
                      </a:solidFill>
                      <a:latin typeface="Arial" charset="0"/>
                      <a:ea typeface="Arial" charset="0"/>
                      <a:cs typeface="Arial" charset="0"/>
                    </a:rPr>
                    <a:t> the cursor to below and to the right of the last placeholder and </a:t>
                  </a:r>
                  <a:r>
                    <a:rPr lang="en-US" sz="900" b="1" kern="1200" dirty="0">
                      <a:solidFill>
                        <a:schemeClr val="tx1">
                          <a:lumMod val="50000"/>
                          <a:lumOff val="50000"/>
                        </a:schemeClr>
                      </a:solidFill>
                      <a:latin typeface="Arial" charset="0"/>
                      <a:ea typeface="Arial" charset="0"/>
                      <a:cs typeface="Arial" charset="0"/>
                    </a:rPr>
                    <a:t>release</a:t>
                  </a:r>
                  <a:r>
                    <a:rPr lang="en-US" sz="900" kern="1200" dirty="0">
                      <a:solidFill>
                        <a:schemeClr val="tx1">
                          <a:lumMod val="50000"/>
                          <a:lumOff val="50000"/>
                        </a:schemeClr>
                      </a:solidFill>
                      <a:latin typeface="Arial" charset="0"/>
                      <a:ea typeface="Arial" charset="0"/>
                      <a:cs typeface="Arial" charset="0"/>
                    </a:rPr>
                    <a:t> the click.</a:t>
                  </a:r>
                </a:p>
              </p:txBody>
            </p:sp>
          </p:grpSp>
          <p:pic>
            <p:nvPicPr>
              <p:cNvPr id="234" name="Picture 233">
                <a:extLst>
                  <a:ext uri="{FF2B5EF4-FFF2-40B4-BE49-F238E27FC236}">
                    <a16:creationId xmlns:a16="http://schemas.microsoft.com/office/drawing/2014/main" id="{90C81D1C-FBC0-2D47-9C08-925873AF6C79}"/>
                  </a:ext>
                </a:extLst>
              </p:cNvPr>
              <p:cNvPicPr>
                <a:picLocks noChangeAspect="1"/>
              </p:cNvPicPr>
              <p:nvPr userDrawn="1"/>
            </p:nvPicPr>
            <p:blipFill rotWithShape="1">
              <a:blip r:embed="rId7"/>
              <a:srcRect t="33282" b="9876"/>
              <a:stretch/>
            </p:blipFill>
            <p:spPr>
              <a:xfrm>
                <a:off x="10901855" y="2099340"/>
                <a:ext cx="1237314" cy="517325"/>
              </a:xfrm>
              <a:prstGeom prst="rect">
                <a:avLst/>
              </a:prstGeom>
            </p:spPr>
          </p:pic>
        </p:grpSp>
      </p:grpSp>
      <p:sp>
        <p:nvSpPr>
          <p:cNvPr id="2" name="Title 1">
            <a:extLst>
              <a:ext uri="{FF2B5EF4-FFF2-40B4-BE49-F238E27FC236}">
                <a16:creationId xmlns:a16="http://schemas.microsoft.com/office/drawing/2014/main" id="{E196CE33-C89A-DF4A-A514-4B0F089622A5}"/>
              </a:ext>
            </a:extLst>
          </p:cNvPr>
          <p:cNvSpPr>
            <a:spLocks noGrp="1"/>
          </p:cNvSpPr>
          <p:nvPr userDrawn="1">
            <p:ph type="title" hasCustomPrompt="1"/>
          </p:nvPr>
        </p:nvSpPr>
        <p:spPr/>
        <p:txBody>
          <a:bodyPr/>
          <a:lstStyle/>
          <a:p>
            <a:r>
              <a:rPr lang="en-US" dirty="0"/>
              <a:t>Click to add agenda title. All caps. Two lines max.</a:t>
            </a:r>
          </a:p>
        </p:txBody>
      </p:sp>
      <p:sp>
        <p:nvSpPr>
          <p:cNvPr id="64" name="Text Placeholder 5">
            <a:extLst>
              <a:ext uri="{FF2B5EF4-FFF2-40B4-BE49-F238E27FC236}">
                <a16:creationId xmlns:a16="http://schemas.microsoft.com/office/drawing/2014/main" id="{680AE5C6-20A0-3842-8FA0-B38AA603F8A3}"/>
              </a:ext>
            </a:extLst>
          </p:cNvPr>
          <p:cNvSpPr>
            <a:spLocks noGrp="1"/>
          </p:cNvSpPr>
          <p:nvPr userDrawn="1">
            <p:ph type="body" sz="quarter" idx="121" hasCustomPrompt="1"/>
          </p:nvPr>
        </p:nvSpPr>
        <p:spPr>
          <a:xfrm>
            <a:off x="12935628" y="2356307"/>
            <a:ext cx="3239224" cy="376755"/>
          </a:xfrm>
          <a:solidFill>
            <a:schemeClr val="accent1"/>
          </a:solidFill>
          <a:ln w="31750">
            <a:solidFill>
              <a:schemeClr val="accent1"/>
            </a:solidFill>
          </a:ln>
          <a:effectLst/>
        </p:spPr>
        <p:txBody>
          <a:bodyPr lIns="432000" tIns="0" rIns="36000" anchor="ctr"/>
          <a:lstStyle>
            <a:lvl1pPr marL="0" indent="0">
              <a:buNone/>
              <a:defRPr b="1">
                <a:solidFill>
                  <a:schemeClr val="bg1"/>
                </a:solidFill>
              </a:defRPr>
            </a:lvl1pPr>
          </a:lstStyle>
          <a:p>
            <a:pPr lvl="0"/>
            <a:r>
              <a:rPr lang="en-US" dirty="0"/>
              <a:t>Select for Title style</a:t>
            </a:r>
          </a:p>
        </p:txBody>
      </p:sp>
      <p:sp>
        <p:nvSpPr>
          <p:cNvPr id="65" name="Text Placeholder 5">
            <a:extLst>
              <a:ext uri="{FF2B5EF4-FFF2-40B4-BE49-F238E27FC236}">
                <a16:creationId xmlns:a16="http://schemas.microsoft.com/office/drawing/2014/main" id="{AC21CD0C-F907-D84E-8617-2858BDF43E81}"/>
              </a:ext>
            </a:extLst>
          </p:cNvPr>
          <p:cNvSpPr>
            <a:spLocks noGrp="1"/>
          </p:cNvSpPr>
          <p:nvPr userDrawn="1">
            <p:ph type="body" sz="quarter" idx="122" hasCustomPrompt="1"/>
          </p:nvPr>
        </p:nvSpPr>
        <p:spPr>
          <a:xfrm>
            <a:off x="12935628" y="4208328"/>
            <a:ext cx="3239224" cy="376755"/>
          </a:xfrm>
          <a:noFill/>
          <a:ln w="31750">
            <a:noFill/>
          </a:ln>
          <a:effectLst/>
        </p:spPr>
        <p:txBody>
          <a:bodyPr lIns="0" tIns="0" rIns="0" anchor="ctr"/>
          <a:lstStyle>
            <a:lvl1pPr marL="0" indent="0" algn="r">
              <a:buNone/>
              <a:defRPr b="1">
                <a:solidFill>
                  <a:schemeClr val="bg1"/>
                </a:solidFill>
              </a:defRPr>
            </a:lvl1pPr>
          </a:lstStyle>
          <a:p>
            <a:pPr lvl="0"/>
            <a:r>
              <a:rPr lang="en-US" dirty="0"/>
              <a:t>Select for Page # style</a:t>
            </a:r>
          </a:p>
        </p:txBody>
      </p:sp>
      <p:sp>
        <p:nvSpPr>
          <p:cNvPr id="243" name="Text Placeholder 6">
            <a:extLst>
              <a:ext uri="{FF2B5EF4-FFF2-40B4-BE49-F238E27FC236}">
                <a16:creationId xmlns:a16="http://schemas.microsoft.com/office/drawing/2014/main" id="{91B769FF-FB3C-6747-8FCE-E8C24D69C27B}"/>
              </a:ext>
            </a:extLst>
          </p:cNvPr>
          <p:cNvSpPr>
            <a:spLocks noGrp="1"/>
          </p:cNvSpPr>
          <p:nvPr>
            <p:ph type="body" idx="13" hasCustomPrompt="1"/>
          </p:nvPr>
        </p:nvSpPr>
        <p:spPr>
          <a:xfrm>
            <a:off x="0" y="1230726"/>
            <a:ext cx="12192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244" name="Text Placeholder 6">
            <a:extLst>
              <a:ext uri="{FF2B5EF4-FFF2-40B4-BE49-F238E27FC236}">
                <a16:creationId xmlns:a16="http://schemas.microsoft.com/office/drawing/2014/main" id="{46A7DBB8-1DF6-554B-B31D-BC9C0B4F2A57}"/>
              </a:ext>
            </a:extLst>
          </p:cNvPr>
          <p:cNvSpPr>
            <a:spLocks noGrp="1"/>
          </p:cNvSpPr>
          <p:nvPr>
            <p:ph type="body" idx="14" hasCustomPrompt="1"/>
          </p:nvPr>
        </p:nvSpPr>
        <p:spPr>
          <a:xfrm>
            <a:off x="0" y="1847287"/>
            <a:ext cx="12192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245" name="Text Placeholder 6">
            <a:extLst>
              <a:ext uri="{FF2B5EF4-FFF2-40B4-BE49-F238E27FC236}">
                <a16:creationId xmlns:a16="http://schemas.microsoft.com/office/drawing/2014/main" id="{D155474C-5389-7248-85C8-A7CDCFC37463}"/>
              </a:ext>
            </a:extLst>
          </p:cNvPr>
          <p:cNvSpPr>
            <a:spLocks noGrp="1"/>
          </p:cNvSpPr>
          <p:nvPr>
            <p:ph type="body" idx="15" hasCustomPrompt="1"/>
          </p:nvPr>
        </p:nvSpPr>
        <p:spPr>
          <a:xfrm>
            <a:off x="0" y="2463848"/>
            <a:ext cx="12192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246" name="Text Placeholder 6">
            <a:extLst>
              <a:ext uri="{FF2B5EF4-FFF2-40B4-BE49-F238E27FC236}">
                <a16:creationId xmlns:a16="http://schemas.microsoft.com/office/drawing/2014/main" id="{64EC3DD3-A992-F048-A61E-0275830FA953}"/>
              </a:ext>
            </a:extLst>
          </p:cNvPr>
          <p:cNvSpPr>
            <a:spLocks noGrp="1"/>
          </p:cNvSpPr>
          <p:nvPr>
            <p:ph type="body" idx="16" hasCustomPrompt="1"/>
          </p:nvPr>
        </p:nvSpPr>
        <p:spPr>
          <a:xfrm>
            <a:off x="0" y="3080409"/>
            <a:ext cx="12192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247" name="Text Placeholder 6">
            <a:extLst>
              <a:ext uri="{FF2B5EF4-FFF2-40B4-BE49-F238E27FC236}">
                <a16:creationId xmlns:a16="http://schemas.microsoft.com/office/drawing/2014/main" id="{BAA3DB2E-205A-534B-9C44-EFEE5BDB0FBD}"/>
              </a:ext>
            </a:extLst>
          </p:cNvPr>
          <p:cNvSpPr>
            <a:spLocks noGrp="1"/>
          </p:cNvSpPr>
          <p:nvPr>
            <p:ph type="body" idx="17" hasCustomPrompt="1"/>
          </p:nvPr>
        </p:nvSpPr>
        <p:spPr>
          <a:xfrm>
            <a:off x="0" y="3696970"/>
            <a:ext cx="12192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248" name="Text Placeholder 6">
            <a:extLst>
              <a:ext uri="{FF2B5EF4-FFF2-40B4-BE49-F238E27FC236}">
                <a16:creationId xmlns:a16="http://schemas.microsoft.com/office/drawing/2014/main" id="{80869C67-837B-BE42-A9BE-AD3BBDACEB6B}"/>
              </a:ext>
            </a:extLst>
          </p:cNvPr>
          <p:cNvSpPr>
            <a:spLocks noGrp="1"/>
          </p:cNvSpPr>
          <p:nvPr>
            <p:ph type="body" idx="18" hasCustomPrompt="1"/>
          </p:nvPr>
        </p:nvSpPr>
        <p:spPr>
          <a:xfrm>
            <a:off x="0" y="4313531"/>
            <a:ext cx="12192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249" name="Text Placeholder 6">
            <a:extLst>
              <a:ext uri="{FF2B5EF4-FFF2-40B4-BE49-F238E27FC236}">
                <a16:creationId xmlns:a16="http://schemas.microsoft.com/office/drawing/2014/main" id="{6F036C69-95C0-FA4B-BBFA-E942D38EAA0D}"/>
              </a:ext>
            </a:extLst>
          </p:cNvPr>
          <p:cNvSpPr>
            <a:spLocks noGrp="1"/>
          </p:cNvSpPr>
          <p:nvPr>
            <p:ph type="body" idx="19" hasCustomPrompt="1"/>
          </p:nvPr>
        </p:nvSpPr>
        <p:spPr>
          <a:xfrm>
            <a:off x="0" y="4930092"/>
            <a:ext cx="12192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250" name="Text Placeholder 6">
            <a:extLst>
              <a:ext uri="{FF2B5EF4-FFF2-40B4-BE49-F238E27FC236}">
                <a16:creationId xmlns:a16="http://schemas.microsoft.com/office/drawing/2014/main" id="{82CFDAFE-B1BF-ED4F-8D1B-908011FE689B}"/>
              </a:ext>
            </a:extLst>
          </p:cNvPr>
          <p:cNvSpPr>
            <a:spLocks noGrp="1"/>
          </p:cNvSpPr>
          <p:nvPr>
            <p:ph type="body" idx="20" hasCustomPrompt="1"/>
          </p:nvPr>
        </p:nvSpPr>
        <p:spPr>
          <a:xfrm>
            <a:off x="0" y="5546650"/>
            <a:ext cx="12192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251" name="Text Placeholder 69">
            <a:extLst>
              <a:ext uri="{FF2B5EF4-FFF2-40B4-BE49-F238E27FC236}">
                <a16:creationId xmlns:a16="http://schemas.microsoft.com/office/drawing/2014/main" id="{58C31DAC-7646-7542-AA6F-2194522CE6A9}"/>
              </a:ext>
            </a:extLst>
          </p:cNvPr>
          <p:cNvSpPr>
            <a:spLocks noGrp="1"/>
          </p:cNvSpPr>
          <p:nvPr>
            <p:ph type="body" sz="quarter" idx="21" hasCustomPrompt="1"/>
          </p:nvPr>
        </p:nvSpPr>
        <p:spPr>
          <a:xfrm>
            <a:off x="10381560" y="1230726"/>
            <a:ext cx="1239144"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252" name="Text Placeholder 69">
            <a:extLst>
              <a:ext uri="{FF2B5EF4-FFF2-40B4-BE49-F238E27FC236}">
                <a16:creationId xmlns:a16="http://schemas.microsoft.com/office/drawing/2014/main" id="{F3D6B7F5-A321-C447-9339-ADB40C7B4AAE}"/>
              </a:ext>
            </a:extLst>
          </p:cNvPr>
          <p:cNvSpPr>
            <a:spLocks noGrp="1"/>
          </p:cNvSpPr>
          <p:nvPr>
            <p:ph type="body" sz="quarter" idx="22" hasCustomPrompt="1"/>
          </p:nvPr>
        </p:nvSpPr>
        <p:spPr>
          <a:xfrm>
            <a:off x="10381560" y="1847287"/>
            <a:ext cx="1239144"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253" name="Text Placeholder 69">
            <a:extLst>
              <a:ext uri="{FF2B5EF4-FFF2-40B4-BE49-F238E27FC236}">
                <a16:creationId xmlns:a16="http://schemas.microsoft.com/office/drawing/2014/main" id="{F918A5A2-CBA8-9746-8288-84619ED33FF4}"/>
              </a:ext>
            </a:extLst>
          </p:cNvPr>
          <p:cNvSpPr>
            <a:spLocks noGrp="1"/>
          </p:cNvSpPr>
          <p:nvPr>
            <p:ph type="body" sz="quarter" idx="23" hasCustomPrompt="1"/>
          </p:nvPr>
        </p:nvSpPr>
        <p:spPr>
          <a:xfrm>
            <a:off x="10381560" y="2463848"/>
            <a:ext cx="1239144"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254" name="Text Placeholder 69">
            <a:extLst>
              <a:ext uri="{FF2B5EF4-FFF2-40B4-BE49-F238E27FC236}">
                <a16:creationId xmlns:a16="http://schemas.microsoft.com/office/drawing/2014/main" id="{2110131B-6471-BA4F-83A7-D159CE9B4CF6}"/>
              </a:ext>
            </a:extLst>
          </p:cNvPr>
          <p:cNvSpPr>
            <a:spLocks noGrp="1"/>
          </p:cNvSpPr>
          <p:nvPr>
            <p:ph type="body" sz="quarter" idx="24" hasCustomPrompt="1"/>
          </p:nvPr>
        </p:nvSpPr>
        <p:spPr>
          <a:xfrm>
            <a:off x="10381560" y="3080409"/>
            <a:ext cx="1239144"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255" name="Text Placeholder 69">
            <a:extLst>
              <a:ext uri="{FF2B5EF4-FFF2-40B4-BE49-F238E27FC236}">
                <a16:creationId xmlns:a16="http://schemas.microsoft.com/office/drawing/2014/main" id="{5CE8F1D4-AABD-CF42-B74C-BA69A1DC7828}"/>
              </a:ext>
            </a:extLst>
          </p:cNvPr>
          <p:cNvSpPr>
            <a:spLocks noGrp="1"/>
          </p:cNvSpPr>
          <p:nvPr>
            <p:ph type="body" sz="quarter" idx="25" hasCustomPrompt="1"/>
          </p:nvPr>
        </p:nvSpPr>
        <p:spPr>
          <a:xfrm>
            <a:off x="10381560" y="3696970"/>
            <a:ext cx="1239144"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256" name="Text Placeholder 69">
            <a:extLst>
              <a:ext uri="{FF2B5EF4-FFF2-40B4-BE49-F238E27FC236}">
                <a16:creationId xmlns:a16="http://schemas.microsoft.com/office/drawing/2014/main" id="{D2FA80C7-C380-C54C-AF1E-86248734CA65}"/>
              </a:ext>
            </a:extLst>
          </p:cNvPr>
          <p:cNvSpPr>
            <a:spLocks noGrp="1"/>
          </p:cNvSpPr>
          <p:nvPr>
            <p:ph type="body" sz="quarter" idx="26" hasCustomPrompt="1"/>
          </p:nvPr>
        </p:nvSpPr>
        <p:spPr>
          <a:xfrm>
            <a:off x="10381560" y="4313531"/>
            <a:ext cx="1239144"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257" name="Text Placeholder 69">
            <a:extLst>
              <a:ext uri="{FF2B5EF4-FFF2-40B4-BE49-F238E27FC236}">
                <a16:creationId xmlns:a16="http://schemas.microsoft.com/office/drawing/2014/main" id="{10925F75-A1A8-3744-991C-D7C51B06B026}"/>
              </a:ext>
            </a:extLst>
          </p:cNvPr>
          <p:cNvSpPr>
            <a:spLocks noGrp="1"/>
          </p:cNvSpPr>
          <p:nvPr>
            <p:ph type="body" sz="quarter" idx="27" hasCustomPrompt="1"/>
          </p:nvPr>
        </p:nvSpPr>
        <p:spPr>
          <a:xfrm>
            <a:off x="10381560" y="4930092"/>
            <a:ext cx="1239144"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258" name="Text Placeholder 69">
            <a:extLst>
              <a:ext uri="{FF2B5EF4-FFF2-40B4-BE49-F238E27FC236}">
                <a16:creationId xmlns:a16="http://schemas.microsoft.com/office/drawing/2014/main" id="{748091C7-C5FA-B14E-912F-6F96120CF976}"/>
              </a:ext>
            </a:extLst>
          </p:cNvPr>
          <p:cNvSpPr>
            <a:spLocks noGrp="1"/>
          </p:cNvSpPr>
          <p:nvPr>
            <p:ph type="body" sz="quarter" idx="28" hasCustomPrompt="1"/>
          </p:nvPr>
        </p:nvSpPr>
        <p:spPr>
          <a:xfrm>
            <a:off x="10381560" y="5546650"/>
            <a:ext cx="1239144"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4" name="Date Placeholder 13">
            <a:extLst>
              <a:ext uri="{FF2B5EF4-FFF2-40B4-BE49-F238E27FC236}">
                <a16:creationId xmlns:a16="http://schemas.microsoft.com/office/drawing/2014/main" id="{C2848D6D-D4D4-484F-84EB-E19276855D2D}"/>
              </a:ext>
            </a:extLst>
          </p:cNvPr>
          <p:cNvSpPr>
            <a:spLocks noGrp="1"/>
          </p:cNvSpPr>
          <p:nvPr>
            <p:ph type="dt" sz="half" idx="123"/>
          </p:nvPr>
        </p:nvSpPr>
        <p:spPr/>
        <p:txBody>
          <a:bodyPr/>
          <a:lstStyle/>
          <a:p>
            <a:endParaRPr lang="en-US" dirty="0"/>
          </a:p>
        </p:txBody>
      </p:sp>
      <p:sp>
        <p:nvSpPr>
          <p:cNvPr id="15" name="Footer Placeholder 14">
            <a:extLst>
              <a:ext uri="{FF2B5EF4-FFF2-40B4-BE49-F238E27FC236}">
                <a16:creationId xmlns:a16="http://schemas.microsoft.com/office/drawing/2014/main" id="{1CFB29B8-ED2F-0C4F-B216-72AB74C1E9F3}"/>
              </a:ext>
            </a:extLst>
          </p:cNvPr>
          <p:cNvSpPr>
            <a:spLocks noGrp="1"/>
          </p:cNvSpPr>
          <p:nvPr>
            <p:ph type="ftr" sz="quarter" idx="124"/>
          </p:nvPr>
        </p:nvSpPr>
        <p:spPr/>
        <p:txBody>
          <a:bodyPr/>
          <a:lstStyle/>
          <a:p>
            <a:endParaRPr lang="en-US" dirty="0"/>
          </a:p>
        </p:txBody>
      </p:sp>
      <p:sp>
        <p:nvSpPr>
          <p:cNvPr id="16" name="Slide Number Placeholder 15">
            <a:extLst>
              <a:ext uri="{FF2B5EF4-FFF2-40B4-BE49-F238E27FC236}">
                <a16:creationId xmlns:a16="http://schemas.microsoft.com/office/drawing/2014/main" id="{BCF4CEC3-D8BB-F04A-A1D0-780B8D944778}"/>
              </a:ext>
            </a:extLst>
          </p:cNvPr>
          <p:cNvSpPr>
            <a:spLocks noGrp="1"/>
          </p:cNvSpPr>
          <p:nvPr>
            <p:ph type="sldNum" sz="quarter" idx="125"/>
          </p:nvPr>
        </p:nvSpPr>
        <p:spPr/>
        <p:txBody>
          <a:bodyPr/>
          <a:lstStyle/>
          <a:p>
            <a:pPr marL="12700"/>
            <a:fld id="{078C017C-E1B9-8443-B047-B08AAA027B45}" type="slidenum">
              <a:rPr lang="en-US" smtClean="0"/>
              <a:pPr marL="12700"/>
              <a:t>‹#›</a:t>
            </a:fld>
            <a:endParaRPr lang="en-US" dirty="0"/>
          </a:p>
        </p:txBody>
      </p:sp>
    </p:spTree>
    <p:extLst>
      <p:ext uri="{BB962C8B-B14F-4D97-AF65-F5344CB8AC3E}">
        <p14:creationId xmlns:p14="http://schemas.microsoft.com/office/powerpoint/2010/main" val="2895487029"/>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ToC Agenda (14)">
    <p:spTree>
      <p:nvGrpSpPr>
        <p:cNvPr id="1" name=""/>
        <p:cNvGrpSpPr/>
        <p:nvPr/>
      </p:nvGrpSpPr>
      <p:grpSpPr>
        <a:xfrm>
          <a:off x="0" y="0"/>
          <a:ext cx="0" cy="0"/>
          <a:chOff x="0" y="0"/>
          <a:chExt cx="0" cy="0"/>
        </a:xfrm>
      </p:grpSpPr>
      <p:sp>
        <p:nvSpPr>
          <p:cNvPr id="139" name="Rectangle 138">
            <a:extLst>
              <a:ext uri="{FF2B5EF4-FFF2-40B4-BE49-F238E27FC236}">
                <a16:creationId xmlns:a16="http://schemas.microsoft.com/office/drawing/2014/main" id="{0735789A-63DF-F64F-9BFF-A24BA7A397AC}"/>
              </a:ext>
            </a:extLst>
          </p:cNvPr>
          <p:cNvSpPr/>
          <p:nvPr userDrawn="1"/>
        </p:nvSpPr>
        <p:spPr>
          <a:xfrm>
            <a:off x="0" y="614023"/>
            <a:ext cx="12192000" cy="6192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nvGrpSpPr>
          <p:cNvPr id="28" name="Group 27">
            <a:extLst>
              <a:ext uri="{FF2B5EF4-FFF2-40B4-BE49-F238E27FC236}">
                <a16:creationId xmlns:a16="http://schemas.microsoft.com/office/drawing/2014/main" id="{5EBA89B3-0596-F74E-9FA2-DC751E0E88E4}"/>
              </a:ext>
            </a:extLst>
          </p:cNvPr>
          <p:cNvGrpSpPr/>
          <p:nvPr userDrawn="1"/>
        </p:nvGrpSpPr>
        <p:grpSpPr>
          <a:xfrm>
            <a:off x="12532243" y="-1"/>
            <a:ext cx="3836621" cy="8631622"/>
            <a:chOff x="9399182" y="-1"/>
            <a:chExt cx="2877466" cy="8631622"/>
          </a:xfrm>
        </p:grpSpPr>
        <p:sp>
          <p:nvSpPr>
            <p:cNvPr id="36" name="Rectangle 35">
              <a:extLst>
                <a:ext uri="{FF2B5EF4-FFF2-40B4-BE49-F238E27FC236}">
                  <a16:creationId xmlns:a16="http://schemas.microsoft.com/office/drawing/2014/main" id="{F4E83308-CF57-9E47-BA44-7A84C42B5978}"/>
                </a:ext>
              </a:extLst>
            </p:cNvPr>
            <p:cNvSpPr/>
            <p:nvPr userDrawn="1"/>
          </p:nvSpPr>
          <p:spPr>
            <a:xfrm>
              <a:off x="9399182" y="-1"/>
              <a:ext cx="2798651" cy="848185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7" name="TextBox 36">
              <a:extLst>
                <a:ext uri="{FF2B5EF4-FFF2-40B4-BE49-F238E27FC236}">
                  <a16:creationId xmlns:a16="http://schemas.microsoft.com/office/drawing/2014/main" id="{D2A5C2D3-9F21-234B-9F98-3DE702C886F7}"/>
                </a:ext>
              </a:extLst>
            </p:cNvPr>
            <p:cNvSpPr txBox="1">
              <a:spLocks noChangeAspect="1"/>
            </p:cNvSpPr>
            <p:nvPr userDrawn="1"/>
          </p:nvSpPr>
          <p:spPr>
            <a:xfrm>
              <a:off x="9521833" y="16103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38" name="TextBox 37">
              <a:extLst>
                <a:ext uri="{FF2B5EF4-FFF2-40B4-BE49-F238E27FC236}">
                  <a16:creationId xmlns:a16="http://schemas.microsoft.com/office/drawing/2014/main" id="{A02ADF69-BF1B-1A46-8854-22053F603054}"/>
                </a:ext>
              </a:extLst>
            </p:cNvPr>
            <p:cNvSpPr txBox="1">
              <a:spLocks noChangeAspect="1"/>
            </p:cNvSpPr>
            <p:nvPr userDrawn="1"/>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9" name="TextBox 38">
              <a:extLst>
                <a:ext uri="{FF2B5EF4-FFF2-40B4-BE49-F238E27FC236}">
                  <a16:creationId xmlns:a16="http://schemas.microsoft.com/office/drawing/2014/main" id="{A8195510-2A26-3049-8967-D7F2BC33D906}"/>
                </a:ext>
              </a:extLst>
            </p:cNvPr>
            <p:cNvSpPr txBox="1">
              <a:spLocks noChangeAspect="1"/>
            </p:cNvSpPr>
            <p:nvPr userDrawn="1"/>
          </p:nvSpPr>
          <p:spPr>
            <a:xfrm>
              <a:off x="9521833" y="11390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0" name="TextBox 39">
              <a:extLst>
                <a:ext uri="{FF2B5EF4-FFF2-40B4-BE49-F238E27FC236}">
                  <a16:creationId xmlns:a16="http://schemas.microsoft.com/office/drawing/2014/main" id="{D496DEE2-CA7E-AE42-879D-AF53D0749FFE}"/>
                </a:ext>
              </a:extLst>
            </p:cNvPr>
            <p:cNvSpPr txBox="1"/>
            <p:nvPr userDrawn="1"/>
          </p:nvSpPr>
          <p:spPr>
            <a:xfrm>
              <a:off x="9686426" y="513115"/>
              <a:ext cx="2425134"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Aft>
                  <a:spcPts val="0"/>
                </a:spcAft>
              </a:pPr>
              <a:r>
                <a:rPr lang="en-US" sz="1050" dirty="0"/>
                <a:t>Enter up to 14 agenda items and their page numbers. </a:t>
              </a:r>
            </a:p>
            <a:p>
              <a:pPr lvl="2"/>
              <a:r>
                <a:rPr lang="en-US" sz="800" dirty="0"/>
                <a:t>Switch to the 8-item agenda if you need fewer. </a:t>
              </a:r>
            </a:p>
          </p:txBody>
        </p:sp>
        <p:sp>
          <p:nvSpPr>
            <p:cNvPr id="41" name="TextBox 40">
              <a:extLst>
                <a:ext uri="{FF2B5EF4-FFF2-40B4-BE49-F238E27FC236}">
                  <a16:creationId xmlns:a16="http://schemas.microsoft.com/office/drawing/2014/main" id="{14E036DD-4A36-4B41-969E-46701BA472FB}"/>
                </a:ext>
              </a:extLst>
            </p:cNvPr>
            <p:cNvSpPr txBox="1"/>
            <p:nvPr userDrawn="1"/>
          </p:nvSpPr>
          <p:spPr>
            <a:xfrm>
              <a:off x="9558507" y="150290"/>
              <a:ext cx="140062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USE THE AGENDA</a:t>
              </a:r>
            </a:p>
          </p:txBody>
        </p:sp>
        <p:cxnSp>
          <p:nvCxnSpPr>
            <p:cNvPr id="42" name="Straight Connector 41">
              <a:extLst>
                <a:ext uri="{FF2B5EF4-FFF2-40B4-BE49-F238E27FC236}">
                  <a16:creationId xmlns:a16="http://schemas.microsoft.com/office/drawing/2014/main" id="{4171E0C5-608B-FF44-A6A5-678877741EBB}"/>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668704FB-F8CC-2D48-82EA-8020021930B4}"/>
                </a:ext>
              </a:extLst>
            </p:cNvPr>
            <p:cNvGrpSpPr/>
            <p:nvPr userDrawn="1"/>
          </p:nvGrpSpPr>
          <p:grpSpPr>
            <a:xfrm>
              <a:off x="9541497" y="5505499"/>
              <a:ext cx="2735151" cy="919215"/>
              <a:chOff x="9296567" y="4150379"/>
              <a:chExt cx="2735151" cy="919215"/>
            </a:xfrm>
          </p:grpSpPr>
          <p:grpSp>
            <p:nvGrpSpPr>
              <p:cNvPr id="68" name="Group 67">
                <a:extLst>
                  <a:ext uri="{FF2B5EF4-FFF2-40B4-BE49-F238E27FC236}">
                    <a16:creationId xmlns:a16="http://schemas.microsoft.com/office/drawing/2014/main" id="{2848AF80-78DE-6B4E-AAFC-ECF1C10CD0B4}"/>
                  </a:ext>
                </a:extLst>
              </p:cNvPr>
              <p:cNvGrpSpPr/>
              <p:nvPr userDrawn="1"/>
            </p:nvGrpSpPr>
            <p:grpSpPr>
              <a:xfrm>
                <a:off x="9296567" y="4150379"/>
                <a:ext cx="2735151" cy="919215"/>
                <a:chOff x="9296567" y="5817858"/>
                <a:chExt cx="2735151" cy="919215"/>
              </a:xfrm>
            </p:grpSpPr>
            <p:sp>
              <p:nvSpPr>
                <p:cNvPr id="85" name="Rectangle 84">
                  <a:extLst>
                    <a:ext uri="{FF2B5EF4-FFF2-40B4-BE49-F238E27FC236}">
                      <a16:creationId xmlns:a16="http://schemas.microsoft.com/office/drawing/2014/main" id="{C98E8FA1-C645-CA4C-9A7D-083293E08816}"/>
                    </a:ext>
                  </a:extLst>
                </p:cNvPr>
                <p:cNvSpPr/>
                <p:nvPr userDrawn="1"/>
              </p:nvSpPr>
              <p:spPr>
                <a:xfrm>
                  <a:off x="9296567" y="5817858"/>
                  <a:ext cx="2733136" cy="919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6" name="TextBox 85">
                  <a:extLst>
                    <a:ext uri="{FF2B5EF4-FFF2-40B4-BE49-F238E27FC236}">
                      <a16:creationId xmlns:a16="http://schemas.microsoft.com/office/drawing/2014/main" id="{70D9BBD7-B8A7-4242-B359-9835E773B97C}"/>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set Placeholders</a:t>
                  </a:r>
                </a:p>
              </p:txBody>
            </p:sp>
            <p:pic>
              <p:nvPicPr>
                <p:cNvPr id="87" name="Graphic 86">
                  <a:extLst>
                    <a:ext uri="{FF2B5EF4-FFF2-40B4-BE49-F238E27FC236}">
                      <a16:creationId xmlns:a16="http://schemas.microsoft.com/office/drawing/2014/main" id="{985CB0FA-7C01-054B-95CD-E445FA2433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88" name="TextBox 87">
                  <a:extLst>
                    <a:ext uri="{FF2B5EF4-FFF2-40B4-BE49-F238E27FC236}">
                      <a16:creationId xmlns:a16="http://schemas.microsoft.com/office/drawing/2014/main" id="{84979134-C3B7-EA40-B6A3-56FD3BE593AA}"/>
                    </a:ext>
                  </a:extLst>
                </p:cNvPr>
                <p:cNvSpPr txBox="1"/>
                <p:nvPr userDrawn="1"/>
              </p:nvSpPr>
              <p:spPr>
                <a:xfrm>
                  <a:off x="9471805" y="6169594"/>
                  <a:ext cx="2491595" cy="441146"/>
                </a:xfrm>
                <a:prstGeom prst="rect">
                  <a:avLst/>
                </a:prstGeom>
              </p:spPr>
              <p:txBody>
                <a:bodyPr vert="horz" wrap="square" lIns="0" tIns="0" rIns="0" bIns="0" rtlCol="0" anchor="t">
                  <a:spAutoFit/>
                </a:bodyPr>
                <a:lstStyle/>
                <a:p>
                  <a:pPr algn="l">
                    <a:spcBef>
                      <a:spcPts val="200"/>
                    </a:spcBef>
                  </a:pPr>
                  <a:r>
                    <a:rPr lang="en-US" sz="900" dirty="0">
                      <a:solidFill>
                        <a:schemeClr val="tx1">
                          <a:lumMod val="50000"/>
                          <a:lumOff val="50000"/>
                        </a:schemeClr>
                      </a:solidFill>
                      <a:latin typeface="Arial" charset="0"/>
                      <a:ea typeface="Arial" charset="0"/>
                      <a:cs typeface="Arial" charset="0"/>
                    </a:rPr>
                    <a:t>Press the Reset (            ) button to bring back placeholders you have deleted if you need them. </a:t>
                  </a:r>
                </a:p>
                <a:p>
                  <a:pPr algn="l">
                    <a:spcBef>
                      <a:spcPts val="200"/>
                    </a:spcBef>
                  </a:pPr>
                  <a:r>
                    <a:rPr lang="en-US" sz="900" dirty="0">
                      <a:solidFill>
                        <a:schemeClr val="tx1">
                          <a:lumMod val="50000"/>
                          <a:lumOff val="50000"/>
                        </a:schemeClr>
                      </a:solidFill>
                      <a:latin typeface="Arial" charset="0"/>
                      <a:ea typeface="Arial" charset="0"/>
                      <a:cs typeface="Arial" charset="0"/>
                    </a:rPr>
                    <a:t>Note: this will also remove your item highlight.</a:t>
                  </a:r>
                </a:p>
              </p:txBody>
            </p:sp>
          </p:grpSp>
          <p:pic>
            <p:nvPicPr>
              <p:cNvPr id="69" name="Picture 68">
                <a:extLst>
                  <a:ext uri="{FF2B5EF4-FFF2-40B4-BE49-F238E27FC236}">
                    <a16:creationId xmlns:a16="http://schemas.microsoft.com/office/drawing/2014/main" id="{9DBFC0E8-D037-9D47-9459-C3C5D94A426B}"/>
                  </a:ext>
                </a:extLst>
              </p:cNvPr>
              <p:cNvPicPr>
                <a:picLocks noChangeAspect="1"/>
              </p:cNvPicPr>
              <p:nvPr userDrawn="1"/>
            </p:nvPicPr>
            <p:blipFill rotWithShape="1">
              <a:blip r:embed="rId5"/>
              <a:srcRect t="-7688" r="11531" b="-1"/>
              <a:stretch/>
            </p:blipFill>
            <p:spPr>
              <a:xfrm>
                <a:off x="10368085" y="4507363"/>
                <a:ext cx="346954" cy="130863"/>
              </a:xfrm>
              <a:prstGeom prst="rect">
                <a:avLst/>
              </a:prstGeom>
            </p:spPr>
          </p:pic>
        </p:grpSp>
        <p:sp>
          <p:nvSpPr>
            <p:cNvPr id="45" name="TextBox 44">
              <a:extLst>
                <a:ext uri="{FF2B5EF4-FFF2-40B4-BE49-F238E27FC236}">
                  <a16:creationId xmlns:a16="http://schemas.microsoft.com/office/drawing/2014/main" id="{26ECECB2-9E9D-9C4A-BC3F-D4B6EF59D7B2}"/>
                </a:ext>
              </a:extLst>
            </p:cNvPr>
            <p:cNvSpPr txBox="1"/>
            <p:nvPr/>
          </p:nvSpPr>
          <p:spPr>
            <a:xfrm>
              <a:off x="9686426" y="1588873"/>
              <a:ext cx="2284506"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sz="1050" dirty="0"/>
                <a:t>Highlight the current item title and page number as follows:</a:t>
              </a:r>
            </a:p>
          </p:txBody>
        </p:sp>
        <p:sp>
          <p:nvSpPr>
            <p:cNvPr id="46" name="TextBox 45">
              <a:extLst>
                <a:ext uri="{FF2B5EF4-FFF2-40B4-BE49-F238E27FC236}">
                  <a16:creationId xmlns:a16="http://schemas.microsoft.com/office/drawing/2014/main" id="{03ED648A-9D4D-4F41-AB76-D687D0E49DFB}"/>
                </a:ext>
              </a:extLst>
            </p:cNvPr>
            <p:cNvSpPr txBox="1"/>
            <p:nvPr/>
          </p:nvSpPr>
          <p:spPr>
            <a:xfrm>
              <a:off x="9686426" y="1111528"/>
              <a:ext cx="2425134"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sz="1050" dirty="0"/>
                <a:t>Select and delete any unused item placeholders to remove the lines.</a:t>
              </a:r>
            </a:p>
          </p:txBody>
        </p:sp>
        <p:sp>
          <p:nvSpPr>
            <p:cNvPr id="47" name="TextBox 46">
              <a:extLst>
                <a:ext uri="{FF2B5EF4-FFF2-40B4-BE49-F238E27FC236}">
                  <a16:creationId xmlns:a16="http://schemas.microsoft.com/office/drawing/2014/main" id="{8271BCEA-EA17-C24E-87BB-934AFBBF87E6}"/>
                </a:ext>
              </a:extLst>
            </p:cNvPr>
            <p:cNvSpPr txBox="1"/>
            <p:nvPr/>
          </p:nvSpPr>
          <p:spPr>
            <a:xfrm>
              <a:off x="9694073" y="2789000"/>
              <a:ext cx="2269212"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e entire element is selected—it won’t work correctly if you have your cursor in the text.</a:t>
              </a:r>
            </a:p>
          </p:txBody>
        </p:sp>
        <p:sp>
          <p:nvSpPr>
            <p:cNvPr id="48" name="TextBox 47">
              <a:extLst>
                <a:ext uri="{FF2B5EF4-FFF2-40B4-BE49-F238E27FC236}">
                  <a16:creationId xmlns:a16="http://schemas.microsoft.com/office/drawing/2014/main" id="{FA5CB92E-0A0F-AC42-8739-C4D22325B31B}"/>
                </a:ext>
              </a:extLst>
            </p:cNvPr>
            <p:cNvSpPr txBox="1"/>
            <p:nvPr/>
          </p:nvSpPr>
          <p:spPr>
            <a:xfrm>
              <a:off x="9686426" y="5004333"/>
              <a:ext cx="212642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dirty="0"/>
                <a:t>Click anywhere on the page number of current agenda item (on the text works here) to apply the highlight style.</a:t>
              </a:r>
            </a:p>
          </p:txBody>
        </p:sp>
        <p:sp>
          <p:nvSpPr>
            <p:cNvPr id="49" name="Rectangle 48">
              <a:extLst>
                <a:ext uri="{FF2B5EF4-FFF2-40B4-BE49-F238E27FC236}">
                  <a16:creationId xmlns:a16="http://schemas.microsoft.com/office/drawing/2014/main" id="{589B837D-7809-FE49-9BC4-51E31160E426}"/>
                </a:ext>
              </a:extLst>
            </p:cNvPr>
            <p:cNvSpPr/>
            <p:nvPr/>
          </p:nvSpPr>
          <p:spPr>
            <a:xfrm>
              <a:off x="9686427" y="234797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nvGrpSpPr>
            <p:cNvPr id="50" name="Group 49">
              <a:extLst>
                <a:ext uri="{FF2B5EF4-FFF2-40B4-BE49-F238E27FC236}">
                  <a16:creationId xmlns:a16="http://schemas.microsoft.com/office/drawing/2014/main" id="{B2F7C5ED-DA74-5D44-A55A-C451CAD6D7F9}"/>
                </a:ext>
              </a:extLst>
            </p:cNvPr>
            <p:cNvGrpSpPr/>
            <p:nvPr/>
          </p:nvGrpSpPr>
          <p:grpSpPr>
            <a:xfrm>
              <a:off x="9686426" y="3062499"/>
              <a:ext cx="2284506" cy="249299"/>
              <a:chOff x="9431244" y="2862535"/>
              <a:chExt cx="2284506" cy="249299"/>
            </a:xfrm>
          </p:grpSpPr>
          <p:pic>
            <p:nvPicPr>
              <p:cNvPr id="62" name="Picture 61">
                <a:extLst>
                  <a:ext uri="{FF2B5EF4-FFF2-40B4-BE49-F238E27FC236}">
                    <a16:creationId xmlns:a16="http://schemas.microsoft.com/office/drawing/2014/main" id="{24774FB4-765A-9E49-A933-097A5BD5D66C}"/>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63" name="TextBox 62">
                <a:extLst>
                  <a:ext uri="{FF2B5EF4-FFF2-40B4-BE49-F238E27FC236}">
                    <a16:creationId xmlns:a16="http://schemas.microsoft.com/office/drawing/2014/main" id="{1B7D5897-54FC-ED4C-878C-E0BBE070F573}"/>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dirty="0"/>
                  <a:t>Click the Format Painter button (           ) to copy the style.</a:t>
                </a:r>
              </a:p>
            </p:txBody>
          </p:sp>
        </p:grpSp>
        <p:sp>
          <p:nvSpPr>
            <p:cNvPr id="51" name="TextBox 50">
              <a:extLst>
                <a:ext uri="{FF2B5EF4-FFF2-40B4-BE49-F238E27FC236}">
                  <a16:creationId xmlns:a16="http://schemas.microsoft.com/office/drawing/2014/main" id="{D10BF092-52C8-A14D-86F5-8BF992C1ECD8}"/>
                </a:ext>
              </a:extLst>
            </p:cNvPr>
            <p:cNvSpPr txBox="1"/>
            <p:nvPr/>
          </p:nvSpPr>
          <p:spPr>
            <a:xfrm>
              <a:off x="9686426" y="3363632"/>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dirty="0"/>
                <a:t>Click anywhere on the current agenda item (on the text works here) to apply the highlight style.</a:t>
              </a:r>
            </a:p>
          </p:txBody>
        </p:sp>
        <p:sp>
          <p:nvSpPr>
            <p:cNvPr id="52" name="Rectangle 51">
              <a:extLst>
                <a:ext uri="{FF2B5EF4-FFF2-40B4-BE49-F238E27FC236}">
                  <a16:creationId xmlns:a16="http://schemas.microsoft.com/office/drawing/2014/main" id="{3BDB51E4-A24F-4342-8A5A-EDD95B943E22}"/>
                </a:ext>
              </a:extLst>
            </p:cNvPr>
            <p:cNvSpPr/>
            <p:nvPr/>
          </p:nvSpPr>
          <p:spPr>
            <a:xfrm>
              <a:off x="9686427" y="420031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sp>
          <p:nvSpPr>
            <p:cNvPr id="53" name="TextBox 52">
              <a:extLst>
                <a:ext uri="{FF2B5EF4-FFF2-40B4-BE49-F238E27FC236}">
                  <a16:creationId xmlns:a16="http://schemas.microsoft.com/office/drawing/2014/main" id="{8C97E8A0-B37A-3044-82A9-7D36673708BC}"/>
                </a:ext>
              </a:extLst>
            </p:cNvPr>
            <p:cNvSpPr txBox="1"/>
            <p:nvPr/>
          </p:nvSpPr>
          <p:spPr>
            <a:xfrm>
              <a:off x="9686426" y="4026515"/>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dirty="0"/>
                <a:t>Select the ‘page # style’ element below:</a:t>
              </a:r>
            </a:p>
          </p:txBody>
        </p:sp>
        <p:sp>
          <p:nvSpPr>
            <p:cNvPr id="54" name="TextBox 53">
              <a:extLst>
                <a:ext uri="{FF2B5EF4-FFF2-40B4-BE49-F238E27FC236}">
                  <a16:creationId xmlns:a16="http://schemas.microsoft.com/office/drawing/2014/main" id="{A80195D2-2D31-7942-B7D0-9F85C7D444AF}"/>
                </a:ext>
              </a:extLst>
            </p:cNvPr>
            <p:cNvSpPr txBox="1"/>
            <p:nvPr/>
          </p:nvSpPr>
          <p:spPr>
            <a:xfrm>
              <a:off x="9686426" y="2184031"/>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dirty="0"/>
                <a:t>Select the ‘title style’ element below:</a:t>
              </a:r>
            </a:p>
          </p:txBody>
        </p:sp>
        <p:sp>
          <p:nvSpPr>
            <p:cNvPr id="55" name="TextBox 54">
              <a:extLst>
                <a:ext uri="{FF2B5EF4-FFF2-40B4-BE49-F238E27FC236}">
                  <a16:creationId xmlns:a16="http://schemas.microsoft.com/office/drawing/2014/main" id="{0A64BF6C-B9BD-1B41-969F-45514CC5BAE1}"/>
                </a:ext>
              </a:extLst>
            </p:cNvPr>
            <p:cNvSpPr txBox="1"/>
            <p:nvPr/>
          </p:nvSpPr>
          <p:spPr>
            <a:xfrm>
              <a:off x="9686426" y="1990139"/>
              <a:ext cx="587902"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TITLE:</a:t>
              </a:r>
            </a:p>
          </p:txBody>
        </p:sp>
        <p:cxnSp>
          <p:nvCxnSpPr>
            <p:cNvPr id="56" name="Straight Connector 55">
              <a:extLst>
                <a:ext uri="{FF2B5EF4-FFF2-40B4-BE49-F238E27FC236}">
                  <a16:creationId xmlns:a16="http://schemas.microsoft.com/office/drawing/2014/main" id="{2EFF5343-F139-D44E-8CF9-F7359DCDB499}"/>
                </a:ext>
              </a:extLst>
            </p:cNvPr>
            <p:cNvCxnSpPr>
              <a:cxnSpLocks/>
            </p:cNvCxnSpPr>
            <p:nvPr/>
          </p:nvCxnSpPr>
          <p:spPr>
            <a:xfrm>
              <a:off x="9679848" y="2113772"/>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661BC977-1E81-D943-96A2-8EC320962EB3}"/>
                </a:ext>
              </a:extLst>
            </p:cNvPr>
            <p:cNvSpPr txBox="1"/>
            <p:nvPr/>
          </p:nvSpPr>
          <p:spPr>
            <a:xfrm>
              <a:off x="9686426" y="3831464"/>
              <a:ext cx="648014"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PAGE #:</a:t>
              </a:r>
            </a:p>
          </p:txBody>
        </p:sp>
        <p:cxnSp>
          <p:nvCxnSpPr>
            <p:cNvPr id="58" name="Straight Connector 57">
              <a:extLst>
                <a:ext uri="{FF2B5EF4-FFF2-40B4-BE49-F238E27FC236}">
                  <a16:creationId xmlns:a16="http://schemas.microsoft.com/office/drawing/2014/main" id="{11E58E32-BCB0-7D4E-97A2-FF92AE046C34}"/>
                </a:ext>
              </a:extLst>
            </p:cNvPr>
            <p:cNvCxnSpPr>
              <a:cxnSpLocks/>
            </p:cNvCxnSpPr>
            <p:nvPr/>
          </p:nvCxnSpPr>
          <p:spPr>
            <a:xfrm>
              <a:off x="9679848" y="3955097"/>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2E08EBDD-4F9E-2F46-94B0-7AEFB64F4D50}"/>
                </a:ext>
              </a:extLst>
            </p:cNvPr>
            <p:cNvGrpSpPr/>
            <p:nvPr/>
          </p:nvGrpSpPr>
          <p:grpSpPr>
            <a:xfrm>
              <a:off x="9686426" y="4692069"/>
              <a:ext cx="2284506" cy="249299"/>
              <a:chOff x="9431244" y="2862535"/>
              <a:chExt cx="2284506" cy="249299"/>
            </a:xfrm>
          </p:grpSpPr>
          <p:pic>
            <p:nvPicPr>
              <p:cNvPr id="60" name="Picture 59">
                <a:extLst>
                  <a:ext uri="{FF2B5EF4-FFF2-40B4-BE49-F238E27FC236}">
                    <a16:creationId xmlns:a16="http://schemas.microsoft.com/office/drawing/2014/main" id="{DC8D70F4-324D-F14D-8D90-4F533C708BEF}"/>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61" name="TextBox 60">
                <a:extLst>
                  <a:ext uri="{FF2B5EF4-FFF2-40B4-BE49-F238E27FC236}">
                    <a16:creationId xmlns:a16="http://schemas.microsoft.com/office/drawing/2014/main" id="{0E162A8C-5CB5-0348-AF65-83FDA753EF06}"/>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dirty="0"/>
                  <a:t>Click the Format Painter button (           ) to copy the style.</a:t>
                </a:r>
              </a:p>
            </p:txBody>
          </p:sp>
        </p:grpSp>
        <p:grpSp>
          <p:nvGrpSpPr>
            <p:cNvPr id="27" name="Group 26">
              <a:extLst>
                <a:ext uri="{FF2B5EF4-FFF2-40B4-BE49-F238E27FC236}">
                  <a16:creationId xmlns:a16="http://schemas.microsoft.com/office/drawing/2014/main" id="{91EE1626-B758-3D4F-9E45-7DFD0CF68876}"/>
                </a:ext>
              </a:extLst>
            </p:cNvPr>
            <p:cNvGrpSpPr/>
            <p:nvPr userDrawn="1"/>
          </p:nvGrpSpPr>
          <p:grpSpPr>
            <a:xfrm>
              <a:off x="9541497" y="6488937"/>
              <a:ext cx="2735151" cy="2142684"/>
              <a:chOff x="9541497" y="1525267"/>
              <a:chExt cx="2735151" cy="2142684"/>
            </a:xfrm>
          </p:grpSpPr>
          <p:grpSp>
            <p:nvGrpSpPr>
              <p:cNvPr id="44" name="Group 43">
                <a:extLst>
                  <a:ext uri="{FF2B5EF4-FFF2-40B4-BE49-F238E27FC236}">
                    <a16:creationId xmlns:a16="http://schemas.microsoft.com/office/drawing/2014/main" id="{EF4513C3-471E-9542-A66F-5928FF17E189}"/>
                  </a:ext>
                </a:extLst>
              </p:cNvPr>
              <p:cNvGrpSpPr/>
              <p:nvPr userDrawn="1"/>
            </p:nvGrpSpPr>
            <p:grpSpPr>
              <a:xfrm>
                <a:off x="9541497" y="1525267"/>
                <a:ext cx="2735151" cy="2142684"/>
                <a:chOff x="9296567" y="5817858"/>
                <a:chExt cx="2735151" cy="2142684"/>
              </a:xfrm>
            </p:grpSpPr>
            <p:sp>
              <p:nvSpPr>
                <p:cNvPr id="64" name="Rectangle 63">
                  <a:extLst>
                    <a:ext uri="{FF2B5EF4-FFF2-40B4-BE49-F238E27FC236}">
                      <a16:creationId xmlns:a16="http://schemas.microsoft.com/office/drawing/2014/main" id="{3BCA6528-B4AD-3B4E-817E-7E37B4801528}"/>
                    </a:ext>
                  </a:extLst>
                </p:cNvPr>
                <p:cNvSpPr/>
                <p:nvPr userDrawn="1"/>
              </p:nvSpPr>
              <p:spPr>
                <a:xfrm>
                  <a:off x="9296567" y="5817858"/>
                  <a:ext cx="2733136" cy="214268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5" name="TextBox 64">
                  <a:extLst>
                    <a:ext uri="{FF2B5EF4-FFF2-40B4-BE49-F238E27FC236}">
                      <a16:creationId xmlns:a16="http://schemas.microsoft.com/office/drawing/2014/main" id="{374FCEAF-1509-4F42-9497-CD879A6A719D}"/>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Drag-select</a:t>
                  </a:r>
                </a:p>
              </p:txBody>
            </p:sp>
            <p:pic>
              <p:nvPicPr>
                <p:cNvPr id="66" name="Graphic 65">
                  <a:extLst>
                    <a:ext uri="{FF2B5EF4-FFF2-40B4-BE49-F238E27FC236}">
                      <a16:creationId xmlns:a16="http://schemas.microsoft.com/office/drawing/2014/main" id="{5DFF07DF-FE13-CC4C-B76D-1D2605070E4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67" name="TextBox 66">
                  <a:extLst>
                    <a:ext uri="{FF2B5EF4-FFF2-40B4-BE49-F238E27FC236}">
                      <a16:creationId xmlns:a16="http://schemas.microsoft.com/office/drawing/2014/main" id="{FED285DC-C61D-0D45-9BC6-5561AE17004B}"/>
                    </a:ext>
                  </a:extLst>
                </p:cNvPr>
                <p:cNvSpPr txBox="1"/>
                <p:nvPr userDrawn="1"/>
              </p:nvSpPr>
              <p:spPr>
                <a:xfrm>
                  <a:off x="9471805" y="6169594"/>
                  <a:ext cx="2444785" cy="138499"/>
                </a:xfrm>
                <a:prstGeom prst="rect">
                  <a:avLst/>
                </a:prstGeom>
              </p:spPr>
              <p:txBody>
                <a:bodyPr vert="horz" wrap="square" lIns="0" tIns="0" rIns="0" bIns="0" rtlCol="0" anchor="t">
                  <a:spAutoFit/>
                </a:bodyPr>
                <a:lstStyle/>
                <a:p>
                  <a:pPr>
                    <a:spcBef>
                      <a:spcPts val="200"/>
                    </a:spcBef>
                  </a:pPr>
                  <a:r>
                    <a:rPr lang="en-US" sz="900" dirty="0">
                      <a:solidFill>
                        <a:schemeClr val="tx1">
                          <a:lumMod val="50000"/>
                          <a:lumOff val="50000"/>
                        </a:schemeClr>
                      </a:solidFill>
                      <a:latin typeface="Arial" charset="0"/>
                      <a:ea typeface="Arial" charset="0"/>
                      <a:cs typeface="Arial" charset="0"/>
                    </a:rPr>
                    <a:t>Easily select multiple placeholders for deletion:</a:t>
                  </a:r>
                </a:p>
              </p:txBody>
            </p:sp>
            <p:sp>
              <p:nvSpPr>
                <p:cNvPr id="135" name="TextBox 134">
                  <a:extLst>
                    <a:ext uri="{FF2B5EF4-FFF2-40B4-BE49-F238E27FC236}">
                      <a16:creationId xmlns:a16="http://schemas.microsoft.com/office/drawing/2014/main" id="{03DC49DC-B6F7-5247-938C-5887557DD711}"/>
                    </a:ext>
                  </a:extLst>
                </p:cNvPr>
                <p:cNvSpPr txBox="1"/>
                <p:nvPr userDrawn="1"/>
              </p:nvSpPr>
              <p:spPr>
                <a:xfrm>
                  <a:off x="9471806" y="6398194"/>
                  <a:ext cx="1174622"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b="1" kern="1200" dirty="0">
                      <a:solidFill>
                        <a:schemeClr val="tx1">
                          <a:lumMod val="50000"/>
                          <a:lumOff val="50000"/>
                        </a:schemeClr>
                      </a:solidFill>
                      <a:latin typeface="Arial" charset="0"/>
                      <a:ea typeface="Arial" charset="0"/>
                      <a:cs typeface="Arial" charset="0"/>
                    </a:rPr>
                    <a:t>Click</a:t>
                  </a:r>
                  <a:r>
                    <a:rPr lang="en-US" sz="900" kern="1200" dirty="0">
                      <a:solidFill>
                        <a:schemeClr val="tx1">
                          <a:lumMod val="50000"/>
                          <a:lumOff val="50000"/>
                        </a:schemeClr>
                      </a:solidFill>
                      <a:latin typeface="Arial" charset="0"/>
                      <a:ea typeface="Arial" charset="0"/>
                      <a:cs typeface="Arial" charset="0"/>
                    </a:rPr>
                    <a:t> above and to the left of the first placeholder you’d like to delete.</a:t>
                  </a:r>
                </a:p>
              </p:txBody>
            </p:sp>
            <p:sp>
              <p:nvSpPr>
                <p:cNvPr id="136" name="TextBox 135">
                  <a:extLst>
                    <a:ext uri="{FF2B5EF4-FFF2-40B4-BE49-F238E27FC236}">
                      <a16:creationId xmlns:a16="http://schemas.microsoft.com/office/drawing/2014/main" id="{1F4843CF-D9EC-4B47-B9A7-B0D9BD1FDA87}"/>
                    </a:ext>
                  </a:extLst>
                </p:cNvPr>
                <p:cNvSpPr txBox="1"/>
                <p:nvPr userDrawn="1"/>
              </p:nvSpPr>
              <p:spPr>
                <a:xfrm>
                  <a:off x="9471805" y="7426396"/>
                  <a:ext cx="2444785" cy="24929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All the placeholders inside the drag area will now be selected. Press Delete on the keyboard to remove them.</a:t>
                  </a:r>
                </a:p>
              </p:txBody>
            </p:sp>
            <p:sp>
              <p:nvSpPr>
                <p:cNvPr id="137" name="TextBox 136">
                  <a:extLst>
                    <a:ext uri="{FF2B5EF4-FFF2-40B4-BE49-F238E27FC236}">
                      <a16:creationId xmlns:a16="http://schemas.microsoft.com/office/drawing/2014/main" id="{6F7F8E90-37AA-3743-BDF9-554E740DFC7B}"/>
                    </a:ext>
                  </a:extLst>
                </p:cNvPr>
                <p:cNvSpPr txBox="1"/>
                <p:nvPr userDrawn="1"/>
              </p:nvSpPr>
              <p:spPr>
                <a:xfrm>
                  <a:off x="9471805" y="6974619"/>
                  <a:ext cx="241440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Then (still holding down the first click) </a:t>
                  </a:r>
                  <a:br>
                    <a:rPr lang="en-US" sz="900" kern="1200" dirty="0">
                      <a:solidFill>
                        <a:schemeClr val="tx1">
                          <a:lumMod val="50000"/>
                          <a:lumOff val="50000"/>
                        </a:schemeClr>
                      </a:solidFill>
                      <a:latin typeface="Arial" charset="0"/>
                      <a:ea typeface="Arial" charset="0"/>
                      <a:cs typeface="Arial" charset="0"/>
                    </a:rPr>
                  </a:br>
                  <a:r>
                    <a:rPr lang="en-US" sz="900" b="1" kern="1200" dirty="0">
                      <a:solidFill>
                        <a:schemeClr val="tx1">
                          <a:lumMod val="50000"/>
                          <a:lumOff val="50000"/>
                        </a:schemeClr>
                      </a:solidFill>
                      <a:latin typeface="Arial" charset="0"/>
                      <a:ea typeface="Arial" charset="0"/>
                      <a:cs typeface="Arial" charset="0"/>
                    </a:rPr>
                    <a:t>drag</a:t>
                  </a:r>
                  <a:r>
                    <a:rPr lang="en-US" sz="900" kern="1200" dirty="0">
                      <a:solidFill>
                        <a:schemeClr val="tx1">
                          <a:lumMod val="50000"/>
                          <a:lumOff val="50000"/>
                        </a:schemeClr>
                      </a:solidFill>
                      <a:latin typeface="Arial" charset="0"/>
                      <a:ea typeface="Arial" charset="0"/>
                      <a:cs typeface="Arial" charset="0"/>
                    </a:rPr>
                    <a:t> the cursor to below and to the right of the last placeholder and </a:t>
                  </a:r>
                  <a:r>
                    <a:rPr lang="en-US" sz="900" b="1" kern="1200" dirty="0">
                      <a:solidFill>
                        <a:schemeClr val="tx1">
                          <a:lumMod val="50000"/>
                          <a:lumOff val="50000"/>
                        </a:schemeClr>
                      </a:solidFill>
                      <a:latin typeface="Arial" charset="0"/>
                      <a:ea typeface="Arial" charset="0"/>
                      <a:cs typeface="Arial" charset="0"/>
                    </a:rPr>
                    <a:t>release</a:t>
                  </a:r>
                  <a:r>
                    <a:rPr lang="en-US" sz="900" kern="1200" dirty="0">
                      <a:solidFill>
                        <a:schemeClr val="tx1">
                          <a:lumMod val="50000"/>
                          <a:lumOff val="50000"/>
                        </a:schemeClr>
                      </a:solidFill>
                      <a:latin typeface="Arial" charset="0"/>
                      <a:ea typeface="Arial" charset="0"/>
                      <a:cs typeface="Arial" charset="0"/>
                    </a:rPr>
                    <a:t> the click.</a:t>
                  </a:r>
                </a:p>
              </p:txBody>
            </p:sp>
          </p:grpSp>
          <p:pic>
            <p:nvPicPr>
              <p:cNvPr id="24" name="Picture 23">
                <a:extLst>
                  <a:ext uri="{FF2B5EF4-FFF2-40B4-BE49-F238E27FC236}">
                    <a16:creationId xmlns:a16="http://schemas.microsoft.com/office/drawing/2014/main" id="{DC5AED72-86C8-4444-90CE-59B076CE4755}"/>
                  </a:ext>
                </a:extLst>
              </p:cNvPr>
              <p:cNvPicPr>
                <a:picLocks noChangeAspect="1"/>
              </p:cNvPicPr>
              <p:nvPr userDrawn="1"/>
            </p:nvPicPr>
            <p:blipFill rotWithShape="1">
              <a:blip r:embed="rId7"/>
              <a:srcRect t="33282" b="9876"/>
              <a:stretch/>
            </p:blipFill>
            <p:spPr>
              <a:xfrm>
                <a:off x="10901855" y="2099340"/>
                <a:ext cx="1237314" cy="517325"/>
              </a:xfrm>
              <a:prstGeom prst="rect">
                <a:avLst/>
              </a:prstGeom>
            </p:spPr>
          </p:pic>
        </p:grpSp>
      </p:grpSp>
      <p:sp>
        <p:nvSpPr>
          <p:cNvPr id="4" name="Title 3">
            <a:extLst>
              <a:ext uri="{FF2B5EF4-FFF2-40B4-BE49-F238E27FC236}">
                <a16:creationId xmlns:a16="http://schemas.microsoft.com/office/drawing/2014/main" id="{E767ABA5-A206-AB44-BDCD-CBEA4F6A3193}"/>
              </a:ext>
            </a:extLst>
          </p:cNvPr>
          <p:cNvSpPr>
            <a:spLocks noGrp="1"/>
          </p:cNvSpPr>
          <p:nvPr>
            <p:ph type="title" hasCustomPrompt="1"/>
          </p:nvPr>
        </p:nvSpPr>
        <p:spPr/>
        <p:txBody>
          <a:bodyPr/>
          <a:lstStyle>
            <a:lvl1pPr>
              <a:defRPr/>
            </a:lvl1pPr>
          </a:lstStyle>
          <a:p>
            <a:r>
              <a:rPr lang="en-US" dirty="0"/>
              <a:t>Click to add agenda title. All caps. Two lines max.</a:t>
            </a:r>
          </a:p>
        </p:txBody>
      </p:sp>
      <p:sp>
        <p:nvSpPr>
          <p:cNvPr id="91" name="Text Placeholder 5">
            <a:extLst>
              <a:ext uri="{FF2B5EF4-FFF2-40B4-BE49-F238E27FC236}">
                <a16:creationId xmlns:a16="http://schemas.microsoft.com/office/drawing/2014/main" id="{E65DF37D-BE32-8D48-B3BD-F72A205AA20A}"/>
              </a:ext>
            </a:extLst>
          </p:cNvPr>
          <p:cNvSpPr>
            <a:spLocks noGrp="1"/>
          </p:cNvSpPr>
          <p:nvPr userDrawn="1">
            <p:ph type="body" sz="quarter" idx="134" hasCustomPrompt="1"/>
          </p:nvPr>
        </p:nvSpPr>
        <p:spPr>
          <a:xfrm>
            <a:off x="12935628" y="2361849"/>
            <a:ext cx="3239224" cy="376755"/>
          </a:xfrm>
          <a:solidFill>
            <a:schemeClr val="accent1"/>
          </a:solidFill>
          <a:ln w="31750">
            <a:solidFill>
              <a:schemeClr val="accent1"/>
            </a:solidFill>
          </a:ln>
          <a:effectLst/>
        </p:spPr>
        <p:txBody>
          <a:bodyPr lIns="432000" tIns="0" rIns="36000" anchor="ctr"/>
          <a:lstStyle>
            <a:lvl1pPr marL="0" indent="0">
              <a:buNone/>
              <a:defRPr b="1">
                <a:solidFill>
                  <a:schemeClr val="bg1"/>
                </a:solidFill>
              </a:defRPr>
            </a:lvl1pPr>
          </a:lstStyle>
          <a:p>
            <a:pPr lvl="0"/>
            <a:r>
              <a:rPr lang="en-US" dirty="0"/>
              <a:t>Select for Title style</a:t>
            </a:r>
          </a:p>
        </p:txBody>
      </p:sp>
      <p:sp>
        <p:nvSpPr>
          <p:cNvPr id="92" name="Text Placeholder 5">
            <a:extLst>
              <a:ext uri="{FF2B5EF4-FFF2-40B4-BE49-F238E27FC236}">
                <a16:creationId xmlns:a16="http://schemas.microsoft.com/office/drawing/2014/main" id="{D92F429B-9DFB-EE41-9601-2CCC105A7E84}"/>
              </a:ext>
            </a:extLst>
          </p:cNvPr>
          <p:cNvSpPr>
            <a:spLocks noGrp="1"/>
          </p:cNvSpPr>
          <p:nvPr userDrawn="1">
            <p:ph type="body" sz="quarter" idx="135" hasCustomPrompt="1"/>
          </p:nvPr>
        </p:nvSpPr>
        <p:spPr>
          <a:xfrm>
            <a:off x="12935628" y="4222583"/>
            <a:ext cx="3239224" cy="376755"/>
          </a:xfrm>
          <a:noFill/>
          <a:ln w="31750">
            <a:noFill/>
          </a:ln>
          <a:effectLst/>
        </p:spPr>
        <p:txBody>
          <a:bodyPr lIns="0" tIns="0" rIns="0" anchor="ctr"/>
          <a:lstStyle>
            <a:lvl1pPr marL="0" indent="0" algn="r">
              <a:buNone/>
              <a:defRPr b="1">
                <a:solidFill>
                  <a:schemeClr val="bg1"/>
                </a:solidFill>
              </a:defRPr>
            </a:lvl1pPr>
          </a:lstStyle>
          <a:p>
            <a:pPr lvl="0"/>
            <a:r>
              <a:rPr lang="en-US" dirty="0"/>
              <a:t>Select for Page # style</a:t>
            </a:r>
          </a:p>
        </p:txBody>
      </p:sp>
      <p:sp>
        <p:nvSpPr>
          <p:cNvPr id="140" name="Text Placeholder 6">
            <a:extLst>
              <a:ext uri="{FF2B5EF4-FFF2-40B4-BE49-F238E27FC236}">
                <a16:creationId xmlns:a16="http://schemas.microsoft.com/office/drawing/2014/main" id="{89312458-EDEA-F145-8A40-F9DE180A0CD5}"/>
              </a:ext>
            </a:extLst>
          </p:cNvPr>
          <p:cNvSpPr>
            <a:spLocks noGrp="1"/>
          </p:cNvSpPr>
          <p:nvPr>
            <p:ph type="body" idx="13" hasCustomPrompt="1"/>
          </p:nvPr>
        </p:nvSpPr>
        <p:spPr>
          <a:xfrm>
            <a:off x="0" y="1230726"/>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41" name="Text Placeholder 6">
            <a:extLst>
              <a:ext uri="{FF2B5EF4-FFF2-40B4-BE49-F238E27FC236}">
                <a16:creationId xmlns:a16="http://schemas.microsoft.com/office/drawing/2014/main" id="{0881407E-5EEA-0645-B564-820137734C4B}"/>
              </a:ext>
            </a:extLst>
          </p:cNvPr>
          <p:cNvSpPr>
            <a:spLocks noGrp="1"/>
          </p:cNvSpPr>
          <p:nvPr>
            <p:ph type="body" idx="14" hasCustomPrompt="1"/>
          </p:nvPr>
        </p:nvSpPr>
        <p:spPr>
          <a:xfrm>
            <a:off x="0" y="1583212"/>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42" name="Text Placeholder 6">
            <a:extLst>
              <a:ext uri="{FF2B5EF4-FFF2-40B4-BE49-F238E27FC236}">
                <a16:creationId xmlns:a16="http://schemas.microsoft.com/office/drawing/2014/main" id="{975DCA04-BA85-B943-AAF1-92DA5F62A968}"/>
              </a:ext>
            </a:extLst>
          </p:cNvPr>
          <p:cNvSpPr>
            <a:spLocks noGrp="1"/>
          </p:cNvSpPr>
          <p:nvPr>
            <p:ph type="body" idx="15" hasCustomPrompt="1"/>
          </p:nvPr>
        </p:nvSpPr>
        <p:spPr>
          <a:xfrm>
            <a:off x="0" y="1935698"/>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43" name="Text Placeholder 6">
            <a:extLst>
              <a:ext uri="{FF2B5EF4-FFF2-40B4-BE49-F238E27FC236}">
                <a16:creationId xmlns:a16="http://schemas.microsoft.com/office/drawing/2014/main" id="{F953D556-C770-7D48-83BE-3EAD34AD583E}"/>
              </a:ext>
            </a:extLst>
          </p:cNvPr>
          <p:cNvSpPr>
            <a:spLocks noGrp="1"/>
          </p:cNvSpPr>
          <p:nvPr>
            <p:ph type="body" idx="16" hasCustomPrompt="1"/>
          </p:nvPr>
        </p:nvSpPr>
        <p:spPr>
          <a:xfrm>
            <a:off x="0" y="2288184"/>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44" name="Text Placeholder 6">
            <a:extLst>
              <a:ext uri="{FF2B5EF4-FFF2-40B4-BE49-F238E27FC236}">
                <a16:creationId xmlns:a16="http://schemas.microsoft.com/office/drawing/2014/main" id="{91CCF692-76BB-6A4A-885F-E120A2711E82}"/>
              </a:ext>
            </a:extLst>
          </p:cNvPr>
          <p:cNvSpPr>
            <a:spLocks noGrp="1"/>
          </p:cNvSpPr>
          <p:nvPr>
            <p:ph type="body" idx="17" hasCustomPrompt="1"/>
          </p:nvPr>
        </p:nvSpPr>
        <p:spPr>
          <a:xfrm>
            <a:off x="0" y="2640670"/>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45" name="Text Placeholder 6">
            <a:extLst>
              <a:ext uri="{FF2B5EF4-FFF2-40B4-BE49-F238E27FC236}">
                <a16:creationId xmlns:a16="http://schemas.microsoft.com/office/drawing/2014/main" id="{0C2671C4-8F73-6846-BED4-E27156554831}"/>
              </a:ext>
            </a:extLst>
          </p:cNvPr>
          <p:cNvSpPr>
            <a:spLocks noGrp="1"/>
          </p:cNvSpPr>
          <p:nvPr>
            <p:ph type="body" idx="18" hasCustomPrompt="1"/>
          </p:nvPr>
        </p:nvSpPr>
        <p:spPr>
          <a:xfrm>
            <a:off x="0" y="2993156"/>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46" name="Text Placeholder 6">
            <a:extLst>
              <a:ext uri="{FF2B5EF4-FFF2-40B4-BE49-F238E27FC236}">
                <a16:creationId xmlns:a16="http://schemas.microsoft.com/office/drawing/2014/main" id="{5FA8609C-9B16-FA4C-9F2C-D1248CCE8ACE}"/>
              </a:ext>
            </a:extLst>
          </p:cNvPr>
          <p:cNvSpPr>
            <a:spLocks noGrp="1"/>
          </p:cNvSpPr>
          <p:nvPr>
            <p:ph type="body" idx="19" hasCustomPrompt="1"/>
          </p:nvPr>
        </p:nvSpPr>
        <p:spPr>
          <a:xfrm>
            <a:off x="0" y="3345642"/>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47" name="Text Placeholder 6">
            <a:extLst>
              <a:ext uri="{FF2B5EF4-FFF2-40B4-BE49-F238E27FC236}">
                <a16:creationId xmlns:a16="http://schemas.microsoft.com/office/drawing/2014/main" id="{1160FF45-12A6-CA4A-AD6A-594E7B625D99}"/>
              </a:ext>
            </a:extLst>
          </p:cNvPr>
          <p:cNvSpPr>
            <a:spLocks noGrp="1"/>
          </p:cNvSpPr>
          <p:nvPr>
            <p:ph type="body" idx="20" hasCustomPrompt="1"/>
          </p:nvPr>
        </p:nvSpPr>
        <p:spPr>
          <a:xfrm>
            <a:off x="0" y="3698128"/>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48" name="Text Placeholder 69">
            <a:extLst>
              <a:ext uri="{FF2B5EF4-FFF2-40B4-BE49-F238E27FC236}">
                <a16:creationId xmlns:a16="http://schemas.microsoft.com/office/drawing/2014/main" id="{36C55682-41D4-2C46-A3E5-75E11CF3010E}"/>
              </a:ext>
            </a:extLst>
          </p:cNvPr>
          <p:cNvSpPr>
            <a:spLocks noGrp="1"/>
          </p:cNvSpPr>
          <p:nvPr>
            <p:ph type="body" sz="quarter" idx="21" hasCustomPrompt="1"/>
          </p:nvPr>
        </p:nvSpPr>
        <p:spPr>
          <a:xfrm>
            <a:off x="10381560" y="1230726"/>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49" name="Text Placeholder 69">
            <a:extLst>
              <a:ext uri="{FF2B5EF4-FFF2-40B4-BE49-F238E27FC236}">
                <a16:creationId xmlns:a16="http://schemas.microsoft.com/office/drawing/2014/main" id="{7A7DE69A-7CAC-2D4F-9EBA-789484126889}"/>
              </a:ext>
            </a:extLst>
          </p:cNvPr>
          <p:cNvSpPr>
            <a:spLocks noGrp="1"/>
          </p:cNvSpPr>
          <p:nvPr>
            <p:ph type="body" sz="quarter" idx="22" hasCustomPrompt="1"/>
          </p:nvPr>
        </p:nvSpPr>
        <p:spPr>
          <a:xfrm>
            <a:off x="10381560" y="1583212"/>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50" name="Text Placeholder 69">
            <a:extLst>
              <a:ext uri="{FF2B5EF4-FFF2-40B4-BE49-F238E27FC236}">
                <a16:creationId xmlns:a16="http://schemas.microsoft.com/office/drawing/2014/main" id="{8C8F8AB9-E553-FD43-9A74-A94070ABC6D9}"/>
              </a:ext>
            </a:extLst>
          </p:cNvPr>
          <p:cNvSpPr>
            <a:spLocks noGrp="1"/>
          </p:cNvSpPr>
          <p:nvPr>
            <p:ph type="body" sz="quarter" idx="23" hasCustomPrompt="1"/>
          </p:nvPr>
        </p:nvSpPr>
        <p:spPr>
          <a:xfrm>
            <a:off x="10381560" y="1935698"/>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51" name="Text Placeholder 69">
            <a:extLst>
              <a:ext uri="{FF2B5EF4-FFF2-40B4-BE49-F238E27FC236}">
                <a16:creationId xmlns:a16="http://schemas.microsoft.com/office/drawing/2014/main" id="{34397210-0F6A-4541-BF87-6238DCF7C31B}"/>
              </a:ext>
            </a:extLst>
          </p:cNvPr>
          <p:cNvSpPr>
            <a:spLocks noGrp="1"/>
          </p:cNvSpPr>
          <p:nvPr>
            <p:ph type="body" sz="quarter" idx="24" hasCustomPrompt="1"/>
          </p:nvPr>
        </p:nvSpPr>
        <p:spPr>
          <a:xfrm>
            <a:off x="10381560" y="2288184"/>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52" name="Text Placeholder 69">
            <a:extLst>
              <a:ext uri="{FF2B5EF4-FFF2-40B4-BE49-F238E27FC236}">
                <a16:creationId xmlns:a16="http://schemas.microsoft.com/office/drawing/2014/main" id="{36CB0180-6E7E-6345-BDFC-A24B6037542B}"/>
              </a:ext>
            </a:extLst>
          </p:cNvPr>
          <p:cNvSpPr>
            <a:spLocks noGrp="1"/>
          </p:cNvSpPr>
          <p:nvPr>
            <p:ph type="body" sz="quarter" idx="25" hasCustomPrompt="1"/>
          </p:nvPr>
        </p:nvSpPr>
        <p:spPr>
          <a:xfrm>
            <a:off x="10381560" y="2640670"/>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53" name="Text Placeholder 69">
            <a:extLst>
              <a:ext uri="{FF2B5EF4-FFF2-40B4-BE49-F238E27FC236}">
                <a16:creationId xmlns:a16="http://schemas.microsoft.com/office/drawing/2014/main" id="{3CDC531E-C59A-6648-B4C3-453444CE827E}"/>
              </a:ext>
            </a:extLst>
          </p:cNvPr>
          <p:cNvSpPr>
            <a:spLocks noGrp="1"/>
          </p:cNvSpPr>
          <p:nvPr>
            <p:ph type="body" sz="quarter" idx="26" hasCustomPrompt="1"/>
          </p:nvPr>
        </p:nvSpPr>
        <p:spPr>
          <a:xfrm>
            <a:off x="10381560" y="2993156"/>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54" name="Text Placeholder 69">
            <a:extLst>
              <a:ext uri="{FF2B5EF4-FFF2-40B4-BE49-F238E27FC236}">
                <a16:creationId xmlns:a16="http://schemas.microsoft.com/office/drawing/2014/main" id="{BB4EABB9-2DDE-734C-86AB-12B8EF0C6145}"/>
              </a:ext>
            </a:extLst>
          </p:cNvPr>
          <p:cNvSpPr>
            <a:spLocks noGrp="1"/>
          </p:cNvSpPr>
          <p:nvPr>
            <p:ph type="body" sz="quarter" idx="27" hasCustomPrompt="1"/>
          </p:nvPr>
        </p:nvSpPr>
        <p:spPr>
          <a:xfrm>
            <a:off x="10381560" y="3345642"/>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55" name="Text Placeholder 69">
            <a:extLst>
              <a:ext uri="{FF2B5EF4-FFF2-40B4-BE49-F238E27FC236}">
                <a16:creationId xmlns:a16="http://schemas.microsoft.com/office/drawing/2014/main" id="{51A31BC1-EC5B-CB48-906F-8A670330B3EE}"/>
              </a:ext>
            </a:extLst>
          </p:cNvPr>
          <p:cNvSpPr>
            <a:spLocks noGrp="1"/>
          </p:cNvSpPr>
          <p:nvPr>
            <p:ph type="body" sz="quarter" idx="28" hasCustomPrompt="1"/>
          </p:nvPr>
        </p:nvSpPr>
        <p:spPr>
          <a:xfrm>
            <a:off x="10381560" y="3698128"/>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56" name="Text Placeholder 6">
            <a:extLst>
              <a:ext uri="{FF2B5EF4-FFF2-40B4-BE49-F238E27FC236}">
                <a16:creationId xmlns:a16="http://schemas.microsoft.com/office/drawing/2014/main" id="{CA10688B-9A84-134D-8815-3C14EE382980}"/>
              </a:ext>
            </a:extLst>
          </p:cNvPr>
          <p:cNvSpPr>
            <a:spLocks noGrp="1"/>
          </p:cNvSpPr>
          <p:nvPr>
            <p:ph type="body" idx="29" hasCustomPrompt="1"/>
          </p:nvPr>
        </p:nvSpPr>
        <p:spPr>
          <a:xfrm>
            <a:off x="0" y="4050614"/>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57" name="Text Placeholder 69">
            <a:extLst>
              <a:ext uri="{FF2B5EF4-FFF2-40B4-BE49-F238E27FC236}">
                <a16:creationId xmlns:a16="http://schemas.microsoft.com/office/drawing/2014/main" id="{2CC5EBD5-D4B3-9A4D-9E40-19DDAE3DAEFC}"/>
              </a:ext>
            </a:extLst>
          </p:cNvPr>
          <p:cNvSpPr>
            <a:spLocks noGrp="1"/>
          </p:cNvSpPr>
          <p:nvPr>
            <p:ph type="body" sz="quarter" idx="30" hasCustomPrompt="1"/>
          </p:nvPr>
        </p:nvSpPr>
        <p:spPr>
          <a:xfrm>
            <a:off x="10381560" y="4050614"/>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58" name="Text Placeholder 6">
            <a:extLst>
              <a:ext uri="{FF2B5EF4-FFF2-40B4-BE49-F238E27FC236}">
                <a16:creationId xmlns:a16="http://schemas.microsoft.com/office/drawing/2014/main" id="{FB2BCC6B-9E0C-6B4D-BFAF-3D33A4C41128}"/>
              </a:ext>
            </a:extLst>
          </p:cNvPr>
          <p:cNvSpPr>
            <a:spLocks noGrp="1"/>
          </p:cNvSpPr>
          <p:nvPr>
            <p:ph type="body" idx="31" hasCustomPrompt="1"/>
          </p:nvPr>
        </p:nvSpPr>
        <p:spPr>
          <a:xfrm>
            <a:off x="0" y="4403100"/>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59" name="Text Placeholder 69">
            <a:extLst>
              <a:ext uri="{FF2B5EF4-FFF2-40B4-BE49-F238E27FC236}">
                <a16:creationId xmlns:a16="http://schemas.microsoft.com/office/drawing/2014/main" id="{1AF143A3-F8D7-B34D-9F19-6EA9A69EE4F0}"/>
              </a:ext>
            </a:extLst>
          </p:cNvPr>
          <p:cNvSpPr>
            <a:spLocks noGrp="1"/>
          </p:cNvSpPr>
          <p:nvPr>
            <p:ph type="body" sz="quarter" idx="32" hasCustomPrompt="1"/>
          </p:nvPr>
        </p:nvSpPr>
        <p:spPr>
          <a:xfrm>
            <a:off x="10381560" y="4403100"/>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60" name="Text Placeholder 6">
            <a:extLst>
              <a:ext uri="{FF2B5EF4-FFF2-40B4-BE49-F238E27FC236}">
                <a16:creationId xmlns:a16="http://schemas.microsoft.com/office/drawing/2014/main" id="{F9389DF8-3B53-1B40-A060-E67F5DE54FBC}"/>
              </a:ext>
            </a:extLst>
          </p:cNvPr>
          <p:cNvSpPr>
            <a:spLocks noGrp="1"/>
          </p:cNvSpPr>
          <p:nvPr>
            <p:ph type="body" idx="33" hasCustomPrompt="1"/>
          </p:nvPr>
        </p:nvSpPr>
        <p:spPr>
          <a:xfrm>
            <a:off x="0" y="4755586"/>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61" name="Text Placeholder 69">
            <a:extLst>
              <a:ext uri="{FF2B5EF4-FFF2-40B4-BE49-F238E27FC236}">
                <a16:creationId xmlns:a16="http://schemas.microsoft.com/office/drawing/2014/main" id="{8FB5E79E-4CE6-7348-93FF-FB68EFF84A06}"/>
              </a:ext>
            </a:extLst>
          </p:cNvPr>
          <p:cNvSpPr>
            <a:spLocks noGrp="1"/>
          </p:cNvSpPr>
          <p:nvPr>
            <p:ph type="body" sz="quarter" idx="34" hasCustomPrompt="1"/>
          </p:nvPr>
        </p:nvSpPr>
        <p:spPr>
          <a:xfrm>
            <a:off x="10381560" y="4755586"/>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62" name="Text Placeholder 6">
            <a:extLst>
              <a:ext uri="{FF2B5EF4-FFF2-40B4-BE49-F238E27FC236}">
                <a16:creationId xmlns:a16="http://schemas.microsoft.com/office/drawing/2014/main" id="{87654A3A-847F-514C-80BD-916D718925CF}"/>
              </a:ext>
            </a:extLst>
          </p:cNvPr>
          <p:cNvSpPr>
            <a:spLocks noGrp="1"/>
          </p:cNvSpPr>
          <p:nvPr>
            <p:ph type="body" idx="35" hasCustomPrompt="1"/>
          </p:nvPr>
        </p:nvSpPr>
        <p:spPr>
          <a:xfrm>
            <a:off x="0" y="5108072"/>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63" name="Text Placeholder 69">
            <a:extLst>
              <a:ext uri="{FF2B5EF4-FFF2-40B4-BE49-F238E27FC236}">
                <a16:creationId xmlns:a16="http://schemas.microsoft.com/office/drawing/2014/main" id="{EAC4FBD6-5E88-E34F-8DC2-FB0F2C077716}"/>
              </a:ext>
            </a:extLst>
          </p:cNvPr>
          <p:cNvSpPr>
            <a:spLocks noGrp="1"/>
          </p:cNvSpPr>
          <p:nvPr>
            <p:ph type="body" sz="quarter" idx="36" hasCustomPrompt="1"/>
          </p:nvPr>
        </p:nvSpPr>
        <p:spPr>
          <a:xfrm>
            <a:off x="10381560" y="5108072"/>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64" name="Text Placeholder 6">
            <a:extLst>
              <a:ext uri="{FF2B5EF4-FFF2-40B4-BE49-F238E27FC236}">
                <a16:creationId xmlns:a16="http://schemas.microsoft.com/office/drawing/2014/main" id="{4169DB4D-BE6F-E041-BBF4-2D644201504F}"/>
              </a:ext>
            </a:extLst>
          </p:cNvPr>
          <p:cNvSpPr>
            <a:spLocks noGrp="1"/>
          </p:cNvSpPr>
          <p:nvPr>
            <p:ph type="body" idx="37" hasCustomPrompt="1"/>
          </p:nvPr>
        </p:nvSpPr>
        <p:spPr>
          <a:xfrm>
            <a:off x="0" y="5460558"/>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65" name="Text Placeholder 69">
            <a:extLst>
              <a:ext uri="{FF2B5EF4-FFF2-40B4-BE49-F238E27FC236}">
                <a16:creationId xmlns:a16="http://schemas.microsoft.com/office/drawing/2014/main" id="{EF574AB8-FA67-6841-815F-020BC196CFE4}"/>
              </a:ext>
            </a:extLst>
          </p:cNvPr>
          <p:cNvSpPr>
            <a:spLocks noGrp="1"/>
          </p:cNvSpPr>
          <p:nvPr>
            <p:ph type="body" sz="quarter" idx="38" hasCustomPrompt="1"/>
          </p:nvPr>
        </p:nvSpPr>
        <p:spPr>
          <a:xfrm>
            <a:off x="10381560" y="5460558"/>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66" name="Text Placeholder 6">
            <a:extLst>
              <a:ext uri="{FF2B5EF4-FFF2-40B4-BE49-F238E27FC236}">
                <a16:creationId xmlns:a16="http://schemas.microsoft.com/office/drawing/2014/main" id="{0459AF7C-F9C3-8848-B7D8-3D970B0ABB9C}"/>
              </a:ext>
            </a:extLst>
          </p:cNvPr>
          <p:cNvSpPr>
            <a:spLocks noGrp="1"/>
          </p:cNvSpPr>
          <p:nvPr>
            <p:ph type="body" idx="39" hasCustomPrompt="1"/>
          </p:nvPr>
        </p:nvSpPr>
        <p:spPr>
          <a:xfrm>
            <a:off x="0" y="5813050"/>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tabLst/>
              <a:defRPr b="0">
                <a:solidFill>
                  <a:schemeClr val="accent1"/>
                </a:solidFill>
              </a:defRPr>
            </a:lvl1pPr>
            <a:lvl2pPr marL="0" indent="0">
              <a:spcBef>
                <a:spcPts val="0"/>
              </a:spcBef>
              <a:spcAft>
                <a:spcPts val="0"/>
              </a:spcAft>
              <a:buFontTx/>
              <a:buNone/>
              <a:tabLst/>
              <a:defRPr>
                <a:solidFill>
                  <a:schemeClr val="accent1"/>
                </a:solidFill>
              </a:defRPr>
            </a:lvl2pPr>
            <a:lvl3pPr marL="0" indent="0">
              <a:spcBef>
                <a:spcPts val="0"/>
              </a:spcBef>
              <a:spcAft>
                <a:spcPts val="0"/>
              </a:spcAft>
              <a:buFontTx/>
              <a:buNone/>
              <a:tabLst/>
              <a:defRPr>
                <a:solidFill>
                  <a:schemeClr val="accent1"/>
                </a:solidFill>
              </a:defRPr>
            </a:lvl3pPr>
            <a:lvl4pPr marL="0" indent="0">
              <a:spcBef>
                <a:spcPts val="0"/>
              </a:spcBef>
              <a:spcAft>
                <a:spcPts val="0"/>
              </a:spcAft>
              <a:buFontTx/>
              <a:buNone/>
              <a:tabLst/>
              <a:defRPr>
                <a:solidFill>
                  <a:schemeClr val="accent1"/>
                </a:solidFill>
              </a:defRPr>
            </a:lvl4pPr>
            <a:lvl5pPr marL="0" indent="0">
              <a:spcBef>
                <a:spcPts val="0"/>
              </a:spcBef>
              <a:spcAft>
                <a:spcPts val="0"/>
              </a:spcAft>
              <a:buFontTx/>
              <a:buNone/>
              <a:tabLst/>
              <a:defRPr>
                <a:solidFill>
                  <a:schemeClr val="accent1"/>
                </a:solidFill>
              </a:defRPr>
            </a:lvl5pPr>
            <a:lvl6pPr marL="0" indent="0">
              <a:spcBef>
                <a:spcPts val="0"/>
              </a:spcBef>
              <a:spcAft>
                <a:spcPts val="0"/>
              </a:spcAft>
              <a:buFontTx/>
              <a:buNone/>
              <a:tabLst/>
              <a:defRPr>
                <a:solidFill>
                  <a:schemeClr val="accent1"/>
                </a:solidFill>
              </a:defRPr>
            </a:lvl6pPr>
            <a:lvl7pPr marL="0" indent="0">
              <a:spcBef>
                <a:spcPts val="0"/>
              </a:spcBef>
              <a:spcAft>
                <a:spcPts val="0"/>
              </a:spcAft>
              <a:buFontTx/>
              <a:buNone/>
              <a:tabLst/>
              <a:defRPr>
                <a:solidFill>
                  <a:schemeClr val="accent1"/>
                </a:solidFill>
              </a:defRPr>
            </a:lvl7pPr>
            <a:lvl8pPr marL="0" indent="0">
              <a:spcBef>
                <a:spcPts val="0"/>
              </a:spcBef>
              <a:spcAft>
                <a:spcPts val="0"/>
              </a:spcAft>
              <a:buFontTx/>
              <a:buNone/>
              <a:tabLst/>
              <a:defRPr>
                <a:solidFill>
                  <a:schemeClr val="accent1"/>
                </a:solidFill>
              </a:defRPr>
            </a:lvl8pPr>
            <a:lvl9pPr marL="0" indent="0">
              <a:spcBef>
                <a:spcPts val="0"/>
              </a:spcBef>
              <a:spcAft>
                <a:spcPts val="0"/>
              </a:spcAft>
              <a:buFontTx/>
              <a:buNone/>
              <a:tabLst/>
              <a:defRPr>
                <a:solidFill>
                  <a:schemeClr val="accent1"/>
                </a:solidFill>
              </a:defRPr>
            </a:lvl9pPr>
          </a:lstStyle>
          <a:p>
            <a:pPr lvl="0"/>
            <a:r>
              <a:rPr lang="en-US" dirty="0"/>
              <a:t>Click to add agenda item</a:t>
            </a:r>
          </a:p>
        </p:txBody>
      </p:sp>
      <p:sp>
        <p:nvSpPr>
          <p:cNvPr id="167" name="Text Placeholder 69">
            <a:extLst>
              <a:ext uri="{FF2B5EF4-FFF2-40B4-BE49-F238E27FC236}">
                <a16:creationId xmlns:a16="http://schemas.microsoft.com/office/drawing/2014/main" id="{A130898E-B3C8-8D4A-86AB-EE7C88D7DE71}"/>
              </a:ext>
            </a:extLst>
          </p:cNvPr>
          <p:cNvSpPr>
            <a:spLocks noGrp="1"/>
          </p:cNvSpPr>
          <p:nvPr>
            <p:ph type="body" sz="quarter" idx="40" hasCustomPrompt="1"/>
          </p:nvPr>
        </p:nvSpPr>
        <p:spPr>
          <a:xfrm>
            <a:off x="10381560" y="5813050"/>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9" name="Date Placeholder 8">
            <a:extLst>
              <a:ext uri="{FF2B5EF4-FFF2-40B4-BE49-F238E27FC236}">
                <a16:creationId xmlns:a16="http://schemas.microsoft.com/office/drawing/2014/main" id="{1BD1BB5F-2891-C741-80FB-ACCBFEFCAA72}"/>
              </a:ext>
            </a:extLst>
          </p:cNvPr>
          <p:cNvSpPr>
            <a:spLocks noGrp="1"/>
          </p:cNvSpPr>
          <p:nvPr>
            <p:ph type="dt" sz="half" idx="136"/>
          </p:nvPr>
        </p:nvSpPr>
        <p:spPr/>
        <p:txBody>
          <a:bodyPr/>
          <a:lstStyle/>
          <a:p>
            <a:endParaRPr lang="en-US" dirty="0"/>
          </a:p>
        </p:txBody>
      </p:sp>
      <p:sp>
        <p:nvSpPr>
          <p:cNvPr id="10" name="Footer Placeholder 9">
            <a:extLst>
              <a:ext uri="{FF2B5EF4-FFF2-40B4-BE49-F238E27FC236}">
                <a16:creationId xmlns:a16="http://schemas.microsoft.com/office/drawing/2014/main" id="{9FD48C64-B26D-4248-ADFF-B57DB1CAC3A7}"/>
              </a:ext>
            </a:extLst>
          </p:cNvPr>
          <p:cNvSpPr>
            <a:spLocks noGrp="1"/>
          </p:cNvSpPr>
          <p:nvPr>
            <p:ph type="ftr" sz="quarter" idx="137"/>
          </p:nvPr>
        </p:nvSpPr>
        <p:spPr/>
        <p:txBody>
          <a:bodyPr/>
          <a:lstStyle/>
          <a:p>
            <a:endParaRPr lang="en-US" dirty="0"/>
          </a:p>
        </p:txBody>
      </p:sp>
      <p:sp>
        <p:nvSpPr>
          <p:cNvPr id="11" name="Slide Number Placeholder 10">
            <a:extLst>
              <a:ext uri="{FF2B5EF4-FFF2-40B4-BE49-F238E27FC236}">
                <a16:creationId xmlns:a16="http://schemas.microsoft.com/office/drawing/2014/main" id="{B1FDB9A5-CCD3-A540-98D5-77F33D645D45}"/>
              </a:ext>
            </a:extLst>
          </p:cNvPr>
          <p:cNvSpPr>
            <a:spLocks noGrp="1"/>
          </p:cNvSpPr>
          <p:nvPr>
            <p:ph type="sldNum" sz="quarter" idx="138"/>
          </p:nvPr>
        </p:nvSpPr>
        <p:spPr/>
        <p:txBody>
          <a:bodyPr/>
          <a:lstStyle/>
          <a:p>
            <a:pPr marL="12700"/>
            <a:fld id="{078C017C-E1B9-8443-B047-B08AAA027B45}" type="slidenum">
              <a:rPr lang="en-US" smtClean="0"/>
              <a:pPr marL="12700"/>
              <a:t>‹#›</a:t>
            </a:fld>
            <a:endParaRPr lang="en-US" dirty="0"/>
          </a:p>
        </p:txBody>
      </p:sp>
    </p:spTree>
    <p:extLst>
      <p:ext uri="{BB962C8B-B14F-4D97-AF65-F5344CB8AC3E}">
        <p14:creationId xmlns:p14="http://schemas.microsoft.com/office/powerpoint/2010/main" val="78775857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Section Agenda (Photo)">
    <p:bg>
      <p:bgPr>
        <a:solidFill>
          <a:schemeClr val="bg1"/>
        </a:solidFill>
        <a:effectLst/>
      </p:bgPr>
    </p:bg>
    <p:spTree>
      <p:nvGrpSpPr>
        <p:cNvPr id="1" name=""/>
        <p:cNvGrpSpPr/>
        <p:nvPr/>
      </p:nvGrpSpPr>
      <p:grpSpPr>
        <a:xfrm>
          <a:off x="0" y="0"/>
          <a:ext cx="0" cy="0"/>
          <a:chOff x="0" y="0"/>
          <a:chExt cx="0" cy="0"/>
        </a:xfrm>
      </p:grpSpPr>
      <p:sp>
        <p:nvSpPr>
          <p:cNvPr id="59" name="Picture Placeholder 58">
            <a:extLst>
              <a:ext uri="{FF2B5EF4-FFF2-40B4-BE49-F238E27FC236}">
                <a16:creationId xmlns:a16="http://schemas.microsoft.com/office/drawing/2014/main" id="{9D16650F-B8A3-FC4A-A2ED-7C5C7D17A2AE}"/>
              </a:ext>
            </a:extLst>
          </p:cNvPr>
          <p:cNvSpPr>
            <a:spLocks noGrp="1"/>
          </p:cNvSpPr>
          <p:nvPr>
            <p:ph type="pic" sz="quarter" idx="10" hasCustomPrompt="1"/>
          </p:nvPr>
        </p:nvSpPr>
        <p:spPr>
          <a:xfrm>
            <a:off x="0" y="1112838"/>
            <a:ext cx="12192000" cy="5745162"/>
          </a:xfrm>
          <a:custGeom>
            <a:avLst/>
            <a:gdLst>
              <a:gd name="connsiteX0" fmla="*/ 8381735 w 9144000"/>
              <a:gd name="connsiteY0" fmla="*/ 5463184 h 5745162"/>
              <a:gd name="connsiteX1" fmla="*/ 8398942 w 9144000"/>
              <a:gd name="connsiteY1" fmla="*/ 5465039 h 5745162"/>
              <a:gd name="connsiteX2" fmla="*/ 8407847 w 9144000"/>
              <a:gd name="connsiteY2" fmla="*/ 5471828 h 5745162"/>
              <a:gd name="connsiteX3" fmla="*/ 8413547 w 9144000"/>
              <a:gd name="connsiteY3" fmla="*/ 5482153 h 5745162"/>
              <a:gd name="connsiteX4" fmla="*/ 8415584 w 9144000"/>
              <a:gd name="connsiteY4" fmla="*/ 5495365 h 5745162"/>
              <a:gd name="connsiteX5" fmla="*/ 8413646 w 9144000"/>
              <a:gd name="connsiteY5" fmla="*/ 5508436 h 5745162"/>
              <a:gd name="connsiteX6" fmla="*/ 8407947 w 9144000"/>
              <a:gd name="connsiteY6" fmla="*/ 5518831 h 5745162"/>
              <a:gd name="connsiteX7" fmla="*/ 8375887 w 9144000"/>
              <a:gd name="connsiteY7" fmla="*/ 5525676 h 5745162"/>
              <a:gd name="connsiteX8" fmla="*/ 8366910 w 9144000"/>
              <a:gd name="connsiteY8" fmla="*/ 5518831 h 5745162"/>
              <a:gd name="connsiteX9" fmla="*/ 8361211 w 9144000"/>
              <a:gd name="connsiteY9" fmla="*/ 5508436 h 5745162"/>
              <a:gd name="connsiteX10" fmla="*/ 8359045 w 9144000"/>
              <a:gd name="connsiteY10" fmla="*/ 5495365 h 5745162"/>
              <a:gd name="connsiteX11" fmla="*/ 8361097 w 9144000"/>
              <a:gd name="connsiteY11" fmla="*/ 5482153 h 5745162"/>
              <a:gd name="connsiteX12" fmla="*/ 8366796 w 9144000"/>
              <a:gd name="connsiteY12" fmla="*/ 5471828 h 5745162"/>
              <a:gd name="connsiteX13" fmla="*/ 8381735 w 9144000"/>
              <a:gd name="connsiteY13" fmla="*/ 5463184 h 5745162"/>
              <a:gd name="connsiteX14" fmla="*/ 8525633 w 9144000"/>
              <a:gd name="connsiteY14" fmla="*/ 5440648 h 5745162"/>
              <a:gd name="connsiteX15" fmla="*/ 8525633 w 9144000"/>
              <a:gd name="connsiteY15" fmla="*/ 5486594 h 5745162"/>
              <a:gd name="connsiteX16" fmla="*/ 8525633 w 9144000"/>
              <a:gd name="connsiteY16" fmla="*/ 5549935 h 5745162"/>
              <a:gd name="connsiteX17" fmla="*/ 8595623 w 9144000"/>
              <a:gd name="connsiteY17" fmla="*/ 5549935 h 5745162"/>
              <a:gd name="connsiteX18" fmla="*/ 8596022 w 9144000"/>
              <a:gd name="connsiteY18" fmla="*/ 5549935 h 5745162"/>
              <a:gd name="connsiteX19" fmla="*/ 8596022 w 9144000"/>
              <a:gd name="connsiteY19" fmla="*/ 5532934 h 5745162"/>
              <a:gd name="connsiteX20" fmla="*/ 8595623 w 9144000"/>
              <a:gd name="connsiteY20" fmla="*/ 5532934 h 5745162"/>
              <a:gd name="connsiteX21" fmla="*/ 8595623 w 9144000"/>
              <a:gd name="connsiteY21" fmla="*/ 5526836 h 5745162"/>
              <a:gd name="connsiteX22" fmla="*/ 8551295 w 9144000"/>
              <a:gd name="connsiteY22" fmla="*/ 5526836 h 5745162"/>
              <a:gd name="connsiteX23" fmla="*/ 8551295 w 9144000"/>
              <a:gd name="connsiteY23" fmla="*/ 5505511 h 5745162"/>
              <a:gd name="connsiteX24" fmla="*/ 8591705 w 9144000"/>
              <a:gd name="connsiteY24" fmla="*/ 5505511 h 5745162"/>
              <a:gd name="connsiteX25" fmla="*/ 8591705 w 9144000"/>
              <a:gd name="connsiteY25" fmla="*/ 5483439 h 5745162"/>
              <a:gd name="connsiteX26" fmla="*/ 8551295 w 9144000"/>
              <a:gd name="connsiteY26" fmla="*/ 5483439 h 5745162"/>
              <a:gd name="connsiteX27" fmla="*/ 8551295 w 9144000"/>
              <a:gd name="connsiteY27" fmla="*/ 5463917 h 5745162"/>
              <a:gd name="connsiteX28" fmla="*/ 8595623 w 9144000"/>
              <a:gd name="connsiteY28" fmla="*/ 5463917 h 5745162"/>
              <a:gd name="connsiteX29" fmla="*/ 8595623 w 9144000"/>
              <a:gd name="connsiteY29" fmla="*/ 5457649 h 5745162"/>
              <a:gd name="connsiteX30" fmla="*/ 8596022 w 9144000"/>
              <a:gd name="connsiteY30" fmla="*/ 5457649 h 5745162"/>
              <a:gd name="connsiteX31" fmla="*/ 8596022 w 9144000"/>
              <a:gd name="connsiteY31" fmla="*/ 5440648 h 5745162"/>
              <a:gd name="connsiteX32" fmla="*/ 8595623 w 9144000"/>
              <a:gd name="connsiteY32" fmla="*/ 5440648 h 5745162"/>
              <a:gd name="connsiteX33" fmla="*/ 8547362 w 9144000"/>
              <a:gd name="connsiteY33" fmla="*/ 5440648 h 5745162"/>
              <a:gd name="connsiteX34" fmla="*/ 8448177 w 9144000"/>
              <a:gd name="connsiteY34" fmla="*/ 5440648 h 5745162"/>
              <a:gd name="connsiteX35" fmla="*/ 8448177 w 9144000"/>
              <a:gd name="connsiteY35" fmla="*/ 5486594 h 5745162"/>
              <a:gd name="connsiteX36" fmla="*/ 8448177 w 9144000"/>
              <a:gd name="connsiteY36" fmla="*/ 5549935 h 5745162"/>
              <a:gd name="connsiteX37" fmla="*/ 8518167 w 9144000"/>
              <a:gd name="connsiteY37" fmla="*/ 5549935 h 5745162"/>
              <a:gd name="connsiteX38" fmla="*/ 8518552 w 9144000"/>
              <a:gd name="connsiteY38" fmla="*/ 5549935 h 5745162"/>
              <a:gd name="connsiteX39" fmla="*/ 8518552 w 9144000"/>
              <a:gd name="connsiteY39" fmla="*/ 5532934 h 5745162"/>
              <a:gd name="connsiteX40" fmla="*/ 8518167 w 9144000"/>
              <a:gd name="connsiteY40" fmla="*/ 5532934 h 5745162"/>
              <a:gd name="connsiteX41" fmla="*/ 8518167 w 9144000"/>
              <a:gd name="connsiteY41" fmla="*/ 5526836 h 5745162"/>
              <a:gd name="connsiteX42" fmla="*/ 8473825 w 9144000"/>
              <a:gd name="connsiteY42" fmla="*/ 5526836 h 5745162"/>
              <a:gd name="connsiteX43" fmla="*/ 8473825 w 9144000"/>
              <a:gd name="connsiteY43" fmla="*/ 5505511 h 5745162"/>
              <a:gd name="connsiteX44" fmla="*/ 8514235 w 9144000"/>
              <a:gd name="connsiteY44" fmla="*/ 5505511 h 5745162"/>
              <a:gd name="connsiteX45" fmla="*/ 8514235 w 9144000"/>
              <a:gd name="connsiteY45" fmla="*/ 5483439 h 5745162"/>
              <a:gd name="connsiteX46" fmla="*/ 8473825 w 9144000"/>
              <a:gd name="connsiteY46" fmla="*/ 5483439 h 5745162"/>
              <a:gd name="connsiteX47" fmla="*/ 8473825 w 9144000"/>
              <a:gd name="connsiteY47" fmla="*/ 5463917 h 5745162"/>
              <a:gd name="connsiteX48" fmla="*/ 8518167 w 9144000"/>
              <a:gd name="connsiteY48" fmla="*/ 5463917 h 5745162"/>
              <a:gd name="connsiteX49" fmla="*/ 8518167 w 9144000"/>
              <a:gd name="connsiteY49" fmla="*/ 5457649 h 5745162"/>
              <a:gd name="connsiteX50" fmla="*/ 8518552 w 9144000"/>
              <a:gd name="connsiteY50" fmla="*/ 5457649 h 5745162"/>
              <a:gd name="connsiteX51" fmla="*/ 8518552 w 9144000"/>
              <a:gd name="connsiteY51" fmla="*/ 5440648 h 5745162"/>
              <a:gd name="connsiteX52" fmla="*/ 8518167 w 9144000"/>
              <a:gd name="connsiteY52" fmla="*/ 5440648 h 5745162"/>
              <a:gd name="connsiteX53" fmla="*/ 8469892 w 9144000"/>
              <a:gd name="connsiteY53" fmla="*/ 5440648 h 5745162"/>
              <a:gd name="connsiteX54" fmla="*/ 8387913 w 9144000"/>
              <a:gd name="connsiteY54" fmla="*/ 5440615 h 5745162"/>
              <a:gd name="connsiteX55" fmla="*/ 8365286 w 9144000"/>
              <a:gd name="connsiteY55" fmla="*/ 5444841 h 5745162"/>
              <a:gd name="connsiteX56" fmla="*/ 8357150 w 9144000"/>
              <a:gd name="connsiteY56" fmla="*/ 5448968 h 5745162"/>
              <a:gd name="connsiteX57" fmla="*/ 8332784 w 9144000"/>
              <a:gd name="connsiteY57" fmla="*/ 5500534 h 5745162"/>
              <a:gd name="connsiteX58" fmla="*/ 8336389 w 9144000"/>
              <a:gd name="connsiteY58" fmla="*/ 5517014 h 5745162"/>
              <a:gd name="connsiteX59" fmla="*/ 8364431 w 9144000"/>
              <a:gd name="connsiteY59" fmla="*/ 5545747 h 5745162"/>
              <a:gd name="connsiteX60" fmla="*/ 8386916 w 9144000"/>
              <a:gd name="connsiteY60" fmla="*/ 5549973 h 5745162"/>
              <a:gd name="connsiteX61" fmla="*/ 8409486 w 9144000"/>
              <a:gd name="connsiteY61" fmla="*/ 5545747 h 5745162"/>
              <a:gd name="connsiteX62" fmla="*/ 8426926 w 9144000"/>
              <a:gd name="connsiteY62" fmla="*/ 5534268 h 5745162"/>
              <a:gd name="connsiteX63" fmla="*/ 8438240 w 9144000"/>
              <a:gd name="connsiteY63" fmla="*/ 5517014 h 5745162"/>
              <a:gd name="connsiteX64" fmla="*/ 8442258 w 9144000"/>
              <a:gd name="connsiteY64" fmla="*/ 5495365 h 5745162"/>
              <a:gd name="connsiteX65" fmla="*/ 8438397 w 9144000"/>
              <a:gd name="connsiteY65" fmla="*/ 5473631 h 5745162"/>
              <a:gd name="connsiteX66" fmla="*/ 8427439 w 9144000"/>
              <a:gd name="connsiteY66" fmla="*/ 5456320 h 5745162"/>
              <a:gd name="connsiteX67" fmla="*/ 8410341 w 9144000"/>
              <a:gd name="connsiteY67" fmla="*/ 5444841 h 5745162"/>
              <a:gd name="connsiteX68" fmla="*/ 8387913 w 9144000"/>
              <a:gd name="connsiteY68" fmla="*/ 5440615 h 5745162"/>
              <a:gd name="connsiteX69" fmla="*/ 8245203 w 9144000"/>
              <a:gd name="connsiteY69" fmla="*/ 5440268 h 5745162"/>
              <a:gd name="connsiteX70" fmla="*/ 8261546 w 9144000"/>
              <a:gd name="connsiteY70" fmla="*/ 5474340 h 5745162"/>
              <a:gd name="connsiteX71" fmla="*/ 8288505 w 9144000"/>
              <a:gd name="connsiteY71" fmla="*/ 5474340 h 5745162"/>
              <a:gd name="connsiteX72" fmla="*/ 8274156 w 9144000"/>
              <a:gd name="connsiteY72" fmla="*/ 5440268 h 5745162"/>
              <a:gd name="connsiteX73" fmla="*/ 8325053 w 9144000"/>
              <a:gd name="connsiteY73" fmla="*/ 5440254 h 5745162"/>
              <a:gd name="connsiteX74" fmla="*/ 8299363 w 9144000"/>
              <a:gd name="connsiteY74" fmla="*/ 5499384 h 5745162"/>
              <a:gd name="connsiteX75" fmla="*/ 8292395 w 9144000"/>
              <a:gd name="connsiteY75" fmla="*/ 5483045 h 5745162"/>
              <a:gd name="connsiteX76" fmla="*/ 8265650 w 9144000"/>
              <a:gd name="connsiteY76" fmla="*/ 5483045 h 5745162"/>
              <a:gd name="connsiteX77" fmla="*/ 8297582 w 9144000"/>
              <a:gd name="connsiteY77" fmla="*/ 5549710 h 5745162"/>
              <a:gd name="connsiteX78" fmla="*/ 8300545 w 9144000"/>
              <a:gd name="connsiteY78" fmla="*/ 5549710 h 5745162"/>
              <a:gd name="connsiteX79" fmla="*/ 8352283 w 9144000"/>
              <a:gd name="connsiteY79" fmla="*/ 5440254 h 5745162"/>
              <a:gd name="connsiteX80" fmla="*/ 8704282 w 9144000"/>
              <a:gd name="connsiteY80" fmla="*/ 5402716 h 5745162"/>
              <a:gd name="connsiteX81" fmla="*/ 8704282 w 9144000"/>
              <a:gd name="connsiteY81" fmla="*/ 5577644 h 5745162"/>
              <a:gd name="connsiteX82" fmla="*/ 8723671 w 9144000"/>
              <a:gd name="connsiteY82" fmla="*/ 5577644 h 5745162"/>
              <a:gd name="connsiteX83" fmla="*/ 8723671 w 9144000"/>
              <a:gd name="connsiteY83" fmla="*/ 5402716 h 5745162"/>
              <a:gd name="connsiteX84" fmla="*/ 0 w 9144000"/>
              <a:gd name="connsiteY84" fmla="*/ 0 h 5745162"/>
              <a:gd name="connsiteX85" fmla="*/ 9144000 w 9144000"/>
              <a:gd name="connsiteY85" fmla="*/ 0 h 5745162"/>
              <a:gd name="connsiteX86" fmla="*/ 9144000 w 9144000"/>
              <a:gd name="connsiteY86" fmla="*/ 5101843 h 5745162"/>
              <a:gd name="connsiteX87" fmla="*/ 9144000 w 9144000"/>
              <a:gd name="connsiteY87" fmla="*/ 5284313 h 5745162"/>
              <a:gd name="connsiteX88" fmla="*/ 9144000 w 9144000"/>
              <a:gd name="connsiteY88" fmla="*/ 5288954 h 5745162"/>
              <a:gd name="connsiteX89" fmla="*/ 9144000 w 9144000"/>
              <a:gd name="connsiteY89" fmla="*/ 5322124 h 5745162"/>
              <a:gd name="connsiteX90" fmla="*/ 9144000 w 9144000"/>
              <a:gd name="connsiteY90" fmla="*/ 5745162 h 5745162"/>
              <a:gd name="connsiteX91" fmla="*/ 8995529 w 9144000"/>
              <a:gd name="connsiteY91" fmla="*/ 5745162 h 5745162"/>
              <a:gd name="connsiteX92" fmla="*/ 7924718 w 9144000"/>
              <a:gd name="connsiteY92" fmla="*/ 5745162 h 5745162"/>
              <a:gd name="connsiteX93" fmla="*/ 0 w 9144000"/>
              <a:gd name="connsiteY93" fmla="*/ 5745162 h 5745162"/>
              <a:gd name="connsiteX94" fmla="*/ 0 w 9144000"/>
              <a:gd name="connsiteY94" fmla="*/ 5322124 h 5745162"/>
              <a:gd name="connsiteX95" fmla="*/ 0 w 9144000"/>
              <a:gd name="connsiteY95" fmla="*/ 5288954 h 5745162"/>
              <a:gd name="connsiteX96" fmla="*/ 0 w 9144000"/>
              <a:gd name="connsiteY96" fmla="*/ 5284313 h 5745162"/>
              <a:gd name="connsiteX97" fmla="*/ 0 w 9144000"/>
              <a:gd name="connsiteY97" fmla="*/ 5101843 h 57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144000" h="5745162">
                <a:moveTo>
                  <a:pt x="8381735" y="5463184"/>
                </a:moveTo>
                <a:cubicBezTo>
                  <a:pt x="8387385" y="5461991"/>
                  <a:pt x="8393413" y="5462547"/>
                  <a:pt x="8398942" y="5465039"/>
                </a:cubicBezTo>
                <a:cubicBezTo>
                  <a:pt x="8402361" y="5466657"/>
                  <a:pt x="8405396" y="5468970"/>
                  <a:pt x="8407847" y="5471828"/>
                </a:cubicBezTo>
                <a:cubicBezTo>
                  <a:pt x="8410387" y="5474885"/>
                  <a:pt x="8412320" y="5478388"/>
                  <a:pt x="8413547" y="5482153"/>
                </a:cubicBezTo>
                <a:cubicBezTo>
                  <a:pt x="8414952" y="5486417"/>
                  <a:pt x="8415640" y="5490880"/>
                  <a:pt x="8415584" y="5495365"/>
                </a:cubicBezTo>
                <a:cubicBezTo>
                  <a:pt x="8415665" y="5499797"/>
                  <a:pt x="8415011" y="5504213"/>
                  <a:pt x="8413646" y="5508436"/>
                </a:cubicBezTo>
                <a:cubicBezTo>
                  <a:pt x="8412411" y="5512218"/>
                  <a:pt x="8410478" y="5515742"/>
                  <a:pt x="8407947" y="5518831"/>
                </a:cubicBezTo>
                <a:cubicBezTo>
                  <a:pt x="8399972" y="5527877"/>
                  <a:pt x="8386928" y="5530662"/>
                  <a:pt x="8375887" y="5525676"/>
                </a:cubicBezTo>
                <a:cubicBezTo>
                  <a:pt x="8372423" y="5524073"/>
                  <a:pt x="8369358" y="5521736"/>
                  <a:pt x="8366910" y="5518831"/>
                </a:cubicBezTo>
                <a:cubicBezTo>
                  <a:pt x="8364379" y="5515742"/>
                  <a:pt x="8362446" y="5512218"/>
                  <a:pt x="8361211" y="5508436"/>
                </a:cubicBezTo>
                <a:cubicBezTo>
                  <a:pt x="8359769" y="5504225"/>
                  <a:pt x="8359038" y="5499809"/>
                  <a:pt x="8359045" y="5495365"/>
                </a:cubicBezTo>
                <a:cubicBezTo>
                  <a:pt x="8358993" y="5490879"/>
                  <a:pt x="8359686" y="5486416"/>
                  <a:pt x="8361097" y="5482153"/>
                </a:cubicBezTo>
                <a:cubicBezTo>
                  <a:pt x="8362323" y="5478388"/>
                  <a:pt x="8364257" y="5474885"/>
                  <a:pt x="8366796" y="5471828"/>
                </a:cubicBezTo>
                <a:cubicBezTo>
                  <a:pt x="8370813" y="5467320"/>
                  <a:pt x="8376085" y="5464377"/>
                  <a:pt x="8381735" y="5463184"/>
                </a:cubicBezTo>
                <a:close/>
                <a:moveTo>
                  <a:pt x="8525633" y="5440648"/>
                </a:moveTo>
                <a:lnTo>
                  <a:pt x="8525633" y="5486594"/>
                </a:lnTo>
                <a:lnTo>
                  <a:pt x="8525633" y="5549935"/>
                </a:lnTo>
                <a:lnTo>
                  <a:pt x="8595623" y="5549935"/>
                </a:lnTo>
                <a:lnTo>
                  <a:pt x="8596022" y="5549935"/>
                </a:lnTo>
                <a:lnTo>
                  <a:pt x="8596022" y="5532934"/>
                </a:lnTo>
                <a:lnTo>
                  <a:pt x="8595623" y="5532934"/>
                </a:lnTo>
                <a:lnTo>
                  <a:pt x="8595623" y="5526836"/>
                </a:lnTo>
                <a:lnTo>
                  <a:pt x="8551295" y="5526836"/>
                </a:lnTo>
                <a:lnTo>
                  <a:pt x="8551295" y="5505511"/>
                </a:lnTo>
                <a:lnTo>
                  <a:pt x="8591705" y="5505511"/>
                </a:lnTo>
                <a:lnTo>
                  <a:pt x="8591705" y="5483439"/>
                </a:lnTo>
                <a:lnTo>
                  <a:pt x="8551295" y="5483439"/>
                </a:lnTo>
                <a:lnTo>
                  <a:pt x="8551295" y="5463917"/>
                </a:lnTo>
                <a:lnTo>
                  <a:pt x="8595623" y="5463917"/>
                </a:lnTo>
                <a:lnTo>
                  <a:pt x="8595623" y="5457649"/>
                </a:lnTo>
                <a:lnTo>
                  <a:pt x="8596022" y="5457649"/>
                </a:lnTo>
                <a:lnTo>
                  <a:pt x="8596022" y="5440648"/>
                </a:lnTo>
                <a:lnTo>
                  <a:pt x="8595623" y="5440648"/>
                </a:lnTo>
                <a:lnTo>
                  <a:pt x="8547362" y="5440648"/>
                </a:lnTo>
                <a:close/>
                <a:moveTo>
                  <a:pt x="8448177" y="5440648"/>
                </a:moveTo>
                <a:lnTo>
                  <a:pt x="8448177" y="5486594"/>
                </a:lnTo>
                <a:lnTo>
                  <a:pt x="8448177" y="5549935"/>
                </a:lnTo>
                <a:lnTo>
                  <a:pt x="8518167" y="5549935"/>
                </a:lnTo>
                <a:lnTo>
                  <a:pt x="8518552" y="5549935"/>
                </a:lnTo>
                <a:lnTo>
                  <a:pt x="8518552" y="5532934"/>
                </a:lnTo>
                <a:lnTo>
                  <a:pt x="8518167" y="5532934"/>
                </a:lnTo>
                <a:lnTo>
                  <a:pt x="8518167" y="5526836"/>
                </a:lnTo>
                <a:lnTo>
                  <a:pt x="8473825" y="5526836"/>
                </a:lnTo>
                <a:lnTo>
                  <a:pt x="8473825" y="5505511"/>
                </a:lnTo>
                <a:lnTo>
                  <a:pt x="8514235" y="5505511"/>
                </a:lnTo>
                <a:lnTo>
                  <a:pt x="8514235" y="5483439"/>
                </a:lnTo>
                <a:lnTo>
                  <a:pt x="8473825" y="5483439"/>
                </a:lnTo>
                <a:lnTo>
                  <a:pt x="8473825" y="5463917"/>
                </a:lnTo>
                <a:lnTo>
                  <a:pt x="8518167" y="5463917"/>
                </a:lnTo>
                <a:lnTo>
                  <a:pt x="8518167" y="5457649"/>
                </a:lnTo>
                <a:lnTo>
                  <a:pt x="8518552" y="5457649"/>
                </a:lnTo>
                <a:lnTo>
                  <a:pt x="8518552" y="5440648"/>
                </a:lnTo>
                <a:lnTo>
                  <a:pt x="8518167" y="5440648"/>
                </a:lnTo>
                <a:lnTo>
                  <a:pt x="8469892" y="5440648"/>
                </a:lnTo>
                <a:close/>
                <a:moveTo>
                  <a:pt x="8387913" y="5440615"/>
                </a:moveTo>
                <a:cubicBezTo>
                  <a:pt x="8380162" y="5440531"/>
                  <a:pt x="8372471" y="5441967"/>
                  <a:pt x="8365286" y="5444841"/>
                </a:cubicBezTo>
                <a:cubicBezTo>
                  <a:pt x="8362463" y="5445992"/>
                  <a:pt x="8359742" y="5447373"/>
                  <a:pt x="8357150" y="5448968"/>
                </a:cubicBezTo>
                <a:lnTo>
                  <a:pt x="8332784" y="5500534"/>
                </a:lnTo>
                <a:cubicBezTo>
                  <a:pt x="8333178" y="5506170"/>
                  <a:pt x="8334392" y="5511720"/>
                  <a:pt x="8336389" y="5517014"/>
                </a:cubicBezTo>
                <a:cubicBezTo>
                  <a:pt x="8341193" y="5530088"/>
                  <a:pt x="8351385" y="5540532"/>
                  <a:pt x="8364431" y="5545747"/>
                </a:cubicBezTo>
                <a:cubicBezTo>
                  <a:pt x="8371564" y="5548631"/>
                  <a:pt x="8379210" y="5550068"/>
                  <a:pt x="8386916" y="5549973"/>
                </a:cubicBezTo>
                <a:cubicBezTo>
                  <a:pt x="8394648" y="5550060"/>
                  <a:pt x="8402321" y="5548624"/>
                  <a:pt x="8409486" y="5545747"/>
                </a:cubicBezTo>
                <a:cubicBezTo>
                  <a:pt x="8416013" y="5543105"/>
                  <a:pt x="8421943" y="5539203"/>
                  <a:pt x="8426926" y="5534268"/>
                </a:cubicBezTo>
                <a:cubicBezTo>
                  <a:pt x="8431850" y="5529341"/>
                  <a:pt x="8435700" y="5523468"/>
                  <a:pt x="8438240" y="5517014"/>
                </a:cubicBezTo>
                <a:cubicBezTo>
                  <a:pt x="8440974" y="5510120"/>
                  <a:pt x="8442338" y="5502769"/>
                  <a:pt x="8442258" y="5495365"/>
                </a:cubicBezTo>
                <a:cubicBezTo>
                  <a:pt x="8442328" y="5487947"/>
                  <a:pt x="8441019" y="5480581"/>
                  <a:pt x="8438397" y="5473631"/>
                </a:cubicBezTo>
                <a:cubicBezTo>
                  <a:pt x="8435967" y="5467187"/>
                  <a:pt x="8432239" y="5461298"/>
                  <a:pt x="8427439" y="5456320"/>
                </a:cubicBezTo>
                <a:cubicBezTo>
                  <a:pt x="8422597" y="5451374"/>
                  <a:pt x="8416777" y="5447467"/>
                  <a:pt x="8410341" y="5444841"/>
                </a:cubicBezTo>
                <a:cubicBezTo>
                  <a:pt x="8403230" y="5441951"/>
                  <a:pt x="8395601" y="5440514"/>
                  <a:pt x="8387913" y="5440615"/>
                </a:cubicBezTo>
                <a:close/>
                <a:moveTo>
                  <a:pt x="8245203" y="5440268"/>
                </a:moveTo>
                <a:lnTo>
                  <a:pt x="8261546" y="5474340"/>
                </a:lnTo>
                <a:lnTo>
                  <a:pt x="8288505" y="5474340"/>
                </a:lnTo>
                <a:lnTo>
                  <a:pt x="8274156" y="5440268"/>
                </a:lnTo>
                <a:close/>
                <a:moveTo>
                  <a:pt x="8325053" y="5440254"/>
                </a:moveTo>
                <a:lnTo>
                  <a:pt x="8299363" y="5499384"/>
                </a:lnTo>
                <a:lnTo>
                  <a:pt x="8292395" y="5483045"/>
                </a:lnTo>
                <a:lnTo>
                  <a:pt x="8265650" y="5483045"/>
                </a:lnTo>
                <a:lnTo>
                  <a:pt x="8297582" y="5549710"/>
                </a:lnTo>
                <a:lnTo>
                  <a:pt x="8300545" y="5549710"/>
                </a:lnTo>
                <a:lnTo>
                  <a:pt x="8352283" y="5440254"/>
                </a:lnTo>
                <a:close/>
                <a:moveTo>
                  <a:pt x="8704282" y="5402716"/>
                </a:moveTo>
                <a:lnTo>
                  <a:pt x="8704282" y="5577644"/>
                </a:lnTo>
                <a:lnTo>
                  <a:pt x="8723671" y="5577644"/>
                </a:lnTo>
                <a:lnTo>
                  <a:pt x="8723671" y="5402716"/>
                </a:lnTo>
                <a:close/>
                <a:moveTo>
                  <a:pt x="0" y="0"/>
                </a:moveTo>
                <a:lnTo>
                  <a:pt x="9144000" y="0"/>
                </a:lnTo>
                <a:lnTo>
                  <a:pt x="9144000" y="5101843"/>
                </a:lnTo>
                <a:lnTo>
                  <a:pt x="9144000" y="5284313"/>
                </a:lnTo>
                <a:lnTo>
                  <a:pt x="9144000" y="5288954"/>
                </a:lnTo>
                <a:lnTo>
                  <a:pt x="9144000" y="5322124"/>
                </a:lnTo>
                <a:lnTo>
                  <a:pt x="9144000" y="5745162"/>
                </a:lnTo>
                <a:lnTo>
                  <a:pt x="8995529" y="5745162"/>
                </a:lnTo>
                <a:lnTo>
                  <a:pt x="7924718" y="5745162"/>
                </a:lnTo>
                <a:lnTo>
                  <a:pt x="0" y="5745162"/>
                </a:lnTo>
                <a:lnTo>
                  <a:pt x="0" y="5322124"/>
                </a:lnTo>
                <a:lnTo>
                  <a:pt x="0" y="5288954"/>
                </a:lnTo>
                <a:lnTo>
                  <a:pt x="0" y="5284313"/>
                </a:lnTo>
                <a:lnTo>
                  <a:pt x="0" y="5101843"/>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 Drag image onto slide to add photo </a:t>
            </a:r>
          </a:p>
        </p:txBody>
      </p:sp>
      <p:grpSp>
        <p:nvGrpSpPr>
          <p:cNvPr id="41" name="Group 40">
            <a:extLst>
              <a:ext uri="{FF2B5EF4-FFF2-40B4-BE49-F238E27FC236}">
                <a16:creationId xmlns:a16="http://schemas.microsoft.com/office/drawing/2014/main" id="{270AAB3A-1F8E-7547-BC5B-D622E7ABEECC}"/>
              </a:ext>
            </a:extLst>
          </p:cNvPr>
          <p:cNvGrpSpPr/>
          <p:nvPr userDrawn="1"/>
        </p:nvGrpSpPr>
        <p:grpSpPr>
          <a:xfrm>
            <a:off x="12532243" y="0"/>
            <a:ext cx="3832280" cy="9929814"/>
            <a:chOff x="9399182" y="0"/>
            <a:chExt cx="2874210" cy="9929814"/>
          </a:xfrm>
        </p:grpSpPr>
        <p:sp>
          <p:nvSpPr>
            <p:cNvPr id="20" name="Rectangle 19">
              <a:extLst>
                <a:ext uri="{FF2B5EF4-FFF2-40B4-BE49-F238E27FC236}">
                  <a16:creationId xmlns:a16="http://schemas.microsoft.com/office/drawing/2014/main" id="{853DAC75-2764-F94B-801B-7E41553AA7A9}"/>
                </a:ext>
              </a:extLst>
            </p:cNvPr>
            <p:cNvSpPr/>
            <p:nvPr userDrawn="1"/>
          </p:nvSpPr>
          <p:spPr>
            <a:xfrm>
              <a:off x="9399182" y="0"/>
              <a:ext cx="2798651" cy="974407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1" name="TextBox 20">
              <a:extLst>
                <a:ext uri="{FF2B5EF4-FFF2-40B4-BE49-F238E27FC236}">
                  <a16:creationId xmlns:a16="http://schemas.microsoft.com/office/drawing/2014/main" id="{666BA62E-8407-214E-9983-5B95C260B124}"/>
                </a:ext>
              </a:extLst>
            </p:cNvPr>
            <p:cNvSpPr txBox="1"/>
            <p:nvPr userDrawn="1"/>
          </p:nvSpPr>
          <p:spPr>
            <a:xfrm>
              <a:off x="9558507" y="150290"/>
              <a:ext cx="140062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USE THE AGENDA</a:t>
              </a:r>
            </a:p>
          </p:txBody>
        </p:sp>
        <p:cxnSp>
          <p:nvCxnSpPr>
            <p:cNvPr id="22" name="Straight Connector 21">
              <a:extLst>
                <a:ext uri="{FF2B5EF4-FFF2-40B4-BE49-F238E27FC236}">
                  <a16:creationId xmlns:a16="http://schemas.microsoft.com/office/drawing/2014/main" id="{3EC19388-C76B-7448-9EDE-BDA3BAB9D416}"/>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7D14489D-EBF9-F043-8D0D-58D847FBFD92}"/>
                </a:ext>
              </a:extLst>
            </p:cNvPr>
            <p:cNvSpPr/>
            <p:nvPr/>
          </p:nvSpPr>
          <p:spPr>
            <a:xfrm>
              <a:off x="9686427" y="1588636"/>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800"/>
            </a:p>
          </p:txBody>
        </p:sp>
        <p:grpSp>
          <p:nvGrpSpPr>
            <p:cNvPr id="24" name="Group 23">
              <a:extLst>
                <a:ext uri="{FF2B5EF4-FFF2-40B4-BE49-F238E27FC236}">
                  <a16:creationId xmlns:a16="http://schemas.microsoft.com/office/drawing/2014/main" id="{669A9012-D270-2448-A4FD-E180D5741CB9}"/>
                </a:ext>
              </a:extLst>
            </p:cNvPr>
            <p:cNvGrpSpPr/>
            <p:nvPr/>
          </p:nvGrpSpPr>
          <p:grpSpPr>
            <a:xfrm>
              <a:off x="9686426" y="2097613"/>
              <a:ext cx="2284506" cy="249299"/>
              <a:chOff x="9431244" y="2862535"/>
              <a:chExt cx="2284506" cy="249299"/>
            </a:xfrm>
          </p:grpSpPr>
          <p:sp>
            <p:nvSpPr>
              <p:cNvPr id="40" name="TextBox 39">
                <a:extLst>
                  <a:ext uri="{FF2B5EF4-FFF2-40B4-BE49-F238E27FC236}">
                    <a16:creationId xmlns:a16="http://schemas.microsoft.com/office/drawing/2014/main" id="{5AA31A6C-B76D-D84E-926A-385AA59C712C}"/>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dirty="0"/>
                  <a:t>Click the Format Painter button (           ) to copy the style.</a:t>
                </a:r>
              </a:p>
            </p:txBody>
          </p:sp>
          <p:pic>
            <p:nvPicPr>
              <p:cNvPr id="39" name="Picture 38">
                <a:extLst>
                  <a:ext uri="{FF2B5EF4-FFF2-40B4-BE49-F238E27FC236}">
                    <a16:creationId xmlns:a16="http://schemas.microsoft.com/office/drawing/2014/main" id="{1CC21A02-B792-AF47-96A4-A59105B11793}"/>
                  </a:ext>
                </a:extLst>
              </p:cNvPr>
              <p:cNvPicPr>
                <a:picLocks noChangeAspect="1"/>
              </p:cNvPicPr>
              <p:nvPr/>
            </p:nvPicPr>
            <p:blipFill>
              <a:blip r:embed="rId2"/>
              <a:stretch>
                <a:fillRect/>
              </a:stretch>
            </p:blipFill>
            <p:spPr>
              <a:xfrm>
                <a:off x="11216812" y="2866153"/>
                <a:ext cx="340854" cy="113618"/>
              </a:xfrm>
              <a:prstGeom prst="rect">
                <a:avLst/>
              </a:prstGeom>
            </p:spPr>
          </p:pic>
        </p:grpSp>
        <p:sp>
          <p:nvSpPr>
            <p:cNvPr id="25" name="TextBox 24">
              <a:extLst>
                <a:ext uri="{FF2B5EF4-FFF2-40B4-BE49-F238E27FC236}">
                  <a16:creationId xmlns:a16="http://schemas.microsoft.com/office/drawing/2014/main" id="{594CFB75-D1BB-CC4A-B543-DF9749A36F98}"/>
                </a:ext>
              </a:extLst>
            </p:cNvPr>
            <p:cNvSpPr txBox="1"/>
            <p:nvPr/>
          </p:nvSpPr>
          <p:spPr>
            <a:xfrm>
              <a:off x="9686426" y="2398746"/>
              <a:ext cx="2294082"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dirty="0"/>
                <a:t>Click anywhere on the current agenda item (on the text works here) to apply the highlight style.</a:t>
              </a:r>
            </a:p>
          </p:txBody>
        </p:sp>
        <p:sp>
          <p:nvSpPr>
            <p:cNvPr id="26" name="TextBox 25">
              <a:extLst>
                <a:ext uri="{FF2B5EF4-FFF2-40B4-BE49-F238E27FC236}">
                  <a16:creationId xmlns:a16="http://schemas.microsoft.com/office/drawing/2014/main" id="{23193EDF-0188-094A-8A3E-60EB6775D122}"/>
                </a:ext>
              </a:extLst>
            </p:cNvPr>
            <p:cNvSpPr txBox="1">
              <a:spLocks noChangeAspect="1"/>
            </p:cNvSpPr>
            <p:nvPr/>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27" name="TextBox 26">
              <a:extLst>
                <a:ext uri="{FF2B5EF4-FFF2-40B4-BE49-F238E27FC236}">
                  <a16:creationId xmlns:a16="http://schemas.microsoft.com/office/drawing/2014/main" id="{AC0A9960-B8B4-3D4C-981C-922D7EC98DE6}"/>
                </a:ext>
              </a:extLst>
            </p:cNvPr>
            <p:cNvSpPr txBox="1">
              <a:spLocks noChangeAspect="1"/>
            </p:cNvSpPr>
            <p:nvPr/>
          </p:nvSpPr>
          <p:spPr>
            <a:xfrm>
              <a:off x="9521833" y="86224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28" name="TextBox 27">
              <a:extLst>
                <a:ext uri="{FF2B5EF4-FFF2-40B4-BE49-F238E27FC236}">
                  <a16:creationId xmlns:a16="http://schemas.microsoft.com/office/drawing/2014/main" id="{E879CA51-8AA7-5B46-8B51-CCC7D4DEF501}"/>
                </a:ext>
              </a:extLst>
            </p:cNvPr>
            <p:cNvSpPr txBox="1"/>
            <p:nvPr/>
          </p:nvSpPr>
          <p:spPr>
            <a:xfrm>
              <a:off x="9811647" y="1339804"/>
              <a:ext cx="2234098"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b="1" dirty="0">
                  <a:solidFill>
                    <a:schemeClr val="bg1">
                      <a:lumMod val="85000"/>
                    </a:schemeClr>
                  </a:solidFill>
                </a:rPr>
                <a:t>Click the element border to select the shape</a:t>
              </a:r>
              <a:r>
                <a:rPr lang="en-US" sz="700" dirty="0">
                  <a:solidFill>
                    <a:schemeClr val="bg1">
                      <a:lumMod val="85000"/>
                    </a:schemeClr>
                  </a:solidFill>
                </a:rPr>
                <a:t>—it won’t work correctly if you have your cursor in the text.</a:t>
              </a:r>
            </a:p>
          </p:txBody>
        </p:sp>
        <p:sp>
          <p:nvSpPr>
            <p:cNvPr id="29" name="TextBox 28">
              <a:extLst>
                <a:ext uri="{FF2B5EF4-FFF2-40B4-BE49-F238E27FC236}">
                  <a16:creationId xmlns:a16="http://schemas.microsoft.com/office/drawing/2014/main" id="{2F0D17E0-6EFC-8B4C-BB2F-25990B9D14AE}"/>
                </a:ext>
              </a:extLst>
            </p:cNvPr>
            <p:cNvSpPr txBox="1"/>
            <p:nvPr userDrawn="1"/>
          </p:nvSpPr>
          <p:spPr>
            <a:xfrm>
              <a:off x="9686426" y="513115"/>
              <a:ext cx="2327834" cy="81458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Enter agenda items as needed.</a:t>
              </a:r>
            </a:p>
            <a:p>
              <a:pPr lvl="0"/>
              <a:r>
                <a:rPr lang="en-US" sz="1050" dirty="0"/>
                <a:t>Apply the highlight marker to the current agenda item.</a:t>
              </a:r>
            </a:p>
            <a:p>
              <a:pPr lvl="1"/>
              <a:r>
                <a:rPr lang="en-US" sz="900" dirty="0"/>
                <a:t>Select the element below:</a:t>
              </a:r>
            </a:p>
          </p:txBody>
        </p:sp>
        <p:grpSp>
          <p:nvGrpSpPr>
            <p:cNvPr id="30" name="Group 29">
              <a:extLst>
                <a:ext uri="{FF2B5EF4-FFF2-40B4-BE49-F238E27FC236}">
                  <a16:creationId xmlns:a16="http://schemas.microsoft.com/office/drawing/2014/main" id="{1B35E7F5-A8FC-E341-928F-8F1C42C01FE4}"/>
                </a:ext>
              </a:extLst>
            </p:cNvPr>
            <p:cNvGrpSpPr/>
            <p:nvPr/>
          </p:nvGrpSpPr>
          <p:grpSpPr>
            <a:xfrm>
              <a:off x="9521833" y="2859865"/>
              <a:ext cx="2545476" cy="898708"/>
              <a:chOff x="9266651" y="2105587"/>
              <a:chExt cx="2545476" cy="898708"/>
            </a:xfrm>
          </p:grpSpPr>
          <p:sp>
            <p:nvSpPr>
              <p:cNvPr id="36" name="TextBox 35">
                <a:extLst>
                  <a:ext uri="{FF2B5EF4-FFF2-40B4-BE49-F238E27FC236}">
                    <a16:creationId xmlns:a16="http://schemas.microsoft.com/office/drawing/2014/main" id="{CC0F517F-CFE4-1D43-9DEA-FE4CA6FDDFEC}"/>
                  </a:ext>
                </a:extLst>
              </p:cNvPr>
              <p:cNvSpPr txBox="1">
                <a:spLocks noChangeAspect="1"/>
              </p:cNvSpPr>
              <p:nvPr/>
            </p:nvSpPr>
            <p:spPr>
              <a:xfrm>
                <a:off x="9266651" y="21244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37" name="TextBox 36">
                <a:extLst>
                  <a:ext uri="{FF2B5EF4-FFF2-40B4-BE49-F238E27FC236}">
                    <a16:creationId xmlns:a16="http://schemas.microsoft.com/office/drawing/2014/main" id="{0A403294-57CC-B74C-A9E2-F6DA8B35535D}"/>
                  </a:ext>
                </a:extLst>
              </p:cNvPr>
              <p:cNvSpPr txBox="1"/>
              <p:nvPr/>
            </p:nvSpPr>
            <p:spPr>
              <a:xfrm>
                <a:off x="9431244" y="2105587"/>
                <a:ext cx="2380883" cy="898708"/>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Duplicate the slide to create the</a:t>
                </a:r>
                <a:br>
                  <a:rPr lang="en-US" sz="1050" dirty="0"/>
                </a:br>
                <a:r>
                  <a:rPr lang="en-US" sz="1050" dirty="0"/>
                  <a:t>other section dividers.</a:t>
                </a:r>
              </a:p>
              <a:p>
                <a:pPr lvl="1"/>
                <a:r>
                  <a:rPr lang="en-US" sz="900" dirty="0"/>
                  <a:t>Use Format Painter to copy the normal style onto the previous highlighted item.</a:t>
                </a:r>
              </a:p>
              <a:p>
                <a:pPr lvl="1"/>
                <a:r>
                  <a:rPr lang="en-US" sz="900" dirty="0"/>
                  <a:t>Then repeat step 2 to highlight the new current agenda item.</a:t>
                </a:r>
              </a:p>
            </p:txBody>
          </p:sp>
        </p:grpSp>
        <p:grpSp>
          <p:nvGrpSpPr>
            <p:cNvPr id="79" name="Group 78">
              <a:extLst>
                <a:ext uri="{FF2B5EF4-FFF2-40B4-BE49-F238E27FC236}">
                  <a16:creationId xmlns:a16="http://schemas.microsoft.com/office/drawing/2014/main" id="{1F7C72B2-FE96-1A47-B6A2-F9EF2CE88FD7}"/>
                </a:ext>
              </a:extLst>
            </p:cNvPr>
            <p:cNvGrpSpPr/>
            <p:nvPr userDrawn="1"/>
          </p:nvGrpSpPr>
          <p:grpSpPr>
            <a:xfrm>
              <a:off x="9518577" y="3853669"/>
              <a:ext cx="2754815" cy="6076145"/>
              <a:chOff x="9266651" y="185338"/>
              <a:chExt cx="2754815" cy="6076145"/>
            </a:xfrm>
          </p:grpSpPr>
          <p:sp>
            <p:nvSpPr>
              <p:cNvPr id="80" name="TextBox 79">
                <a:extLst>
                  <a:ext uri="{FF2B5EF4-FFF2-40B4-BE49-F238E27FC236}">
                    <a16:creationId xmlns:a16="http://schemas.microsoft.com/office/drawing/2014/main" id="{BDDFA1E5-2D54-1F4E-923A-1EBF3193D53E}"/>
                  </a:ext>
                </a:extLst>
              </p:cNvPr>
              <p:cNvSpPr txBox="1"/>
              <p:nvPr userDrawn="1"/>
            </p:nvSpPr>
            <p:spPr>
              <a:xfrm>
                <a:off x="9303325" y="18533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81" name="Straight Connector 80">
                <a:extLst>
                  <a:ext uri="{FF2B5EF4-FFF2-40B4-BE49-F238E27FC236}">
                    <a16:creationId xmlns:a16="http://schemas.microsoft.com/office/drawing/2014/main" id="{0BE3F141-44E1-284B-B8E2-CC13393265B4}"/>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3991E50F-278F-5C43-8750-BC1E56B6BC1D}"/>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98" name="Group 97">
                <a:extLst>
                  <a:ext uri="{FF2B5EF4-FFF2-40B4-BE49-F238E27FC236}">
                    <a16:creationId xmlns:a16="http://schemas.microsoft.com/office/drawing/2014/main" id="{83F30A99-B1CD-AB4C-82B9-107FF3C5DE2E}"/>
                  </a:ext>
                </a:extLst>
              </p:cNvPr>
              <p:cNvGrpSpPr/>
              <p:nvPr userDrawn="1"/>
            </p:nvGrpSpPr>
            <p:grpSpPr>
              <a:xfrm>
                <a:off x="9286315" y="4787849"/>
                <a:ext cx="2735151" cy="1473634"/>
                <a:chOff x="9296567" y="4910412"/>
                <a:chExt cx="2735151" cy="1473634"/>
              </a:xfrm>
            </p:grpSpPr>
            <p:sp>
              <p:nvSpPr>
                <p:cNvPr id="100" name="Rectangle 99">
                  <a:extLst>
                    <a:ext uri="{FF2B5EF4-FFF2-40B4-BE49-F238E27FC236}">
                      <a16:creationId xmlns:a16="http://schemas.microsoft.com/office/drawing/2014/main" id="{F72F3191-3FD2-CD4E-BA75-7160E4514679}"/>
                    </a:ext>
                  </a:extLst>
                </p:cNvPr>
                <p:cNvSpPr/>
                <p:nvPr userDrawn="1"/>
              </p:nvSpPr>
              <p:spPr>
                <a:xfrm>
                  <a:off x="9296567" y="4910412"/>
                  <a:ext cx="2735151" cy="147363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1" name="TextBox 100">
                  <a:extLst>
                    <a:ext uri="{FF2B5EF4-FFF2-40B4-BE49-F238E27FC236}">
                      <a16:creationId xmlns:a16="http://schemas.microsoft.com/office/drawing/2014/main" id="{324B7A18-40EA-AC4F-814A-1584DE95586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02" name="Graphic 101">
                  <a:extLst>
                    <a:ext uri="{FF2B5EF4-FFF2-40B4-BE49-F238E27FC236}">
                      <a16:creationId xmlns:a16="http://schemas.microsoft.com/office/drawing/2014/main" id="{824C424F-47CC-5B4E-9503-43961DF4F9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049494"/>
                  <a:ext cx="155227" cy="155227"/>
                </a:xfrm>
                <a:prstGeom prst="rect">
                  <a:avLst/>
                </a:prstGeom>
              </p:spPr>
            </p:pic>
            <p:sp>
              <p:nvSpPr>
                <p:cNvPr id="103" name="TextBox 102">
                  <a:extLst>
                    <a:ext uri="{FF2B5EF4-FFF2-40B4-BE49-F238E27FC236}">
                      <a16:creationId xmlns:a16="http://schemas.microsoft.com/office/drawing/2014/main" id="{960DA147-99F9-6D46-940D-A010FCA6A940}"/>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04" name="TextBox 103">
                  <a:extLst>
                    <a:ext uri="{FF2B5EF4-FFF2-40B4-BE49-F238E27FC236}">
                      <a16:creationId xmlns:a16="http://schemas.microsoft.com/office/drawing/2014/main" id="{081D9AF4-EBB7-BF4C-B301-A60743D4AF62}"/>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05" name="TextBox 104">
                  <a:extLst>
                    <a:ext uri="{FF2B5EF4-FFF2-40B4-BE49-F238E27FC236}">
                      <a16:creationId xmlns:a16="http://schemas.microsoft.com/office/drawing/2014/main" id="{F85957B1-8118-9A45-9222-78DA6A1E692E}"/>
                    </a:ext>
                  </a:extLst>
                </p:cNvPr>
                <p:cNvSpPr txBox="1"/>
                <p:nvPr userDrawn="1"/>
              </p:nvSpPr>
              <p:spPr>
                <a:xfrm>
                  <a:off x="9471805" y="6076239"/>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84" name="Group 83">
                <a:extLst>
                  <a:ext uri="{FF2B5EF4-FFF2-40B4-BE49-F238E27FC236}">
                    <a16:creationId xmlns:a16="http://schemas.microsoft.com/office/drawing/2014/main" id="{2451E775-897C-3240-87F1-FE1B59EC3995}"/>
                  </a:ext>
                </a:extLst>
              </p:cNvPr>
              <p:cNvGrpSpPr/>
              <p:nvPr userDrawn="1"/>
            </p:nvGrpSpPr>
            <p:grpSpPr>
              <a:xfrm>
                <a:off x="9286315" y="3431192"/>
                <a:ext cx="2735151" cy="1280928"/>
                <a:chOff x="9286315" y="6976989"/>
                <a:chExt cx="2735151" cy="1280928"/>
              </a:xfrm>
            </p:grpSpPr>
            <p:sp>
              <p:nvSpPr>
                <p:cNvPr id="93" name="Rectangle 92">
                  <a:extLst>
                    <a:ext uri="{FF2B5EF4-FFF2-40B4-BE49-F238E27FC236}">
                      <a16:creationId xmlns:a16="http://schemas.microsoft.com/office/drawing/2014/main" id="{BB7CAF8A-39AD-C546-8915-185237EB5B1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4" name="TextBox 93">
                  <a:extLst>
                    <a:ext uri="{FF2B5EF4-FFF2-40B4-BE49-F238E27FC236}">
                      <a16:creationId xmlns:a16="http://schemas.microsoft.com/office/drawing/2014/main" id="{C07F080B-FE36-C347-BD87-97C6AD55ADF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95" name="Graphic 94">
                  <a:extLst>
                    <a:ext uri="{FF2B5EF4-FFF2-40B4-BE49-F238E27FC236}">
                      <a16:creationId xmlns:a16="http://schemas.microsoft.com/office/drawing/2014/main" id="{AC53915D-6A22-0A40-8A2B-4B3226EA5B9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46538" y="7116071"/>
                  <a:ext cx="155227" cy="155227"/>
                </a:xfrm>
                <a:prstGeom prst="rect">
                  <a:avLst/>
                </a:prstGeom>
              </p:spPr>
            </p:pic>
            <p:sp>
              <p:nvSpPr>
                <p:cNvPr id="96" name="TextBox 95">
                  <a:extLst>
                    <a:ext uri="{FF2B5EF4-FFF2-40B4-BE49-F238E27FC236}">
                      <a16:creationId xmlns:a16="http://schemas.microsoft.com/office/drawing/2014/main" id="{EE04E77D-44DF-3D4F-8CB4-3D9B1228C4A8}"/>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97" name="Picture 96">
                  <a:extLst>
                    <a:ext uri="{FF2B5EF4-FFF2-40B4-BE49-F238E27FC236}">
                      <a16:creationId xmlns:a16="http://schemas.microsoft.com/office/drawing/2014/main" id="{5E0CC428-D7B2-C14A-B7B1-DA955AE9FA5B}"/>
                    </a:ext>
                  </a:extLst>
                </p:cNvPr>
                <p:cNvPicPr>
                  <a:picLocks noChangeAspect="1"/>
                </p:cNvPicPr>
                <p:nvPr userDrawn="1"/>
              </p:nvPicPr>
              <p:blipFill rotWithShape="1">
                <a:blip r:embed="rId5"/>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85" name="Group 84">
                <a:extLst>
                  <a:ext uri="{FF2B5EF4-FFF2-40B4-BE49-F238E27FC236}">
                    <a16:creationId xmlns:a16="http://schemas.microsoft.com/office/drawing/2014/main" id="{F58B63AF-D922-CD49-BC43-4169636672FA}"/>
                  </a:ext>
                </a:extLst>
              </p:cNvPr>
              <p:cNvGrpSpPr/>
              <p:nvPr userDrawn="1"/>
            </p:nvGrpSpPr>
            <p:grpSpPr>
              <a:xfrm>
                <a:off x="9266651" y="510458"/>
                <a:ext cx="2617883" cy="651460"/>
                <a:chOff x="12352022" y="513115"/>
                <a:chExt cx="2617883" cy="651460"/>
              </a:xfrm>
            </p:grpSpPr>
            <p:sp>
              <p:nvSpPr>
                <p:cNvPr id="90" name="TextBox 89">
                  <a:extLst>
                    <a:ext uri="{FF2B5EF4-FFF2-40B4-BE49-F238E27FC236}">
                      <a16:creationId xmlns:a16="http://schemas.microsoft.com/office/drawing/2014/main" id="{FC2CEFD3-F990-E046-992D-8FEABF5829F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1" name="TextBox 90">
                  <a:extLst>
                    <a:ext uri="{FF2B5EF4-FFF2-40B4-BE49-F238E27FC236}">
                      <a16:creationId xmlns:a16="http://schemas.microsoft.com/office/drawing/2014/main" id="{7F412C02-87CB-E340-8BE6-07A1D513485E}"/>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2" name="TextBox 91">
                  <a:extLst>
                    <a:ext uri="{FF2B5EF4-FFF2-40B4-BE49-F238E27FC236}">
                      <a16:creationId xmlns:a16="http://schemas.microsoft.com/office/drawing/2014/main" id="{798508BC-3719-F043-963D-F484982CF8A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86" name="TextBox 85">
                <a:extLst>
                  <a:ext uri="{FF2B5EF4-FFF2-40B4-BE49-F238E27FC236}">
                    <a16:creationId xmlns:a16="http://schemas.microsoft.com/office/drawing/2014/main" id="{74207B05-5316-FE4E-BDED-E91DB8AF1403}"/>
                  </a:ext>
                </a:extLst>
              </p:cNvPr>
              <p:cNvSpPr txBox="1"/>
              <p:nvPr userDrawn="1"/>
            </p:nvSpPr>
            <p:spPr>
              <a:xfrm>
                <a:off x="9419085" y="152957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87" name="TextBox 86">
                <a:extLst>
                  <a:ext uri="{FF2B5EF4-FFF2-40B4-BE49-F238E27FC236}">
                    <a16:creationId xmlns:a16="http://schemas.microsoft.com/office/drawing/2014/main" id="{F8455CF3-6D2B-5345-A527-CD6EF4176CE7}"/>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8" name="TextBox 87">
                <a:extLst>
                  <a:ext uri="{FF2B5EF4-FFF2-40B4-BE49-F238E27FC236}">
                    <a16:creationId xmlns:a16="http://schemas.microsoft.com/office/drawing/2014/main" id="{0E69DB1A-1E4B-7947-AEE8-1AD1A0CEE871}"/>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9" name="TextBox 88">
                <a:extLst>
                  <a:ext uri="{FF2B5EF4-FFF2-40B4-BE49-F238E27FC236}">
                    <a16:creationId xmlns:a16="http://schemas.microsoft.com/office/drawing/2014/main" id="{328EEF89-7454-7C46-865B-2C0F34935AD3}"/>
                  </a:ext>
                </a:extLst>
              </p:cNvPr>
              <p:cNvSpPr txBox="1"/>
              <p:nvPr userDrawn="1"/>
            </p:nvSpPr>
            <p:spPr>
              <a:xfrm>
                <a:off x="9419085" y="3095480"/>
                <a:ext cx="2374733"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71" name="Subtitle 70">
            <a:extLst>
              <a:ext uri="{FF2B5EF4-FFF2-40B4-BE49-F238E27FC236}">
                <a16:creationId xmlns:a16="http://schemas.microsoft.com/office/drawing/2014/main" id="{2902DD29-5760-7741-8B06-89111BC5AEA1}"/>
              </a:ext>
            </a:extLst>
          </p:cNvPr>
          <p:cNvSpPr>
            <a:spLocks noGrp="1"/>
          </p:cNvSpPr>
          <p:nvPr>
            <p:ph type="subTitle" sz="quarter" idx="100" hasCustomPrompt="1"/>
          </p:nvPr>
        </p:nvSpPr>
        <p:spPr>
          <a:xfrm>
            <a:off x="-1" y="1112839"/>
            <a:ext cx="9675365" cy="5745162"/>
          </a:xfrm>
          <a:custGeom>
            <a:avLst/>
            <a:gdLst>
              <a:gd name="connsiteX0" fmla="*/ 363188 w 7217022"/>
              <a:gd name="connsiteY0" fmla="*/ 0 h 5713887"/>
              <a:gd name="connsiteX1" fmla="*/ 4505496 w 7217022"/>
              <a:gd name="connsiteY1" fmla="*/ 0 h 5713887"/>
              <a:gd name="connsiteX2" fmla="*/ 7217022 w 7217022"/>
              <a:gd name="connsiteY2" fmla="*/ 5713887 h 5713887"/>
              <a:gd name="connsiteX3" fmla="*/ 1311018 w 7217022"/>
              <a:gd name="connsiteY3" fmla="*/ 5713887 h 5713887"/>
              <a:gd name="connsiteX4" fmla="*/ 363188 w 7217022"/>
              <a:gd name="connsiteY4" fmla="*/ 5713887 h 5713887"/>
              <a:gd name="connsiteX5" fmla="*/ 0 w 7217022"/>
              <a:gd name="connsiteY5" fmla="*/ 5713887 h 5713887"/>
              <a:gd name="connsiteX6" fmla="*/ 0 w 7217022"/>
              <a:gd name="connsiteY6" fmla="*/ 5186837 h 5713887"/>
              <a:gd name="connsiteX7" fmla="*/ 0 w 7217022"/>
              <a:gd name="connsiteY7" fmla="*/ 4697887 h 5713887"/>
              <a:gd name="connsiteX8" fmla="*/ 0 w 7217022"/>
              <a:gd name="connsiteY8" fmla="*/ 1293 h 5713887"/>
              <a:gd name="connsiteX9" fmla="*/ 363188 w 7217022"/>
              <a:gd name="connsiteY9" fmla="*/ 1293 h 5713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17022" h="5713887">
                <a:moveTo>
                  <a:pt x="363188" y="0"/>
                </a:moveTo>
                <a:lnTo>
                  <a:pt x="4505496" y="0"/>
                </a:lnTo>
                <a:lnTo>
                  <a:pt x="7217022" y="5713887"/>
                </a:lnTo>
                <a:lnTo>
                  <a:pt x="1311018" y="5713887"/>
                </a:lnTo>
                <a:lnTo>
                  <a:pt x="363188" y="5713887"/>
                </a:lnTo>
                <a:lnTo>
                  <a:pt x="0" y="5713887"/>
                </a:lnTo>
                <a:lnTo>
                  <a:pt x="0" y="5186837"/>
                </a:lnTo>
                <a:lnTo>
                  <a:pt x="0" y="4697887"/>
                </a:lnTo>
                <a:lnTo>
                  <a:pt x="0" y="1293"/>
                </a:lnTo>
                <a:lnTo>
                  <a:pt x="363188" y="1293"/>
                </a:lnTo>
                <a:close/>
              </a:path>
            </a:pathLst>
          </a:custGeom>
          <a:gradFill>
            <a:gsLst>
              <a:gs pos="0">
                <a:schemeClr val="accent1">
                  <a:alpha val="95000"/>
                </a:schemeClr>
              </a:gs>
              <a:gs pos="97000">
                <a:schemeClr val="accent1">
                  <a:alpha val="80000"/>
                </a:schemeClr>
              </a:gs>
            </a:gsLst>
            <a:lin ang="5400000" scaled="0"/>
          </a:gradFill>
          <a:ln>
            <a:solidFill>
              <a:schemeClr val="accent1">
                <a:alpha val="0"/>
              </a:schemeClr>
            </a:solidFill>
          </a:ln>
        </p:spPr>
        <p:txBody>
          <a:bodyPr wrap="square" lIns="432000" bIns="522000" anchor="b">
            <a:noAutofit/>
          </a:bodyPr>
          <a:lstStyle>
            <a:lvl1pPr marL="0" indent="0">
              <a:spcBef>
                <a:spcPts val="200"/>
              </a:spcBef>
              <a:spcAft>
                <a:spcPts val="0"/>
              </a:spcAft>
              <a:buSzPct val="75000"/>
              <a:buFont typeface="+mj-lt"/>
              <a:buNone/>
              <a:tabLst/>
              <a:defRPr sz="1100">
                <a:solidFill>
                  <a:schemeClr val="bg1">
                    <a:alpha val="0"/>
                  </a:schemeClr>
                </a:solidFill>
              </a:defRPr>
            </a:lvl1pPr>
            <a:lvl2pPr marL="9525" indent="0">
              <a:spcBef>
                <a:spcPts val="400"/>
              </a:spcBef>
              <a:spcAft>
                <a:spcPts val="100"/>
              </a:spcAft>
              <a:buNone/>
              <a:tabLst/>
              <a:defRPr sz="1100" i="1">
                <a:solidFill>
                  <a:schemeClr val="bg1">
                    <a:alpha val="80000"/>
                  </a:schemeClr>
                </a:solidFill>
              </a:defRPr>
            </a:lvl2pPr>
            <a:lvl3pPr>
              <a:spcBef>
                <a:spcPts val="100"/>
              </a:spcBef>
              <a:spcAft>
                <a:spcPts val="100"/>
              </a:spcAft>
              <a:defRPr sz="1100">
                <a:solidFill>
                  <a:schemeClr val="accent6"/>
                </a:solidFill>
              </a:defRPr>
            </a:lvl3pPr>
            <a:lvl4pPr>
              <a:spcBef>
                <a:spcPts val="100"/>
              </a:spcBef>
              <a:spcAft>
                <a:spcPts val="100"/>
              </a:spcAft>
              <a:defRPr sz="1100">
                <a:solidFill>
                  <a:schemeClr val="accent6"/>
                </a:solidFill>
              </a:defRPr>
            </a:lvl4pPr>
            <a:lvl5pPr>
              <a:spcBef>
                <a:spcPts val="100"/>
              </a:spcBef>
              <a:spcAft>
                <a:spcPts val="100"/>
              </a:spcAft>
              <a:defRPr sz="1100">
                <a:solidFill>
                  <a:schemeClr val="accent6"/>
                </a:solidFill>
              </a:defRPr>
            </a:lvl5pPr>
          </a:lstStyle>
          <a:p>
            <a:pPr lvl="0"/>
            <a:endParaRPr/>
          </a:p>
        </p:txBody>
      </p:sp>
      <p:sp>
        <p:nvSpPr>
          <p:cNvPr id="7" name="Text Placeholder 6">
            <a:extLst>
              <a:ext uri="{FF2B5EF4-FFF2-40B4-BE49-F238E27FC236}">
                <a16:creationId xmlns:a16="http://schemas.microsoft.com/office/drawing/2014/main" id="{31D0EBE1-B4D6-4047-83E5-6123C3DC2687}"/>
              </a:ext>
            </a:extLst>
          </p:cNvPr>
          <p:cNvSpPr>
            <a:spLocks noGrp="1"/>
          </p:cNvSpPr>
          <p:nvPr>
            <p:ph type="body" idx="13" hasCustomPrompt="1"/>
          </p:nvPr>
        </p:nvSpPr>
        <p:spPr>
          <a:xfrm>
            <a:off x="0" y="1652565"/>
            <a:ext cx="6096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dirty="0"/>
              <a:t>Click to add agenda item</a:t>
            </a:r>
          </a:p>
        </p:txBody>
      </p:sp>
      <p:sp>
        <p:nvSpPr>
          <p:cNvPr id="10" name="Text Placeholder 6">
            <a:extLst>
              <a:ext uri="{FF2B5EF4-FFF2-40B4-BE49-F238E27FC236}">
                <a16:creationId xmlns:a16="http://schemas.microsoft.com/office/drawing/2014/main" id="{CC577686-36A2-F643-B3D4-C5A2921D5F7D}"/>
              </a:ext>
            </a:extLst>
          </p:cNvPr>
          <p:cNvSpPr>
            <a:spLocks noGrp="1"/>
          </p:cNvSpPr>
          <p:nvPr>
            <p:ph type="body" idx="14" hasCustomPrompt="1"/>
          </p:nvPr>
        </p:nvSpPr>
        <p:spPr>
          <a:xfrm>
            <a:off x="0" y="2200592"/>
            <a:ext cx="6096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dirty="0"/>
              <a:t>Click to add agenda item</a:t>
            </a:r>
          </a:p>
        </p:txBody>
      </p:sp>
      <p:sp>
        <p:nvSpPr>
          <p:cNvPr id="11" name="Text Placeholder 6">
            <a:extLst>
              <a:ext uri="{FF2B5EF4-FFF2-40B4-BE49-F238E27FC236}">
                <a16:creationId xmlns:a16="http://schemas.microsoft.com/office/drawing/2014/main" id="{46DB1FB2-683E-9B4E-ACC6-B46A2F011140}"/>
              </a:ext>
            </a:extLst>
          </p:cNvPr>
          <p:cNvSpPr>
            <a:spLocks noGrp="1"/>
          </p:cNvSpPr>
          <p:nvPr>
            <p:ph type="body" idx="15" hasCustomPrompt="1"/>
          </p:nvPr>
        </p:nvSpPr>
        <p:spPr>
          <a:xfrm>
            <a:off x="0" y="2748619"/>
            <a:ext cx="6096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dirty="0"/>
              <a:t>Click to add agenda item</a:t>
            </a:r>
          </a:p>
        </p:txBody>
      </p:sp>
      <p:sp>
        <p:nvSpPr>
          <p:cNvPr id="12" name="Text Placeholder 6">
            <a:extLst>
              <a:ext uri="{FF2B5EF4-FFF2-40B4-BE49-F238E27FC236}">
                <a16:creationId xmlns:a16="http://schemas.microsoft.com/office/drawing/2014/main" id="{7006F5B0-C97C-BA41-841A-D54DE5C3469E}"/>
              </a:ext>
            </a:extLst>
          </p:cNvPr>
          <p:cNvSpPr>
            <a:spLocks noGrp="1"/>
          </p:cNvSpPr>
          <p:nvPr>
            <p:ph type="body" idx="16" hasCustomPrompt="1"/>
          </p:nvPr>
        </p:nvSpPr>
        <p:spPr>
          <a:xfrm>
            <a:off x="0" y="3296646"/>
            <a:ext cx="6096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dirty="0"/>
              <a:t>Click to add agenda item</a:t>
            </a:r>
          </a:p>
        </p:txBody>
      </p:sp>
      <p:sp>
        <p:nvSpPr>
          <p:cNvPr id="13" name="Text Placeholder 6">
            <a:extLst>
              <a:ext uri="{FF2B5EF4-FFF2-40B4-BE49-F238E27FC236}">
                <a16:creationId xmlns:a16="http://schemas.microsoft.com/office/drawing/2014/main" id="{85A21497-54A9-774D-B270-BB2E796805E7}"/>
              </a:ext>
            </a:extLst>
          </p:cNvPr>
          <p:cNvSpPr>
            <a:spLocks noGrp="1"/>
          </p:cNvSpPr>
          <p:nvPr>
            <p:ph type="body" idx="17" hasCustomPrompt="1"/>
          </p:nvPr>
        </p:nvSpPr>
        <p:spPr>
          <a:xfrm>
            <a:off x="0" y="3844673"/>
            <a:ext cx="6096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dirty="0"/>
              <a:t>Click to add agenda item</a:t>
            </a:r>
          </a:p>
        </p:txBody>
      </p:sp>
      <p:sp>
        <p:nvSpPr>
          <p:cNvPr id="14" name="Text Placeholder 6">
            <a:extLst>
              <a:ext uri="{FF2B5EF4-FFF2-40B4-BE49-F238E27FC236}">
                <a16:creationId xmlns:a16="http://schemas.microsoft.com/office/drawing/2014/main" id="{6E099CDA-61FC-6346-826F-84D1E7C935C1}"/>
              </a:ext>
            </a:extLst>
          </p:cNvPr>
          <p:cNvSpPr>
            <a:spLocks noGrp="1"/>
          </p:cNvSpPr>
          <p:nvPr>
            <p:ph type="body" idx="18" hasCustomPrompt="1"/>
          </p:nvPr>
        </p:nvSpPr>
        <p:spPr>
          <a:xfrm>
            <a:off x="0" y="4392700"/>
            <a:ext cx="6096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dirty="0"/>
              <a:t>Click to add agenda item</a:t>
            </a:r>
          </a:p>
        </p:txBody>
      </p:sp>
      <p:sp>
        <p:nvSpPr>
          <p:cNvPr id="15" name="Text Placeholder 6">
            <a:extLst>
              <a:ext uri="{FF2B5EF4-FFF2-40B4-BE49-F238E27FC236}">
                <a16:creationId xmlns:a16="http://schemas.microsoft.com/office/drawing/2014/main" id="{D3BE9B67-1FCF-0A49-9AA8-CCF0BC3A843D}"/>
              </a:ext>
            </a:extLst>
          </p:cNvPr>
          <p:cNvSpPr>
            <a:spLocks noGrp="1"/>
          </p:cNvSpPr>
          <p:nvPr>
            <p:ph type="body" idx="19" hasCustomPrompt="1"/>
          </p:nvPr>
        </p:nvSpPr>
        <p:spPr>
          <a:xfrm>
            <a:off x="0" y="4940727"/>
            <a:ext cx="6096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dirty="0"/>
              <a:t>Click to add agenda item</a:t>
            </a:r>
          </a:p>
        </p:txBody>
      </p:sp>
      <p:sp>
        <p:nvSpPr>
          <p:cNvPr id="16" name="Text Placeholder 6">
            <a:extLst>
              <a:ext uri="{FF2B5EF4-FFF2-40B4-BE49-F238E27FC236}">
                <a16:creationId xmlns:a16="http://schemas.microsoft.com/office/drawing/2014/main" id="{7AF93A84-8DAC-D44B-87D4-386F989CA395}"/>
              </a:ext>
            </a:extLst>
          </p:cNvPr>
          <p:cNvSpPr>
            <a:spLocks noGrp="1"/>
          </p:cNvSpPr>
          <p:nvPr>
            <p:ph type="body" idx="20" hasCustomPrompt="1"/>
          </p:nvPr>
        </p:nvSpPr>
        <p:spPr>
          <a:xfrm>
            <a:off x="0" y="5488751"/>
            <a:ext cx="6096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dirty="0"/>
              <a:t>Click to add agenda item</a:t>
            </a:r>
          </a:p>
        </p:txBody>
      </p:sp>
      <p:sp>
        <p:nvSpPr>
          <p:cNvPr id="6" name="Text Placeholder 5">
            <a:extLst>
              <a:ext uri="{FF2B5EF4-FFF2-40B4-BE49-F238E27FC236}">
                <a16:creationId xmlns:a16="http://schemas.microsoft.com/office/drawing/2014/main" id="{AF45B143-DDF1-6B4E-B0B2-7907B8C48F2D}"/>
              </a:ext>
            </a:extLst>
          </p:cNvPr>
          <p:cNvSpPr>
            <a:spLocks noGrp="1"/>
          </p:cNvSpPr>
          <p:nvPr userDrawn="1">
            <p:ph type="body" sz="quarter" idx="110" hasCustomPrompt="1"/>
          </p:nvPr>
        </p:nvSpPr>
        <p:spPr>
          <a:xfrm>
            <a:off x="12935628" y="1607862"/>
            <a:ext cx="3239224" cy="376755"/>
          </a:xfrm>
          <a:blipFill>
            <a:blip r:embed="rId6"/>
            <a:stretch>
              <a:fillRect/>
            </a:stretch>
          </a:blipFill>
          <a:effectLst/>
        </p:spPr>
        <p:txBody>
          <a:bodyPr lIns="432000" tIns="18000" rIns="144000" anchor="ctr"/>
          <a:lstStyle>
            <a:lvl1pPr marL="0" indent="0">
              <a:spcBef>
                <a:spcPts val="0"/>
              </a:spcBef>
              <a:spcAft>
                <a:spcPts val="0"/>
              </a:spcAft>
              <a:buFontTx/>
              <a:buNone/>
              <a:defRPr b="1">
                <a:solidFill>
                  <a:schemeClr val="bg1"/>
                </a:solidFill>
              </a:defRPr>
            </a:lvl1pPr>
            <a:lvl2pPr marL="0">
              <a:spcBef>
                <a:spcPts val="0"/>
              </a:spcBef>
              <a:spcAft>
                <a:spcPts val="0"/>
              </a:spcAft>
              <a:buFontTx/>
              <a:buNone/>
              <a:defRPr b="1">
                <a:solidFill>
                  <a:schemeClr val="bg1"/>
                </a:solidFill>
              </a:defRPr>
            </a:lvl2pPr>
            <a:lvl3pPr marL="0" indent="0">
              <a:spcBef>
                <a:spcPts val="0"/>
              </a:spcBef>
              <a:spcAft>
                <a:spcPts val="0"/>
              </a:spcAft>
              <a:buFontTx/>
              <a:buNone/>
              <a:defRPr b="1">
                <a:solidFill>
                  <a:schemeClr val="bg1"/>
                </a:solidFill>
              </a:defRPr>
            </a:lvl3pPr>
            <a:lvl4pPr marL="0" indent="0">
              <a:spcBef>
                <a:spcPts val="0"/>
              </a:spcBef>
              <a:spcAft>
                <a:spcPts val="0"/>
              </a:spcAft>
              <a:buFontTx/>
              <a:buNone/>
              <a:defRPr b="1">
                <a:solidFill>
                  <a:schemeClr val="bg1"/>
                </a:solidFill>
              </a:defRPr>
            </a:lvl4pPr>
            <a:lvl5pPr marL="0" indent="0">
              <a:spcBef>
                <a:spcPts val="0"/>
              </a:spcBef>
              <a:spcAft>
                <a:spcPts val="0"/>
              </a:spcAft>
              <a:buFontTx/>
              <a:buNone/>
              <a:defRPr b="1">
                <a:solidFill>
                  <a:schemeClr val="bg1"/>
                </a:solidFill>
              </a:defRPr>
            </a:lvl5pPr>
            <a:lvl6pPr marL="0" indent="0">
              <a:spcBef>
                <a:spcPts val="0"/>
              </a:spcBef>
              <a:spcAft>
                <a:spcPts val="0"/>
              </a:spcAft>
              <a:buFontTx/>
              <a:buNone/>
              <a:defRPr b="1">
                <a:solidFill>
                  <a:schemeClr val="bg1"/>
                </a:solidFill>
              </a:defRPr>
            </a:lvl6pPr>
            <a:lvl7pPr marL="0" indent="0">
              <a:spcBef>
                <a:spcPts val="0"/>
              </a:spcBef>
              <a:spcAft>
                <a:spcPts val="0"/>
              </a:spcAft>
              <a:buFontTx/>
              <a:buNone/>
              <a:defRPr b="1">
                <a:solidFill>
                  <a:schemeClr val="bg1"/>
                </a:solidFill>
              </a:defRPr>
            </a:lvl7pPr>
            <a:lvl8pPr marL="0" indent="0">
              <a:spcBef>
                <a:spcPts val="0"/>
              </a:spcBef>
              <a:spcAft>
                <a:spcPts val="0"/>
              </a:spcAft>
              <a:buFontTx/>
              <a:buNone/>
              <a:defRPr b="1">
                <a:solidFill>
                  <a:schemeClr val="bg1"/>
                </a:solidFill>
              </a:defRPr>
            </a:lvl8pPr>
            <a:lvl9pPr marL="0" indent="0">
              <a:spcBef>
                <a:spcPts val="0"/>
              </a:spcBef>
              <a:spcAft>
                <a:spcPts val="0"/>
              </a:spcAft>
              <a:buFontTx/>
              <a:buNone/>
              <a:defRPr b="1">
                <a:solidFill>
                  <a:schemeClr val="bg1"/>
                </a:solidFill>
              </a:defRPr>
            </a:lvl9pPr>
          </a:lstStyle>
          <a:p>
            <a:pPr lvl="0"/>
            <a:r>
              <a:rPr lang="en-US" dirty="0"/>
              <a:t>Select this element</a:t>
            </a:r>
          </a:p>
        </p:txBody>
      </p:sp>
      <p:sp>
        <p:nvSpPr>
          <p:cNvPr id="5" name="Title 4">
            <a:extLst>
              <a:ext uri="{FF2B5EF4-FFF2-40B4-BE49-F238E27FC236}">
                <a16:creationId xmlns:a16="http://schemas.microsoft.com/office/drawing/2014/main" id="{B0403EB9-9CA5-F144-8CC3-6564291F2A72}"/>
              </a:ext>
            </a:extLst>
          </p:cNvPr>
          <p:cNvSpPr>
            <a:spLocks noGrp="1"/>
          </p:cNvSpPr>
          <p:nvPr userDrawn="1">
            <p:ph type="title" hasCustomPrompt="1"/>
          </p:nvPr>
        </p:nvSpPr>
        <p:spPr/>
        <p:txBody>
          <a:bodyPr/>
          <a:lstStyle/>
          <a:p>
            <a:r>
              <a:rPr lang="en-US" dirty="0"/>
              <a:t>CLICK TO ADD Slide TITLE. ALL CAPS. TWO LINES max.</a:t>
            </a:r>
          </a:p>
        </p:txBody>
      </p:sp>
      <p:sp>
        <p:nvSpPr>
          <p:cNvPr id="500" name="Caption">
            <a:extLst>
              <a:ext uri="{FF2B5EF4-FFF2-40B4-BE49-F238E27FC236}">
                <a16:creationId xmlns:a16="http://schemas.microsoft.com/office/drawing/2014/main" id="{6BEA4198-478B-E14D-8C70-FD4227A8A468}"/>
              </a:ext>
            </a:extLst>
          </p:cNvPr>
          <p:cNvSpPr>
            <a:spLocks noGrp="1"/>
          </p:cNvSpPr>
          <p:nvPr>
            <p:ph type="body" sz="quarter" idx="500" hasCustomPrompt="1"/>
          </p:nvPr>
        </p:nvSpPr>
        <p:spPr>
          <a:xfrm>
            <a:off x="9675364" y="6200776"/>
            <a:ext cx="1928848"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Aft>
                <a:spcPts val="0"/>
              </a:spcAft>
              <a:buFontTx/>
              <a:buNone/>
              <a:tabLst/>
              <a:defRPr sz="1100">
                <a:solidFill>
                  <a:schemeClr val="bg1"/>
                </a:solidFill>
              </a:defRPr>
            </a:lvl2pPr>
            <a:lvl3pPr marL="0" indent="0" algn="r">
              <a:spcAft>
                <a:spcPts val="0"/>
              </a:spcAft>
              <a:buFontTx/>
              <a:buNone/>
              <a:tabLst/>
              <a:defRPr sz="1100">
                <a:solidFill>
                  <a:schemeClr val="bg1"/>
                </a:solidFill>
              </a:defRPr>
            </a:lvl3pPr>
            <a:lvl4pPr marL="0" indent="0" algn="r">
              <a:spcAft>
                <a:spcPts val="0"/>
              </a:spcAft>
              <a:buFontTx/>
              <a:buNone/>
              <a:tabLst/>
              <a:defRPr sz="1100">
                <a:solidFill>
                  <a:schemeClr val="bg1"/>
                </a:solidFill>
              </a:defRPr>
            </a:lvl4pPr>
            <a:lvl5pPr marL="0" indent="0" algn="r">
              <a:spcAft>
                <a:spcPts val="0"/>
              </a:spcAft>
              <a:buFontTx/>
              <a:buNone/>
              <a:tabLst/>
              <a:defRPr sz="1100">
                <a:solidFill>
                  <a:schemeClr val="bg1"/>
                </a:solidFill>
              </a:defRPr>
            </a:lvl5pPr>
            <a:lvl6pPr marL="0" indent="0" algn="r">
              <a:spcAft>
                <a:spcPts val="0"/>
              </a:spcAft>
              <a:buFontTx/>
              <a:buNone/>
              <a:tabLst/>
              <a:defRPr sz="1100">
                <a:solidFill>
                  <a:schemeClr val="bg1"/>
                </a:solidFill>
              </a:defRPr>
            </a:lvl6pPr>
            <a:lvl7pPr marL="0" indent="0" algn="r">
              <a:spcAft>
                <a:spcPts val="0"/>
              </a:spcAft>
              <a:buFontTx/>
              <a:buNone/>
              <a:tabLst/>
              <a:defRPr sz="1100">
                <a:solidFill>
                  <a:schemeClr val="bg1"/>
                </a:solidFill>
              </a:defRPr>
            </a:lvl7pPr>
            <a:lvl8pPr marL="0" indent="0" algn="r">
              <a:spcAft>
                <a:spcPts val="0"/>
              </a:spcAft>
              <a:buFontTx/>
              <a:buNone/>
              <a:tabLst/>
              <a:defRPr sz="1100">
                <a:solidFill>
                  <a:schemeClr val="bg1"/>
                </a:solidFill>
              </a:defRPr>
            </a:lvl8pPr>
            <a:lvl9pPr marL="0" indent="0" algn="r">
              <a:spcAft>
                <a:spcPts val="0"/>
              </a:spcAft>
              <a:buFontTx/>
              <a:buNone/>
              <a:tabLst/>
              <a:defRPr sz="1100">
                <a:solidFill>
                  <a:schemeClr val="bg1"/>
                </a:solidFill>
              </a:defRPr>
            </a:lvl9pPr>
          </a:lstStyle>
          <a:p>
            <a:pPr lvl="0"/>
            <a:r>
              <a:rPr lang="en-US" dirty="0"/>
              <a:t>Click to add photo caption</a:t>
            </a:r>
          </a:p>
        </p:txBody>
      </p:sp>
      <p:sp>
        <p:nvSpPr>
          <p:cNvPr id="2" name="Date Placeholder 1">
            <a:extLst>
              <a:ext uri="{FF2B5EF4-FFF2-40B4-BE49-F238E27FC236}">
                <a16:creationId xmlns:a16="http://schemas.microsoft.com/office/drawing/2014/main" id="{E05B8C93-D828-C84E-9755-475E2DD5D8AF}"/>
              </a:ext>
            </a:extLst>
          </p:cNvPr>
          <p:cNvSpPr>
            <a:spLocks noGrp="1"/>
          </p:cNvSpPr>
          <p:nvPr>
            <p:ph type="dt" sz="half" idx="115"/>
          </p:nvPr>
        </p:nvSpPr>
        <p:spPr/>
        <p:txBody>
          <a:bodyPr/>
          <a:lstStyle/>
          <a:p>
            <a:endParaRPr lang="en-US" dirty="0"/>
          </a:p>
        </p:txBody>
      </p:sp>
      <p:sp>
        <p:nvSpPr>
          <p:cNvPr id="3" name="Footer Placeholder 2">
            <a:extLst>
              <a:ext uri="{FF2B5EF4-FFF2-40B4-BE49-F238E27FC236}">
                <a16:creationId xmlns:a16="http://schemas.microsoft.com/office/drawing/2014/main" id="{0459B6D8-C4E6-704C-8857-5CD7CA3BEE1D}"/>
              </a:ext>
            </a:extLst>
          </p:cNvPr>
          <p:cNvSpPr>
            <a:spLocks noGrp="1"/>
          </p:cNvSpPr>
          <p:nvPr>
            <p:ph type="ftr" sz="quarter" idx="116"/>
          </p:nvPr>
        </p:nvSpPr>
        <p:spPr/>
        <p:txBody>
          <a:bodyPr/>
          <a:lstStyle/>
          <a:p>
            <a:endParaRPr lang="en-US" dirty="0"/>
          </a:p>
        </p:txBody>
      </p:sp>
      <p:sp>
        <p:nvSpPr>
          <p:cNvPr id="4" name="Slide Number Placeholder 3">
            <a:extLst>
              <a:ext uri="{FF2B5EF4-FFF2-40B4-BE49-F238E27FC236}">
                <a16:creationId xmlns:a16="http://schemas.microsoft.com/office/drawing/2014/main" id="{F88C9A36-7012-864C-8C5E-DEC51C83883E}"/>
              </a:ext>
            </a:extLst>
          </p:cNvPr>
          <p:cNvSpPr>
            <a:spLocks noGrp="1"/>
          </p:cNvSpPr>
          <p:nvPr>
            <p:ph type="sldNum" sz="quarter" idx="117"/>
          </p:nvPr>
        </p:nvSpPr>
        <p:spPr>
          <a:noFill/>
        </p:spPr>
        <p:txBody>
          <a:bodyPr/>
          <a:lstStyle>
            <a:lvl1pPr>
              <a:defRPr>
                <a:solidFill>
                  <a:schemeClr val="bg1"/>
                </a:solidFill>
              </a:defRPr>
            </a:lvl1pPr>
          </a:lstStyle>
          <a:p>
            <a:pPr marL="12700"/>
            <a:fld id="{078C017C-E1B9-8443-B047-B08AAA027B45}" type="slidenum">
              <a:rPr lang="en-US" smtClean="0"/>
              <a:pPr marL="12700"/>
              <a:t>‹#›</a:t>
            </a:fld>
            <a:endParaRPr lang="en-US" dirty="0"/>
          </a:p>
        </p:txBody>
      </p:sp>
    </p:spTree>
    <p:extLst>
      <p:ext uri="{BB962C8B-B14F-4D97-AF65-F5344CB8AC3E}">
        <p14:creationId xmlns:p14="http://schemas.microsoft.com/office/powerpoint/2010/main" val="309718431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bg1"/>
        </a:solidFill>
        <a:effectLst/>
      </p:bgPr>
    </p:bg>
    <p:spTree>
      <p:nvGrpSpPr>
        <p:cNvPr id="1" name=""/>
        <p:cNvGrpSpPr/>
        <p:nvPr/>
      </p:nvGrpSpPr>
      <p:grpSpPr>
        <a:xfrm>
          <a:off x="0" y="0"/>
          <a:ext cx="0" cy="0"/>
          <a:chOff x="0" y="0"/>
          <a:chExt cx="0" cy="0"/>
        </a:xfrm>
      </p:grpSpPr>
      <p:sp>
        <p:nvSpPr>
          <p:cNvPr id="61" name="Picture Placeholder 60">
            <a:extLst>
              <a:ext uri="{FF2B5EF4-FFF2-40B4-BE49-F238E27FC236}">
                <a16:creationId xmlns:a16="http://schemas.microsoft.com/office/drawing/2014/main" id="{CF7DB4E3-860A-7649-B01C-09F1FF325704}"/>
              </a:ext>
            </a:extLst>
          </p:cNvPr>
          <p:cNvSpPr>
            <a:spLocks noGrp="1"/>
          </p:cNvSpPr>
          <p:nvPr>
            <p:ph type="pic" sz="quarter" idx="10" hasCustomPrompt="1"/>
          </p:nvPr>
        </p:nvSpPr>
        <p:spPr>
          <a:xfrm>
            <a:off x="0" y="0"/>
            <a:ext cx="12192000" cy="6858000"/>
          </a:xfrm>
          <a:custGeom>
            <a:avLst/>
            <a:gdLst>
              <a:gd name="connsiteX0" fmla="*/ 8381735 w 9144000"/>
              <a:gd name="connsiteY0" fmla="*/ 6576022 h 6858000"/>
              <a:gd name="connsiteX1" fmla="*/ 8398942 w 9144000"/>
              <a:gd name="connsiteY1" fmla="*/ 6577877 h 6858000"/>
              <a:gd name="connsiteX2" fmla="*/ 8407847 w 9144000"/>
              <a:gd name="connsiteY2" fmla="*/ 6584666 h 6858000"/>
              <a:gd name="connsiteX3" fmla="*/ 8413547 w 9144000"/>
              <a:gd name="connsiteY3" fmla="*/ 6594991 h 6858000"/>
              <a:gd name="connsiteX4" fmla="*/ 8415584 w 9144000"/>
              <a:gd name="connsiteY4" fmla="*/ 6608203 h 6858000"/>
              <a:gd name="connsiteX5" fmla="*/ 8413646 w 9144000"/>
              <a:gd name="connsiteY5" fmla="*/ 6621274 h 6858000"/>
              <a:gd name="connsiteX6" fmla="*/ 8407947 w 9144000"/>
              <a:gd name="connsiteY6" fmla="*/ 6631669 h 6858000"/>
              <a:gd name="connsiteX7" fmla="*/ 8375887 w 9144000"/>
              <a:gd name="connsiteY7" fmla="*/ 6638514 h 6858000"/>
              <a:gd name="connsiteX8" fmla="*/ 8366910 w 9144000"/>
              <a:gd name="connsiteY8" fmla="*/ 6631669 h 6858000"/>
              <a:gd name="connsiteX9" fmla="*/ 8361211 w 9144000"/>
              <a:gd name="connsiteY9" fmla="*/ 6621274 h 6858000"/>
              <a:gd name="connsiteX10" fmla="*/ 8359045 w 9144000"/>
              <a:gd name="connsiteY10" fmla="*/ 6608203 h 6858000"/>
              <a:gd name="connsiteX11" fmla="*/ 8361097 w 9144000"/>
              <a:gd name="connsiteY11" fmla="*/ 6594991 h 6858000"/>
              <a:gd name="connsiteX12" fmla="*/ 8366796 w 9144000"/>
              <a:gd name="connsiteY12" fmla="*/ 6584666 h 6858000"/>
              <a:gd name="connsiteX13" fmla="*/ 8381735 w 9144000"/>
              <a:gd name="connsiteY13" fmla="*/ 6576022 h 6858000"/>
              <a:gd name="connsiteX14" fmla="*/ 8525633 w 9144000"/>
              <a:gd name="connsiteY14" fmla="*/ 6553486 h 6858000"/>
              <a:gd name="connsiteX15" fmla="*/ 8525633 w 9144000"/>
              <a:gd name="connsiteY15" fmla="*/ 6599432 h 6858000"/>
              <a:gd name="connsiteX16" fmla="*/ 8525633 w 9144000"/>
              <a:gd name="connsiteY16" fmla="*/ 6662773 h 6858000"/>
              <a:gd name="connsiteX17" fmla="*/ 8595623 w 9144000"/>
              <a:gd name="connsiteY17" fmla="*/ 6662773 h 6858000"/>
              <a:gd name="connsiteX18" fmla="*/ 8596022 w 9144000"/>
              <a:gd name="connsiteY18" fmla="*/ 6662773 h 6858000"/>
              <a:gd name="connsiteX19" fmla="*/ 8596022 w 9144000"/>
              <a:gd name="connsiteY19" fmla="*/ 6645772 h 6858000"/>
              <a:gd name="connsiteX20" fmla="*/ 8595623 w 9144000"/>
              <a:gd name="connsiteY20" fmla="*/ 6645772 h 6858000"/>
              <a:gd name="connsiteX21" fmla="*/ 8595623 w 9144000"/>
              <a:gd name="connsiteY21" fmla="*/ 6639674 h 6858000"/>
              <a:gd name="connsiteX22" fmla="*/ 8551295 w 9144000"/>
              <a:gd name="connsiteY22" fmla="*/ 6639674 h 6858000"/>
              <a:gd name="connsiteX23" fmla="*/ 8551295 w 9144000"/>
              <a:gd name="connsiteY23" fmla="*/ 6618349 h 6858000"/>
              <a:gd name="connsiteX24" fmla="*/ 8591705 w 9144000"/>
              <a:gd name="connsiteY24" fmla="*/ 6618349 h 6858000"/>
              <a:gd name="connsiteX25" fmla="*/ 8591705 w 9144000"/>
              <a:gd name="connsiteY25" fmla="*/ 6596277 h 6858000"/>
              <a:gd name="connsiteX26" fmla="*/ 8551295 w 9144000"/>
              <a:gd name="connsiteY26" fmla="*/ 6596277 h 6858000"/>
              <a:gd name="connsiteX27" fmla="*/ 8551295 w 9144000"/>
              <a:gd name="connsiteY27" fmla="*/ 6576755 h 6858000"/>
              <a:gd name="connsiteX28" fmla="*/ 8595623 w 9144000"/>
              <a:gd name="connsiteY28" fmla="*/ 6576755 h 6858000"/>
              <a:gd name="connsiteX29" fmla="*/ 8595623 w 9144000"/>
              <a:gd name="connsiteY29" fmla="*/ 6570487 h 6858000"/>
              <a:gd name="connsiteX30" fmla="*/ 8596022 w 9144000"/>
              <a:gd name="connsiteY30" fmla="*/ 6570487 h 6858000"/>
              <a:gd name="connsiteX31" fmla="*/ 8596022 w 9144000"/>
              <a:gd name="connsiteY31" fmla="*/ 6553486 h 6858000"/>
              <a:gd name="connsiteX32" fmla="*/ 8595623 w 9144000"/>
              <a:gd name="connsiteY32" fmla="*/ 6553486 h 6858000"/>
              <a:gd name="connsiteX33" fmla="*/ 8547362 w 9144000"/>
              <a:gd name="connsiteY33" fmla="*/ 6553486 h 6858000"/>
              <a:gd name="connsiteX34" fmla="*/ 8448177 w 9144000"/>
              <a:gd name="connsiteY34" fmla="*/ 6553486 h 6858000"/>
              <a:gd name="connsiteX35" fmla="*/ 8448177 w 9144000"/>
              <a:gd name="connsiteY35" fmla="*/ 6599432 h 6858000"/>
              <a:gd name="connsiteX36" fmla="*/ 8448177 w 9144000"/>
              <a:gd name="connsiteY36" fmla="*/ 6662773 h 6858000"/>
              <a:gd name="connsiteX37" fmla="*/ 8518167 w 9144000"/>
              <a:gd name="connsiteY37" fmla="*/ 6662773 h 6858000"/>
              <a:gd name="connsiteX38" fmla="*/ 8518552 w 9144000"/>
              <a:gd name="connsiteY38" fmla="*/ 6662773 h 6858000"/>
              <a:gd name="connsiteX39" fmla="*/ 8518552 w 9144000"/>
              <a:gd name="connsiteY39" fmla="*/ 6645772 h 6858000"/>
              <a:gd name="connsiteX40" fmla="*/ 8518167 w 9144000"/>
              <a:gd name="connsiteY40" fmla="*/ 6645772 h 6858000"/>
              <a:gd name="connsiteX41" fmla="*/ 8518167 w 9144000"/>
              <a:gd name="connsiteY41" fmla="*/ 6639674 h 6858000"/>
              <a:gd name="connsiteX42" fmla="*/ 8473825 w 9144000"/>
              <a:gd name="connsiteY42" fmla="*/ 6639674 h 6858000"/>
              <a:gd name="connsiteX43" fmla="*/ 8473825 w 9144000"/>
              <a:gd name="connsiteY43" fmla="*/ 6618349 h 6858000"/>
              <a:gd name="connsiteX44" fmla="*/ 8514235 w 9144000"/>
              <a:gd name="connsiteY44" fmla="*/ 6618349 h 6858000"/>
              <a:gd name="connsiteX45" fmla="*/ 8514235 w 9144000"/>
              <a:gd name="connsiteY45" fmla="*/ 6596277 h 6858000"/>
              <a:gd name="connsiteX46" fmla="*/ 8473825 w 9144000"/>
              <a:gd name="connsiteY46" fmla="*/ 6596277 h 6858000"/>
              <a:gd name="connsiteX47" fmla="*/ 8473825 w 9144000"/>
              <a:gd name="connsiteY47" fmla="*/ 6576755 h 6858000"/>
              <a:gd name="connsiteX48" fmla="*/ 8518167 w 9144000"/>
              <a:gd name="connsiteY48" fmla="*/ 6576755 h 6858000"/>
              <a:gd name="connsiteX49" fmla="*/ 8518167 w 9144000"/>
              <a:gd name="connsiteY49" fmla="*/ 6570487 h 6858000"/>
              <a:gd name="connsiteX50" fmla="*/ 8518552 w 9144000"/>
              <a:gd name="connsiteY50" fmla="*/ 6570487 h 6858000"/>
              <a:gd name="connsiteX51" fmla="*/ 8518552 w 9144000"/>
              <a:gd name="connsiteY51" fmla="*/ 6553486 h 6858000"/>
              <a:gd name="connsiteX52" fmla="*/ 8518167 w 9144000"/>
              <a:gd name="connsiteY52" fmla="*/ 6553486 h 6858000"/>
              <a:gd name="connsiteX53" fmla="*/ 8469892 w 9144000"/>
              <a:gd name="connsiteY53" fmla="*/ 6553486 h 6858000"/>
              <a:gd name="connsiteX54" fmla="*/ 8387913 w 9144000"/>
              <a:gd name="connsiteY54" fmla="*/ 6553453 h 6858000"/>
              <a:gd name="connsiteX55" fmla="*/ 8365286 w 9144000"/>
              <a:gd name="connsiteY55" fmla="*/ 6557679 h 6858000"/>
              <a:gd name="connsiteX56" fmla="*/ 8357150 w 9144000"/>
              <a:gd name="connsiteY56" fmla="*/ 6561806 h 6858000"/>
              <a:gd name="connsiteX57" fmla="*/ 8332784 w 9144000"/>
              <a:gd name="connsiteY57" fmla="*/ 6613372 h 6858000"/>
              <a:gd name="connsiteX58" fmla="*/ 8336389 w 9144000"/>
              <a:gd name="connsiteY58" fmla="*/ 6629852 h 6858000"/>
              <a:gd name="connsiteX59" fmla="*/ 8364431 w 9144000"/>
              <a:gd name="connsiteY59" fmla="*/ 6658585 h 6858000"/>
              <a:gd name="connsiteX60" fmla="*/ 8386916 w 9144000"/>
              <a:gd name="connsiteY60" fmla="*/ 6662811 h 6858000"/>
              <a:gd name="connsiteX61" fmla="*/ 8409486 w 9144000"/>
              <a:gd name="connsiteY61" fmla="*/ 6658585 h 6858000"/>
              <a:gd name="connsiteX62" fmla="*/ 8426926 w 9144000"/>
              <a:gd name="connsiteY62" fmla="*/ 6647106 h 6858000"/>
              <a:gd name="connsiteX63" fmla="*/ 8438240 w 9144000"/>
              <a:gd name="connsiteY63" fmla="*/ 6629852 h 6858000"/>
              <a:gd name="connsiteX64" fmla="*/ 8442258 w 9144000"/>
              <a:gd name="connsiteY64" fmla="*/ 6608203 h 6858000"/>
              <a:gd name="connsiteX65" fmla="*/ 8438397 w 9144000"/>
              <a:gd name="connsiteY65" fmla="*/ 6586469 h 6858000"/>
              <a:gd name="connsiteX66" fmla="*/ 8427439 w 9144000"/>
              <a:gd name="connsiteY66" fmla="*/ 6569158 h 6858000"/>
              <a:gd name="connsiteX67" fmla="*/ 8410341 w 9144000"/>
              <a:gd name="connsiteY67" fmla="*/ 6557679 h 6858000"/>
              <a:gd name="connsiteX68" fmla="*/ 8387913 w 9144000"/>
              <a:gd name="connsiteY68" fmla="*/ 6553453 h 6858000"/>
              <a:gd name="connsiteX69" fmla="*/ 8245203 w 9144000"/>
              <a:gd name="connsiteY69" fmla="*/ 6553106 h 6858000"/>
              <a:gd name="connsiteX70" fmla="*/ 8261546 w 9144000"/>
              <a:gd name="connsiteY70" fmla="*/ 6587178 h 6858000"/>
              <a:gd name="connsiteX71" fmla="*/ 8288505 w 9144000"/>
              <a:gd name="connsiteY71" fmla="*/ 6587178 h 6858000"/>
              <a:gd name="connsiteX72" fmla="*/ 8274156 w 9144000"/>
              <a:gd name="connsiteY72" fmla="*/ 6553106 h 6858000"/>
              <a:gd name="connsiteX73" fmla="*/ 8325053 w 9144000"/>
              <a:gd name="connsiteY73" fmla="*/ 6553092 h 6858000"/>
              <a:gd name="connsiteX74" fmla="*/ 8299363 w 9144000"/>
              <a:gd name="connsiteY74" fmla="*/ 6612222 h 6858000"/>
              <a:gd name="connsiteX75" fmla="*/ 8292395 w 9144000"/>
              <a:gd name="connsiteY75" fmla="*/ 6595883 h 6858000"/>
              <a:gd name="connsiteX76" fmla="*/ 8265650 w 9144000"/>
              <a:gd name="connsiteY76" fmla="*/ 6595883 h 6858000"/>
              <a:gd name="connsiteX77" fmla="*/ 8297582 w 9144000"/>
              <a:gd name="connsiteY77" fmla="*/ 6662548 h 6858000"/>
              <a:gd name="connsiteX78" fmla="*/ 8300545 w 9144000"/>
              <a:gd name="connsiteY78" fmla="*/ 6662548 h 6858000"/>
              <a:gd name="connsiteX79" fmla="*/ 8352283 w 9144000"/>
              <a:gd name="connsiteY79" fmla="*/ 6553092 h 6858000"/>
              <a:gd name="connsiteX80" fmla="*/ 8704282 w 9144000"/>
              <a:gd name="connsiteY80" fmla="*/ 6515554 h 6858000"/>
              <a:gd name="connsiteX81" fmla="*/ 8704282 w 9144000"/>
              <a:gd name="connsiteY81" fmla="*/ 6690482 h 6858000"/>
              <a:gd name="connsiteX82" fmla="*/ 8723671 w 9144000"/>
              <a:gd name="connsiteY82" fmla="*/ 6690482 h 6858000"/>
              <a:gd name="connsiteX83" fmla="*/ 8723671 w 9144000"/>
              <a:gd name="connsiteY83" fmla="*/ 6515554 h 6858000"/>
              <a:gd name="connsiteX84" fmla="*/ 0 w 9144000"/>
              <a:gd name="connsiteY84" fmla="*/ 0 h 6858000"/>
              <a:gd name="connsiteX85" fmla="*/ 9144000 w 9144000"/>
              <a:gd name="connsiteY85" fmla="*/ 0 h 6858000"/>
              <a:gd name="connsiteX86" fmla="*/ 9144000 w 9144000"/>
              <a:gd name="connsiteY86" fmla="*/ 6214681 h 6858000"/>
              <a:gd name="connsiteX87" fmla="*/ 9144000 w 9144000"/>
              <a:gd name="connsiteY87" fmla="*/ 6397151 h 6858000"/>
              <a:gd name="connsiteX88" fmla="*/ 9144000 w 9144000"/>
              <a:gd name="connsiteY88" fmla="*/ 6401792 h 6858000"/>
              <a:gd name="connsiteX89" fmla="*/ 9144000 w 9144000"/>
              <a:gd name="connsiteY89" fmla="*/ 6434962 h 6858000"/>
              <a:gd name="connsiteX90" fmla="*/ 9144000 w 9144000"/>
              <a:gd name="connsiteY90" fmla="*/ 6858000 h 6858000"/>
              <a:gd name="connsiteX91" fmla="*/ 8995529 w 9144000"/>
              <a:gd name="connsiteY91" fmla="*/ 6858000 h 6858000"/>
              <a:gd name="connsiteX92" fmla="*/ 7924718 w 9144000"/>
              <a:gd name="connsiteY92" fmla="*/ 6858000 h 6858000"/>
              <a:gd name="connsiteX93" fmla="*/ 0 w 9144000"/>
              <a:gd name="connsiteY93" fmla="*/ 6858000 h 6858000"/>
              <a:gd name="connsiteX94" fmla="*/ 0 w 9144000"/>
              <a:gd name="connsiteY94" fmla="*/ 6434962 h 6858000"/>
              <a:gd name="connsiteX95" fmla="*/ 0 w 9144000"/>
              <a:gd name="connsiteY95" fmla="*/ 6401792 h 6858000"/>
              <a:gd name="connsiteX96" fmla="*/ 0 w 9144000"/>
              <a:gd name="connsiteY96" fmla="*/ 6397151 h 6858000"/>
              <a:gd name="connsiteX97" fmla="*/ 0 w 9144000"/>
              <a:gd name="connsiteY97" fmla="*/ 62146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144000" h="6858000">
                <a:moveTo>
                  <a:pt x="8381735" y="6576022"/>
                </a:moveTo>
                <a:cubicBezTo>
                  <a:pt x="8387385" y="6574829"/>
                  <a:pt x="8393413" y="6575385"/>
                  <a:pt x="8398942" y="6577877"/>
                </a:cubicBezTo>
                <a:cubicBezTo>
                  <a:pt x="8402361" y="6579495"/>
                  <a:pt x="8405396" y="6581808"/>
                  <a:pt x="8407847" y="6584666"/>
                </a:cubicBezTo>
                <a:cubicBezTo>
                  <a:pt x="8410387" y="6587723"/>
                  <a:pt x="8412320" y="6591226"/>
                  <a:pt x="8413547" y="6594991"/>
                </a:cubicBezTo>
                <a:cubicBezTo>
                  <a:pt x="8414952" y="6599255"/>
                  <a:pt x="8415640" y="6603718"/>
                  <a:pt x="8415584" y="6608203"/>
                </a:cubicBezTo>
                <a:cubicBezTo>
                  <a:pt x="8415665" y="6612635"/>
                  <a:pt x="8415011" y="6617051"/>
                  <a:pt x="8413646" y="6621274"/>
                </a:cubicBezTo>
                <a:cubicBezTo>
                  <a:pt x="8412411" y="6625056"/>
                  <a:pt x="8410478" y="6628580"/>
                  <a:pt x="8407947" y="6631669"/>
                </a:cubicBezTo>
                <a:cubicBezTo>
                  <a:pt x="8399972" y="6640715"/>
                  <a:pt x="8386928" y="6643500"/>
                  <a:pt x="8375887" y="6638514"/>
                </a:cubicBezTo>
                <a:cubicBezTo>
                  <a:pt x="8372423" y="6636911"/>
                  <a:pt x="8369358" y="6634574"/>
                  <a:pt x="8366910" y="6631669"/>
                </a:cubicBezTo>
                <a:cubicBezTo>
                  <a:pt x="8364379" y="6628580"/>
                  <a:pt x="8362446" y="6625056"/>
                  <a:pt x="8361211" y="6621274"/>
                </a:cubicBezTo>
                <a:cubicBezTo>
                  <a:pt x="8359769" y="6617063"/>
                  <a:pt x="8359038" y="6612647"/>
                  <a:pt x="8359045" y="6608203"/>
                </a:cubicBezTo>
                <a:cubicBezTo>
                  <a:pt x="8358993" y="6603717"/>
                  <a:pt x="8359686" y="6599254"/>
                  <a:pt x="8361097" y="6594991"/>
                </a:cubicBezTo>
                <a:cubicBezTo>
                  <a:pt x="8362323" y="6591226"/>
                  <a:pt x="8364257" y="6587723"/>
                  <a:pt x="8366796" y="6584666"/>
                </a:cubicBezTo>
                <a:cubicBezTo>
                  <a:pt x="8370813" y="6580158"/>
                  <a:pt x="8376085" y="6577215"/>
                  <a:pt x="8381735" y="6576022"/>
                </a:cubicBezTo>
                <a:close/>
                <a:moveTo>
                  <a:pt x="8525633" y="6553486"/>
                </a:moveTo>
                <a:lnTo>
                  <a:pt x="8525633" y="6599432"/>
                </a:lnTo>
                <a:lnTo>
                  <a:pt x="8525633" y="6662773"/>
                </a:lnTo>
                <a:lnTo>
                  <a:pt x="8595623" y="6662773"/>
                </a:lnTo>
                <a:lnTo>
                  <a:pt x="8596022" y="6662773"/>
                </a:lnTo>
                <a:lnTo>
                  <a:pt x="8596022" y="6645772"/>
                </a:lnTo>
                <a:lnTo>
                  <a:pt x="8595623" y="6645772"/>
                </a:lnTo>
                <a:lnTo>
                  <a:pt x="8595623" y="6639674"/>
                </a:lnTo>
                <a:lnTo>
                  <a:pt x="8551295" y="6639674"/>
                </a:lnTo>
                <a:lnTo>
                  <a:pt x="8551295" y="6618349"/>
                </a:lnTo>
                <a:lnTo>
                  <a:pt x="8591705" y="6618349"/>
                </a:lnTo>
                <a:lnTo>
                  <a:pt x="8591705" y="6596277"/>
                </a:lnTo>
                <a:lnTo>
                  <a:pt x="8551295" y="6596277"/>
                </a:lnTo>
                <a:lnTo>
                  <a:pt x="8551295" y="6576755"/>
                </a:lnTo>
                <a:lnTo>
                  <a:pt x="8595623" y="6576755"/>
                </a:lnTo>
                <a:lnTo>
                  <a:pt x="8595623" y="6570487"/>
                </a:lnTo>
                <a:lnTo>
                  <a:pt x="8596022" y="6570487"/>
                </a:lnTo>
                <a:lnTo>
                  <a:pt x="8596022" y="6553486"/>
                </a:lnTo>
                <a:lnTo>
                  <a:pt x="8595623" y="6553486"/>
                </a:lnTo>
                <a:lnTo>
                  <a:pt x="8547362" y="6553486"/>
                </a:lnTo>
                <a:close/>
                <a:moveTo>
                  <a:pt x="8448177" y="6553486"/>
                </a:moveTo>
                <a:lnTo>
                  <a:pt x="8448177" y="6599432"/>
                </a:lnTo>
                <a:lnTo>
                  <a:pt x="8448177" y="6662773"/>
                </a:lnTo>
                <a:lnTo>
                  <a:pt x="8518167" y="6662773"/>
                </a:lnTo>
                <a:lnTo>
                  <a:pt x="8518552" y="6662773"/>
                </a:lnTo>
                <a:lnTo>
                  <a:pt x="8518552" y="6645772"/>
                </a:lnTo>
                <a:lnTo>
                  <a:pt x="8518167" y="6645772"/>
                </a:lnTo>
                <a:lnTo>
                  <a:pt x="8518167" y="6639674"/>
                </a:lnTo>
                <a:lnTo>
                  <a:pt x="8473825" y="6639674"/>
                </a:lnTo>
                <a:lnTo>
                  <a:pt x="8473825" y="6618349"/>
                </a:lnTo>
                <a:lnTo>
                  <a:pt x="8514235" y="6618349"/>
                </a:lnTo>
                <a:lnTo>
                  <a:pt x="8514235" y="6596277"/>
                </a:lnTo>
                <a:lnTo>
                  <a:pt x="8473825" y="6596277"/>
                </a:lnTo>
                <a:lnTo>
                  <a:pt x="8473825" y="6576755"/>
                </a:lnTo>
                <a:lnTo>
                  <a:pt x="8518167" y="6576755"/>
                </a:lnTo>
                <a:lnTo>
                  <a:pt x="8518167" y="6570487"/>
                </a:lnTo>
                <a:lnTo>
                  <a:pt x="8518552" y="6570487"/>
                </a:lnTo>
                <a:lnTo>
                  <a:pt x="8518552" y="6553486"/>
                </a:lnTo>
                <a:lnTo>
                  <a:pt x="8518167" y="6553486"/>
                </a:lnTo>
                <a:lnTo>
                  <a:pt x="8469892" y="6553486"/>
                </a:lnTo>
                <a:close/>
                <a:moveTo>
                  <a:pt x="8387913" y="6553453"/>
                </a:moveTo>
                <a:cubicBezTo>
                  <a:pt x="8380162" y="6553369"/>
                  <a:pt x="8372471" y="6554805"/>
                  <a:pt x="8365286" y="6557679"/>
                </a:cubicBezTo>
                <a:cubicBezTo>
                  <a:pt x="8362463" y="6558830"/>
                  <a:pt x="8359742" y="6560211"/>
                  <a:pt x="8357150" y="6561806"/>
                </a:cubicBezTo>
                <a:lnTo>
                  <a:pt x="8332784" y="6613372"/>
                </a:lnTo>
                <a:cubicBezTo>
                  <a:pt x="8333178" y="6619008"/>
                  <a:pt x="8334392" y="6624558"/>
                  <a:pt x="8336389" y="6629852"/>
                </a:cubicBezTo>
                <a:cubicBezTo>
                  <a:pt x="8341193" y="6642926"/>
                  <a:pt x="8351385" y="6653370"/>
                  <a:pt x="8364431" y="6658585"/>
                </a:cubicBezTo>
                <a:cubicBezTo>
                  <a:pt x="8371564" y="6661469"/>
                  <a:pt x="8379210" y="6662906"/>
                  <a:pt x="8386916" y="6662811"/>
                </a:cubicBezTo>
                <a:cubicBezTo>
                  <a:pt x="8394648" y="6662898"/>
                  <a:pt x="8402321" y="6661462"/>
                  <a:pt x="8409486" y="6658585"/>
                </a:cubicBezTo>
                <a:cubicBezTo>
                  <a:pt x="8416013" y="6655943"/>
                  <a:pt x="8421943" y="6652041"/>
                  <a:pt x="8426926" y="6647106"/>
                </a:cubicBezTo>
                <a:cubicBezTo>
                  <a:pt x="8431850" y="6642179"/>
                  <a:pt x="8435700" y="6636306"/>
                  <a:pt x="8438240" y="6629852"/>
                </a:cubicBezTo>
                <a:cubicBezTo>
                  <a:pt x="8440974" y="6622958"/>
                  <a:pt x="8442338" y="6615607"/>
                  <a:pt x="8442258" y="6608203"/>
                </a:cubicBezTo>
                <a:cubicBezTo>
                  <a:pt x="8442328" y="6600785"/>
                  <a:pt x="8441019" y="6593419"/>
                  <a:pt x="8438397" y="6586469"/>
                </a:cubicBezTo>
                <a:cubicBezTo>
                  <a:pt x="8435967" y="6580025"/>
                  <a:pt x="8432239" y="6574136"/>
                  <a:pt x="8427439" y="6569158"/>
                </a:cubicBezTo>
                <a:cubicBezTo>
                  <a:pt x="8422597" y="6564212"/>
                  <a:pt x="8416777" y="6560305"/>
                  <a:pt x="8410341" y="6557679"/>
                </a:cubicBezTo>
                <a:cubicBezTo>
                  <a:pt x="8403230" y="6554789"/>
                  <a:pt x="8395601" y="6553352"/>
                  <a:pt x="8387913" y="6553453"/>
                </a:cubicBezTo>
                <a:close/>
                <a:moveTo>
                  <a:pt x="8245203" y="6553106"/>
                </a:moveTo>
                <a:lnTo>
                  <a:pt x="8261546" y="6587178"/>
                </a:lnTo>
                <a:lnTo>
                  <a:pt x="8288505" y="6587178"/>
                </a:lnTo>
                <a:lnTo>
                  <a:pt x="8274156" y="6553106"/>
                </a:lnTo>
                <a:close/>
                <a:moveTo>
                  <a:pt x="8325053" y="6553092"/>
                </a:moveTo>
                <a:lnTo>
                  <a:pt x="8299363" y="6612222"/>
                </a:lnTo>
                <a:lnTo>
                  <a:pt x="8292395" y="6595883"/>
                </a:lnTo>
                <a:lnTo>
                  <a:pt x="8265650" y="6595883"/>
                </a:lnTo>
                <a:lnTo>
                  <a:pt x="8297582" y="6662548"/>
                </a:lnTo>
                <a:lnTo>
                  <a:pt x="8300545" y="6662548"/>
                </a:lnTo>
                <a:lnTo>
                  <a:pt x="8352283" y="6553092"/>
                </a:lnTo>
                <a:close/>
                <a:moveTo>
                  <a:pt x="8704282" y="6515554"/>
                </a:moveTo>
                <a:lnTo>
                  <a:pt x="8704282" y="6690482"/>
                </a:lnTo>
                <a:lnTo>
                  <a:pt x="8723671" y="6690482"/>
                </a:lnTo>
                <a:lnTo>
                  <a:pt x="8723671" y="6515554"/>
                </a:lnTo>
                <a:close/>
                <a:moveTo>
                  <a:pt x="0" y="0"/>
                </a:moveTo>
                <a:lnTo>
                  <a:pt x="9144000" y="0"/>
                </a:lnTo>
                <a:lnTo>
                  <a:pt x="9144000" y="6214681"/>
                </a:lnTo>
                <a:lnTo>
                  <a:pt x="9144000" y="6397151"/>
                </a:lnTo>
                <a:lnTo>
                  <a:pt x="9144000" y="6401792"/>
                </a:lnTo>
                <a:lnTo>
                  <a:pt x="9144000" y="6434962"/>
                </a:lnTo>
                <a:lnTo>
                  <a:pt x="9144000" y="6858000"/>
                </a:lnTo>
                <a:lnTo>
                  <a:pt x="8995529" y="6858000"/>
                </a:lnTo>
                <a:lnTo>
                  <a:pt x="7924718" y="6858000"/>
                </a:lnTo>
                <a:lnTo>
                  <a:pt x="0" y="6858000"/>
                </a:lnTo>
                <a:lnTo>
                  <a:pt x="0" y="6434962"/>
                </a:lnTo>
                <a:lnTo>
                  <a:pt x="0" y="6401792"/>
                </a:lnTo>
                <a:lnTo>
                  <a:pt x="0" y="6397151"/>
                </a:lnTo>
                <a:lnTo>
                  <a:pt x="0" y="6214681"/>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 Drag image onto slide to add photo </a:t>
            </a:r>
          </a:p>
        </p:txBody>
      </p:sp>
      <p:sp>
        <p:nvSpPr>
          <p:cNvPr id="14" name="Title 13">
            <a:extLst>
              <a:ext uri="{FF2B5EF4-FFF2-40B4-BE49-F238E27FC236}">
                <a16:creationId xmlns:a16="http://schemas.microsoft.com/office/drawing/2014/main" id="{82C3A686-EFBE-6E4D-8020-4014DF4E8E7D}"/>
              </a:ext>
            </a:extLst>
          </p:cNvPr>
          <p:cNvSpPr>
            <a:spLocks noGrp="1"/>
          </p:cNvSpPr>
          <p:nvPr>
            <p:ph type="title" hasCustomPrompt="1"/>
          </p:nvPr>
        </p:nvSpPr>
        <p:spPr>
          <a:xfrm>
            <a:off x="0" y="1"/>
            <a:ext cx="7947045" cy="6857999"/>
          </a:xfrm>
          <a:custGeom>
            <a:avLst/>
            <a:gdLst>
              <a:gd name="connsiteX0" fmla="*/ 0 w 5960284"/>
              <a:gd name="connsiteY0" fmla="*/ 0 h 6857999"/>
              <a:gd name="connsiteX1" fmla="*/ 2705820 w 5960284"/>
              <a:gd name="connsiteY1" fmla="*/ 0 h 6857999"/>
              <a:gd name="connsiteX2" fmla="*/ 5960284 w 5960284"/>
              <a:gd name="connsiteY2" fmla="*/ 6857999 h 6857999"/>
              <a:gd name="connsiteX3" fmla="*/ 0 w 5960284"/>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960284" h="6857999">
                <a:moveTo>
                  <a:pt x="0" y="0"/>
                </a:moveTo>
                <a:lnTo>
                  <a:pt x="2705820" y="0"/>
                </a:lnTo>
                <a:lnTo>
                  <a:pt x="5960284" y="6857999"/>
                </a:lnTo>
                <a:lnTo>
                  <a:pt x="0" y="6857999"/>
                </a:lnTo>
                <a:close/>
              </a:path>
            </a:pathLst>
          </a:custGeom>
          <a:gradFill>
            <a:gsLst>
              <a:gs pos="0">
                <a:schemeClr val="accent1">
                  <a:alpha val="95000"/>
                </a:schemeClr>
              </a:gs>
              <a:gs pos="97000">
                <a:schemeClr val="accent1">
                  <a:alpha val="80000"/>
                </a:schemeClr>
              </a:gs>
            </a:gsLst>
            <a:lin ang="5400000" scaled="0"/>
          </a:gradFill>
        </p:spPr>
        <p:txBody>
          <a:bodyPr wrap="square" lIns="432000" tIns="360000" rIns="1080000" bIns="612000" anchor="b">
            <a:noAutofit/>
          </a:bodyPr>
          <a:lstStyle>
            <a:lvl1pPr>
              <a:defRPr sz="3600">
                <a:solidFill>
                  <a:schemeClr val="bg1"/>
                </a:solidFill>
              </a:defRPr>
            </a:lvl1pPr>
          </a:lstStyle>
          <a:p>
            <a:pPr lvl="0"/>
            <a:r>
              <a:rPr lang="en-US" dirty="0"/>
              <a:t>Click to add section title.</a:t>
            </a:r>
            <a:br>
              <a:rPr lang="en-US" dirty="0"/>
            </a:br>
            <a:r>
              <a:rPr lang="en-US" dirty="0"/>
              <a:t>3 lines max.</a:t>
            </a:r>
          </a:p>
        </p:txBody>
      </p:sp>
      <p:grpSp>
        <p:nvGrpSpPr>
          <p:cNvPr id="8" name="Group 7">
            <a:extLst>
              <a:ext uri="{FF2B5EF4-FFF2-40B4-BE49-F238E27FC236}">
                <a16:creationId xmlns:a16="http://schemas.microsoft.com/office/drawing/2014/main" id="{7EF91C03-68D7-6C4C-845D-95A60CCDC888}"/>
              </a:ext>
            </a:extLst>
          </p:cNvPr>
          <p:cNvGrpSpPr/>
          <p:nvPr userDrawn="1"/>
        </p:nvGrpSpPr>
        <p:grpSpPr>
          <a:xfrm>
            <a:off x="-342618" y="4797149"/>
            <a:ext cx="335281" cy="1365066"/>
            <a:chOff x="-256404" y="360363"/>
            <a:chExt cx="251461" cy="692152"/>
          </a:xfrm>
        </p:grpSpPr>
        <p:grpSp>
          <p:nvGrpSpPr>
            <p:cNvPr id="9" name="Group 8">
              <a:extLst>
                <a:ext uri="{FF2B5EF4-FFF2-40B4-BE49-F238E27FC236}">
                  <a16:creationId xmlns:a16="http://schemas.microsoft.com/office/drawing/2014/main" id="{0D7A67AD-A78D-1040-A099-19C73D75FADD}"/>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B4B5A1AF-9A26-A642-816C-7E1E37992AA4}"/>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DBBC9F7-B424-1643-B930-EEF94712EBD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E56CBC82-1BDE-F540-BF3F-712FAD884E18}"/>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10" name="TextBox 9">
              <a:extLst>
                <a:ext uri="{FF2B5EF4-FFF2-40B4-BE49-F238E27FC236}">
                  <a16:creationId xmlns:a16="http://schemas.microsoft.com/office/drawing/2014/main" id="{3282B5F3-F5C3-DB4C-B743-A8A59CFF7D42}"/>
                </a:ext>
              </a:extLst>
            </p:cNvPr>
            <p:cNvSpPr txBox="1"/>
            <p:nvPr userDrawn="1"/>
          </p:nvSpPr>
          <p:spPr>
            <a:xfrm rot="16200000">
              <a:off x="-192445" y="662666"/>
              <a:ext cx="123545" cy="8079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55" name="Group 54">
            <a:extLst>
              <a:ext uri="{FF2B5EF4-FFF2-40B4-BE49-F238E27FC236}">
                <a16:creationId xmlns:a16="http://schemas.microsoft.com/office/drawing/2014/main" id="{9798FF58-E26B-3647-BDDF-EC266BEA7328}"/>
              </a:ext>
            </a:extLst>
          </p:cNvPr>
          <p:cNvGrpSpPr/>
          <p:nvPr userDrawn="1"/>
        </p:nvGrpSpPr>
        <p:grpSpPr>
          <a:xfrm>
            <a:off x="12532243" y="-1"/>
            <a:ext cx="3832280" cy="6858001"/>
            <a:chOff x="9144000" y="-1"/>
            <a:chExt cx="2874210" cy="6858001"/>
          </a:xfrm>
        </p:grpSpPr>
        <p:sp>
          <p:nvSpPr>
            <p:cNvPr id="56" name="Rectangle 55">
              <a:extLst>
                <a:ext uri="{FF2B5EF4-FFF2-40B4-BE49-F238E27FC236}">
                  <a16:creationId xmlns:a16="http://schemas.microsoft.com/office/drawing/2014/main" id="{88580BD2-46D4-6B43-BEB1-7D93D1D56918}"/>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grpSp>
          <p:nvGrpSpPr>
            <p:cNvPr id="57" name="Group 56">
              <a:extLst>
                <a:ext uri="{FF2B5EF4-FFF2-40B4-BE49-F238E27FC236}">
                  <a16:creationId xmlns:a16="http://schemas.microsoft.com/office/drawing/2014/main" id="{9A61082E-FFDB-C440-87DC-6022E4E82893}"/>
                </a:ext>
              </a:extLst>
            </p:cNvPr>
            <p:cNvGrpSpPr/>
            <p:nvPr userDrawn="1"/>
          </p:nvGrpSpPr>
          <p:grpSpPr>
            <a:xfrm>
              <a:off x="9263395" y="150289"/>
              <a:ext cx="2754815" cy="6013825"/>
              <a:chOff x="9266651" y="185338"/>
              <a:chExt cx="2754815" cy="6013825"/>
            </a:xfrm>
          </p:grpSpPr>
          <p:sp>
            <p:nvSpPr>
              <p:cNvPr id="58" name="TextBox 57">
                <a:extLst>
                  <a:ext uri="{FF2B5EF4-FFF2-40B4-BE49-F238E27FC236}">
                    <a16:creationId xmlns:a16="http://schemas.microsoft.com/office/drawing/2014/main" id="{FD97C5F9-1BA0-4346-8BA5-61CA34B0EB56}"/>
                  </a:ext>
                </a:extLst>
              </p:cNvPr>
              <p:cNvSpPr txBox="1"/>
              <p:nvPr userDrawn="1"/>
            </p:nvSpPr>
            <p:spPr>
              <a:xfrm>
                <a:off x="9303325" y="18533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59" name="Straight Connector 58">
                <a:extLst>
                  <a:ext uri="{FF2B5EF4-FFF2-40B4-BE49-F238E27FC236}">
                    <a16:creationId xmlns:a16="http://schemas.microsoft.com/office/drawing/2014/main" id="{FF29B610-1229-CE4A-AF80-53A2FAABF0E4}"/>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179FAF10-6C7D-2144-8C5C-BFA813F68506}"/>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6" name="Group 75">
                <a:extLst>
                  <a:ext uri="{FF2B5EF4-FFF2-40B4-BE49-F238E27FC236}">
                    <a16:creationId xmlns:a16="http://schemas.microsoft.com/office/drawing/2014/main" id="{08A50BC6-41D4-CB43-B615-0CB5C5D8CB2E}"/>
                  </a:ext>
                </a:extLst>
              </p:cNvPr>
              <p:cNvGrpSpPr/>
              <p:nvPr userDrawn="1"/>
            </p:nvGrpSpPr>
            <p:grpSpPr>
              <a:xfrm>
                <a:off x="9286315" y="4787848"/>
                <a:ext cx="2735151" cy="1411315"/>
                <a:chOff x="9296567" y="4910411"/>
                <a:chExt cx="2735151" cy="1411315"/>
              </a:xfrm>
            </p:grpSpPr>
            <p:sp>
              <p:nvSpPr>
                <p:cNvPr id="78" name="Rectangle 77">
                  <a:extLst>
                    <a:ext uri="{FF2B5EF4-FFF2-40B4-BE49-F238E27FC236}">
                      <a16:creationId xmlns:a16="http://schemas.microsoft.com/office/drawing/2014/main" id="{AAF32C62-18B0-5A46-A72E-AB5C72B617B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9" name="TextBox 78">
                  <a:extLst>
                    <a:ext uri="{FF2B5EF4-FFF2-40B4-BE49-F238E27FC236}">
                      <a16:creationId xmlns:a16="http://schemas.microsoft.com/office/drawing/2014/main" id="{3A949284-8769-7C4A-BDA9-47BF5046975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0" name="Graphic 79">
                  <a:extLst>
                    <a:ext uri="{FF2B5EF4-FFF2-40B4-BE49-F238E27FC236}">
                      <a16:creationId xmlns:a16="http://schemas.microsoft.com/office/drawing/2014/main" id="{8963D7C6-F2C5-E849-BB93-9E88B87AA5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81" name="TextBox 80">
                  <a:extLst>
                    <a:ext uri="{FF2B5EF4-FFF2-40B4-BE49-F238E27FC236}">
                      <a16:creationId xmlns:a16="http://schemas.microsoft.com/office/drawing/2014/main" id="{85DB30AD-2EC9-DB48-BA60-31491FAC119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2" name="TextBox 81">
                  <a:extLst>
                    <a:ext uri="{FF2B5EF4-FFF2-40B4-BE49-F238E27FC236}">
                      <a16:creationId xmlns:a16="http://schemas.microsoft.com/office/drawing/2014/main" id="{17B40A71-5ED2-4847-B0DF-8C7122BB42A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3" name="TextBox 82">
                  <a:extLst>
                    <a:ext uri="{FF2B5EF4-FFF2-40B4-BE49-F238E27FC236}">
                      <a16:creationId xmlns:a16="http://schemas.microsoft.com/office/drawing/2014/main" id="{224A2BA9-4F1F-074F-AEA1-D6E43A8250E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62" name="Group 61">
                <a:extLst>
                  <a:ext uri="{FF2B5EF4-FFF2-40B4-BE49-F238E27FC236}">
                    <a16:creationId xmlns:a16="http://schemas.microsoft.com/office/drawing/2014/main" id="{0F4A1271-3D8B-3C49-A3EA-8521CBDB4AF1}"/>
                  </a:ext>
                </a:extLst>
              </p:cNvPr>
              <p:cNvGrpSpPr/>
              <p:nvPr userDrawn="1"/>
            </p:nvGrpSpPr>
            <p:grpSpPr>
              <a:xfrm>
                <a:off x="9286315" y="3431192"/>
                <a:ext cx="2735151" cy="1280928"/>
                <a:chOff x="9286315" y="6976989"/>
                <a:chExt cx="2735151" cy="1280928"/>
              </a:xfrm>
            </p:grpSpPr>
            <p:sp>
              <p:nvSpPr>
                <p:cNvPr id="71" name="Rectangle 70">
                  <a:extLst>
                    <a:ext uri="{FF2B5EF4-FFF2-40B4-BE49-F238E27FC236}">
                      <a16:creationId xmlns:a16="http://schemas.microsoft.com/office/drawing/2014/main" id="{C6145E2A-AB77-D243-85C2-139861D4876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2" name="TextBox 71">
                  <a:extLst>
                    <a:ext uri="{FF2B5EF4-FFF2-40B4-BE49-F238E27FC236}">
                      <a16:creationId xmlns:a16="http://schemas.microsoft.com/office/drawing/2014/main" id="{FC6A7522-6011-3549-8AE8-F95DA5F999B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3" name="Graphic 72">
                  <a:extLst>
                    <a:ext uri="{FF2B5EF4-FFF2-40B4-BE49-F238E27FC236}">
                      <a16:creationId xmlns:a16="http://schemas.microsoft.com/office/drawing/2014/main" id="{0766D4F4-795E-5245-BF49-8D06B73BD8E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74" name="TextBox 73">
                  <a:extLst>
                    <a:ext uri="{FF2B5EF4-FFF2-40B4-BE49-F238E27FC236}">
                      <a16:creationId xmlns:a16="http://schemas.microsoft.com/office/drawing/2014/main" id="{4BA13E32-1D69-6744-97E0-5693B3DE481A}"/>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75" name="Picture 74">
                  <a:extLst>
                    <a:ext uri="{FF2B5EF4-FFF2-40B4-BE49-F238E27FC236}">
                      <a16:creationId xmlns:a16="http://schemas.microsoft.com/office/drawing/2014/main" id="{62C33A3E-B57A-5249-A736-062C612AFDE5}"/>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3" name="Group 62">
                <a:extLst>
                  <a:ext uri="{FF2B5EF4-FFF2-40B4-BE49-F238E27FC236}">
                    <a16:creationId xmlns:a16="http://schemas.microsoft.com/office/drawing/2014/main" id="{46CE5CB7-4357-AA46-858D-4971B106CB68}"/>
                  </a:ext>
                </a:extLst>
              </p:cNvPr>
              <p:cNvGrpSpPr/>
              <p:nvPr userDrawn="1"/>
            </p:nvGrpSpPr>
            <p:grpSpPr>
              <a:xfrm>
                <a:off x="9266651" y="510458"/>
                <a:ext cx="2617883" cy="651460"/>
                <a:chOff x="12352022" y="513115"/>
                <a:chExt cx="2617883" cy="651460"/>
              </a:xfrm>
            </p:grpSpPr>
            <p:sp>
              <p:nvSpPr>
                <p:cNvPr id="68" name="TextBox 67">
                  <a:extLst>
                    <a:ext uri="{FF2B5EF4-FFF2-40B4-BE49-F238E27FC236}">
                      <a16:creationId xmlns:a16="http://schemas.microsoft.com/office/drawing/2014/main" id="{42CF36A7-43B8-6C4C-86FD-1CD17D70873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9" name="TextBox 68">
                  <a:extLst>
                    <a:ext uri="{FF2B5EF4-FFF2-40B4-BE49-F238E27FC236}">
                      <a16:creationId xmlns:a16="http://schemas.microsoft.com/office/drawing/2014/main" id="{1A6C5B3E-7B6D-A148-861C-6ACAA92D6CA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70" name="TextBox 69">
                  <a:extLst>
                    <a:ext uri="{FF2B5EF4-FFF2-40B4-BE49-F238E27FC236}">
                      <a16:creationId xmlns:a16="http://schemas.microsoft.com/office/drawing/2014/main" id="{35B6B6EB-9B89-1347-8F1C-C198506B65AC}"/>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64" name="TextBox 63">
                <a:extLst>
                  <a:ext uri="{FF2B5EF4-FFF2-40B4-BE49-F238E27FC236}">
                    <a16:creationId xmlns:a16="http://schemas.microsoft.com/office/drawing/2014/main" id="{86D606E1-D70D-CF4E-8378-6DE1F7A17FDF}"/>
                  </a:ext>
                </a:extLst>
              </p:cNvPr>
              <p:cNvSpPr txBox="1"/>
              <p:nvPr userDrawn="1"/>
            </p:nvSpPr>
            <p:spPr>
              <a:xfrm>
                <a:off x="9419085" y="152957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65" name="TextBox 64">
                <a:extLst>
                  <a:ext uri="{FF2B5EF4-FFF2-40B4-BE49-F238E27FC236}">
                    <a16:creationId xmlns:a16="http://schemas.microsoft.com/office/drawing/2014/main" id="{1AB01998-6407-F04E-89B6-207E3B4416D9}"/>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66" name="TextBox 65">
                <a:extLst>
                  <a:ext uri="{FF2B5EF4-FFF2-40B4-BE49-F238E27FC236}">
                    <a16:creationId xmlns:a16="http://schemas.microsoft.com/office/drawing/2014/main" id="{BF601082-8B9E-E948-93FC-DD6E8E5CABC4}"/>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67" name="TextBox 66">
                <a:extLst>
                  <a:ext uri="{FF2B5EF4-FFF2-40B4-BE49-F238E27FC236}">
                    <a16:creationId xmlns:a16="http://schemas.microsoft.com/office/drawing/2014/main" id="{713FBF07-5E2E-9142-A30C-27DB2C07E4EE}"/>
                  </a:ext>
                </a:extLst>
              </p:cNvPr>
              <p:cNvSpPr txBox="1"/>
              <p:nvPr userDrawn="1"/>
            </p:nvSpPr>
            <p:spPr>
              <a:xfrm>
                <a:off x="9419085" y="3095480"/>
                <a:ext cx="2374733"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500" name="Caption">
            <a:extLst>
              <a:ext uri="{FF2B5EF4-FFF2-40B4-BE49-F238E27FC236}">
                <a16:creationId xmlns:a16="http://schemas.microsoft.com/office/drawing/2014/main" id="{FBAAECF8-548A-DF48-864C-7FFAC7CE7E0F}"/>
              </a:ext>
            </a:extLst>
          </p:cNvPr>
          <p:cNvSpPr>
            <a:spLocks noGrp="1"/>
          </p:cNvSpPr>
          <p:nvPr>
            <p:ph type="body" sz="quarter" idx="500" hasCustomPrompt="1"/>
          </p:nvPr>
        </p:nvSpPr>
        <p:spPr>
          <a:xfrm>
            <a:off x="7947046" y="6200776"/>
            <a:ext cx="3657167"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2" name="Date Placeholder 1">
            <a:extLst>
              <a:ext uri="{FF2B5EF4-FFF2-40B4-BE49-F238E27FC236}">
                <a16:creationId xmlns:a16="http://schemas.microsoft.com/office/drawing/2014/main" id="{DCE27FEE-18EA-A346-B26F-D333D09B927F}"/>
              </a:ext>
            </a:extLst>
          </p:cNvPr>
          <p:cNvSpPr>
            <a:spLocks noGrp="1"/>
          </p:cNvSpPr>
          <p:nvPr>
            <p:ph type="dt" sz="half" idx="15"/>
          </p:nvPr>
        </p:nvSpPr>
        <p:spPr/>
        <p:txBody>
          <a:bodyPr/>
          <a:lstStyle/>
          <a:p>
            <a:endParaRPr lang="en-US" dirty="0"/>
          </a:p>
        </p:txBody>
      </p:sp>
      <p:sp>
        <p:nvSpPr>
          <p:cNvPr id="3" name="Footer Placeholder 2">
            <a:extLst>
              <a:ext uri="{FF2B5EF4-FFF2-40B4-BE49-F238E27FC236}">
                <a16:creationId xmlns:a16="http://schemas.microsoft.com/office/drawing/2014/main" id="{9A4E954B-AA54-CB4A-BB91-65FA99432494}"/>
              </a:ext>
            </a:extLst>
          </p:cNvPr>
          <p:cNvSpPr>
            <a:spLocks noGrp="1"/>
          </p:cNvSpPr>
          <p:nvPr>
            <p:ph type="ftr" sz="quarter" idx="16"/>
          </p:nvPr>
        </p:nvSpPr>
        <p:spPr/>
        <p:txBody>
          <a:bodyPr/>
          <a:lstStyle/>
          <a:p>
            <a:endParaRPr lang="en-US" dirty="0"/>
          </a:p>
        </p:txBody>
      </p:sp>
      <p:sp>
        <p:nvSpPr>
          <p:cNvPr id="4" name="Slide Number Placeholder 3">
            <a:extLst>
              <a:ext uri="{FF2B5EF4-FFF2-40B4-BE49-F238E27FC236}">
                <a16:creationId xmlns:a16="http://schemas.microsoft.com/office/drawing/2014/main" id="{3BBB10A8-70DC-DE4D-92FA-36863B35ABB9}"/>
              </a:ext>
            </a:extLst>
          </p:cNvPr>
          <p:cNvSpPr>
            <a:spLocks noGrp="1"/>
          </p:cNvSpPr>
          <p:nvPr>
            <p:ph type="sldNum" sz="quarter" idx="17"/>
          </p:nvPr>
        </p:nvSpPr>
        <p:spPr>
          <a:noFill/>
        </p:spPr>
        <p:txBody>
          <a:bodyPr/>
          <a:lstStyle>
            <a:lvl1pPr>
              <a:defRPr>
                <a:solidFill>
                  <a:schemeClr val="bg1"/>
                </a:solidFill>
              </a:defRPr>
            </a:lvl1pPr>
          </a:lstStyle>
          <a:p>
            <a:pPr marL="12700"/>
            <a:fld id="{078C017C-E1B9-8443-B047-B08AAA027B45}" type="slidenum">
              <a:rPr lang="en-US" smtClean="0"/>
              <a:pPr marL="12700"/>
              <a:t>‹#›</a:t>
            </a:fld>
            <a:endParaRPr lang="en-US" dirty="0"/>
          </a:p>
        </p:txBody>
      </p:sp>
      <p:grpSp>
        <p:nvGrpSpPr>
          <p:cNvPr id="47" name="Group 46">
            <a:extLst>
              <a:ext uri="{FF2B5EF4-FFF2-40B4-BE49-F238E27FC236}">
                <a16:creationId xmlns:a16="http://schemas.microsoft.com/office/drawing/2014/main" id="{9F6510D4-5C14-4C49-9E12-FE70AD2BF8B5}"/>
              </a:ext>
            </a:extLst>
          </p:cNvPr>
          <p:cNvGrpSpPr/>
          <p:nvPr userDrawn="1"/>
        </p:nvGrpSpPr>
        <p:grpSpPr>
          <a:xfrm>
            <a:off x="574987" y="-246933"/>
            <a:ext cx="11040535" cy="7347304"/>
            <a:chOff x="431240" y="-246933"/>
            <a:chExt cx="8280401" cy="7347304"/>
          </a:xfrm>
        </p:grpSpPr>
        <p:grpSp>
          <p:nvGrpSpPr>
            <p:cNvPr id="48" name="Group 47">
              <a:extLst>
                <a:ext uri="{FF2B5EF4-FFF2-40B4-BE49-F238E27FC236}">
                  <a16:creationId xmlns:a16="http://schemas.microsoft.com/office/drawing/2014/main" id="{7065C18E-D64F-7245-813C-B6B447EDB421}"/>
                </a:ext>
              </a:extLst>
            </p:cNvPr>
            <p:cNvGrpSpPr/>
            <p:nvPr userDrawn="1"/>
          </p:nvGrpSpPr>
          <p:grpSpPr>
            <a:xfrm>
              <a:off x="431242" y="6864579"/>
              <a:ext cx="8280398" cy="235792"/>
              <a:chOff x="431801" y="-235792"/>
              <a:chExt cx="4400550" cy="235792"/>
            </a:xfrm>
          </p:grpSpPr>
          <p:cxnSp>
            <p:nvCxnSpPr>
              <p:cNvPr id="87" name="Straight Connector 86">
                <a:extLst>
                  <a:ext uri="{FF2B5EF4-FFF2-40B4-BE49-F238E27FC236}">
                    <a16:creationId xmlns:a16="http://schemas.microsoft.com/office/drawing/2014/main" id="{0395E244-87CF-F140-BD60-3FFD9A25D3E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B59353F5-2397-5A4B-9D6C-2A5B3826216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6A29AC13-8431-6247-9605-4DE6AC19757E}"/>
                </a:ext>
              </a:extLst>
            </p:cNvPr>
            <p:cNvGrpSpPr/>
            <p:nvPr userDrawn="1"/>
          </p:nvGrpSpPr>
          <p:grpSpPr>
            <a:xfrm>
              <a:off x="431240" y="-246933"/>
              <a:ext cx="8280401" cy="235792"/>
              <a:chOff x="431800" y="-240735"/>
              <a:chExt cx="8280401" cy="235792"/>
            </a:xfrm>
          </p:grpSpPr>
          <p:grpSp>
            <p:nvGrpSpPr>
              <p:cNvPr id="50" name="Group 49">
                <a:extLst>
                  <a:ext uri="{FF2B5EF4-FFF2-40B4-BE49-F238E27FC236}">
                    <a16:creationId xmlns:a16="http://schemas.microsoft.com/office/drawing/2014/main" id="{91174909-64CA-EF47-A0A7-204423290ECC}"/>
                  </a:ext>
                </a:extLst>
              </p:cNvPr>
              <p:cNvGrpSpPr/>
              <p:nvPr userDrawn="1"/>
            </p:nvGrpSpPr>
            <p:grpSpPr>
              <a:xfrm>
                <a:off x="431800" y="-240735"/>
                <a:ext cx="8280400" cy="235792"/>
                <a:chOff x="431800" y="-235792"/>
                <a:chExt cx="4400551" cy="235792"/>
              </a:xfrm>
            </p:grpSpPr>
            <p:cxnSp>
              <p:nvCxnSpPr>
                <p:cNvPr id="54" name="Straight Connector 53">
                  <a:extLst>
                    <a:ext uri="{FF2B5EF4-FFF2-40B4-BE49-F238E27FC236}">
                      <a16:creationId xmlns:a16="http://schemas.microsoft.com/office/drawing/2014/main" id="{34D91FED-26CC-F144-8BF9-DB64124B41B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97B6B19F-FF08-ED4B-9CCD-CAFF7BF049B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1D02FAC6-DC5B-A746-8EF4-D6DB84FFA3D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51" name="TextBox 50">
                <a:extLst>
                  <a:ext uri="{FF2B5EF4-FFF2-40B4-BE49-F238E27FC236}">
                    <a16:creationId xmlns:a16="http://schemas.microsoft.com/office/drawing/2014/main" id="{20F36343-BBC2-4349-A0F2-4B2E7BBD79F8}"/>
                  </a:ext>
                </a:extLst>
              </p:cNvPr>
              <p:cNvSpPr txBox="1"/>
              <p:nvPr userDrawn="1"/>
            </p:nvSpPr>
            <p:spPr>
              <a:xfrm>
                <a:off x="3914336" y="-176700"/>
                <a:ext cx="1315339"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52" name="Straight Arrow Connector 51">
                <a:extLst>
                  <a:ext uri="{FF2B5EF4-FFF2-40B4-BE49-F238E27FC236}">
                    <a16:creationId xmlns:a16="http://schemas.microsoft.com/office/drawing/2014/main" id="{BCE10A83-4DF9-CA4C-8F3D-16220DA1460D}"/>
                  </a:ext>
                </a:extLst>
              </p:cNvPr>
              <p:cNvCxnSpPr>
                <a:cxnSpLocks/>
                <a:stCxn id="51" idx="1"/>
                <a:endCxn id="86" idx="2"/>
              </p:cNvCxnSpPr>
              <p:nvPr userDrawn="1"/>
            </p:nvCxnSpPr>
            <p:spPr>
              <a:xfrm flipH="1">
                <a:off x="431801" y="-122839"/>
                <a:ext cx="3482535"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0A539B45-3509-C647-A3C5-4AB4B3F91D32}"/>
                  </a:ext>
                </a:extLst>
              </p:cNvPr>
              <p:cNvCxnSpPr>
                <a:cxnSpLocks/>
                <a:stCxn id="51" idx="3"/>
                <a:endCxn id="86" idx="0"/>
              </p:cNvCxnSpPr>
              <p:nvPr userDrawn="1"/>
            </p:nvCxnSpPr>
            <p:spPr>
              <a:xfrm flipV="1">
                <a:off x="5229674" y="-122840"/>
                <a:ext cx="3482527"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12155475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00" name="First Content Placeholder">
            <a:extLst>
              <a:ext uri="{FF2B5EF4-FFF2-40B4-BE49-F238E27FC236}">
                <a16:creationId xmlns:a16="http://schemas.microsoft.com/office/drawing/2014/main" id="{D7070C02-8D3D-AA4B-B6D3-432E3D380E3C}"/>
              </a:ext>
            </a:extLst>
          </p:cNvPr>
          <p:cNvSpPr>
            <a:spLocks noGrp="1"/>
          </p:cNvSpPr>
          <p:nvPr>
            <p:ph sz="quarter" idx="200" hasCustomPrompt="1"/>
          </p:nvPr>
        </p:nvSpPr>
        <p:spPr>
          <a:xfrm>
            <a:off x="575734" y="1233489"/>
            <a:ext cx="11040533" cy="4932362"/>
          </a:xfrm>
        </p:spPr>
        <p:txBody>
          <a:bodyPr/>
          <a:lstStyle>
            <a:lvl1pPr>
              <a:defRPr lang="en-US"/>
            </a:lvl1pPr>
            <a:lvl2pPr>
              <a:defRPr lang="en-US"/>
            </a:lvl2pPr>
            <a:lvl3pPr>
              <a:defRPr lang="en-US"/>
            </a:lvl3pPr>
            <a:lvl4pPr>
              <a:defRPr lang="en-US"/>
            </a:lvl4pPr>
            <a:lvl5pPr>
              <a:defRPr lang="en-US" dirty="0"/>
            </a:lvl5pPr>
          </a:lstStyle>
          <a:p>
            <a:pPr lvl="0"/>
            <a:r>
              <a:rPr lang="en-US" dirty="0"/>
              <a:t>Click to add text, or use the icon to add a table</a:t>
            </a:r>
          </a:p>
          <a:p>
            <a:pPr lvl="1"/>
            <a:r>
              <a:rPr lang="en-US" dirty="0"/>
              <a:t>Body text (second level)</a:t>
            </a:r>
          </a:p>
          <a:p>
            <a:pPr lvl="2"/>
            <a:r>
              <a:rPr lang="en-US" dirty="0"/>
              <a:t>Square bullet (third level)</a:t>
            </a:r>
          </a:p>
          <a:p>
            <a:pPr lvl="3"/>
            <a:r>
              <a:rPr lang="en-US" dirty="0"/>
              <a:t>Dashed bullet (fourth level)</a:t>
            </a:r>
          </a:p>
          <a:p>
            <a:pPr lvl="4"/>
            <a:r>
              <a:rPr lang="en-US" dirty="0"/>
              <a:t>Dashed bullet (fifth level)</a:t>
            </a:r>
          </a:p>
        </p:txBody>
      </p:sp>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000" name="Footnotes Placeholder">
            <a:extLst>
              <a:ext uri="{FF2B5EF4-FFF2-40B4-BE49-F238E27FC236}">
                <a16:creationId xmlns:a16="http://schemas.microsoft.com/office/drawing/2014/main" id="{73A7EDA7-F3CC-FE4B-8FF2-546BF052CA2D}"/>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32" name="Date Placeholder 31">
            <a:extLst>
              <a:ext uri="{FF2B5EF4-FFF2-40B4-BE49-F238E27FC236}">
                <a16:creationId xmlns:a16="http://schemas.microsoft.com/office/drawing/2014/main" id="{063A222F-451A-4B49-AAE6-41BBAA48AC75}"/>
              </a:ext>
            </a:extLst>
          </p:cNvPr>
          <p:cNvSpPr>
            <a:spLocks noGrp="1"/>
          </p:cNvSpPr>
          <p:nvPr userDrawn="1">
            <p:ph type="dt" sz="half" idx="105"/>
          </p:nvPr>
        </p:nvSpPr>
        <p:spPr/>
        <p:txBody>
          <a:bodyPr/>
          <a:lstStyle/>
          <a:p>
            <a:endParaRPr lang="en-US" dirty="0"/>
          </a:p>
        </p:txBody>
      </p:sp>
      <p:sp>
        <p:nvSpPr>
          <p:cNvPr id="33" name="Footer Placeholder 32">
            <a:extLst>
              <a:ext uri="{FF2B5EF4-FFF2-40B4-BE49-F238E27FC236}">
                <a16:creationId xmlns:a16="http://schemas.microsoft.com/office/drawing/2014/main" id="{7182972C-B32C-5242-9660-1F857E08362B}"/>
              </a:ext>
            </a:extLst>
          </p:cNvPr>
          <p:cNvSpPr>
            <a:spLocks noGrp="1"/>
          </p:cNvSpPr>
          <p:nvPr userDrawn="1">
            <p:ph type="ftr" sz="quarter" idx="106"/>
          </p:nvPr>
        </p:nvSpPr>
        <p:spPr/>
        <p:txBody>
          <a:bodyPr/>
          <a:lstStyle/>
          <a:p>
            <a:endParaRPr lang="en-US" dirty="0"/>
          </a:p>
        </p:txBody>
      </p:sp>
      <p:sp>
        <p:nvSpPr>
          <p:cNvPr id="39" name="Slide Number Placeholder 38">
            <a:extLst>
              <a:ext uri="{FF2B5EF4-FFF2-40B4-BE49-F238E27FC236}">
                <a16:creationId xmlns:a16="http://schemas.microsoft.com/office/drawing/2014/main" id="{702F905D-B5C6-604B-A8D6-931CBE08DB32}"/>
              </a:ext>
            </a:extLst>
          </p:cNvPr>
          <p:cNvSpPr>
            <a:spLocks noGrp="1"/>
          </p:cNvSpPr>
          <p:nvPr userDrawn="1">
            <p:ph type="sldNum" sz="quarter" idx="107"/>
          </p:nvPr>
        </p:nvSpPr>
        <p:spPr/>
        <p:txBody>
          <a:bodyPr/>
          <a:lstStyle/>
          <a:p>
            <a:pPr marL="12700"/>
            <a:fld id="{078C017C-E1B9-8443-B047-B08AAA027B45}" type="slidenum">
              <a:rPr lang="en-US" smtClean="0"/>
              <a:pPr marL="12700"/>
              <a:t>‹#›</a:t>
            </a:fld>
            <a:endParaRPr lang="en-US" dirty="0"/>
          </a:p>
        </p:txBody>
      </p:sp>
      <p:grpSp>
        <p:nvGrpSpPr>
          <p:cNvPr id="6" name="Group 5">
            <a:extLst>
              <a:ext uri="{FF2B5EF4-FFF2-40B4-BE49-F238E27FC236}">
                <a16:creationId xmlns:a16="http://schemas.microsoft.com/office/drawing/2014/main" id="{7377C8CE-D482-6D47-A000-443568B2C375}"/>
              </a:ext>
            </a:extLst>
          </p:cNvPr>
          <p:cNvGrpSpPr/>
          <p:nvPr userDrawn="1"/>
        </p:nvGrpSpPr>
        <p:grpSpPr>
          <a:xfrm>
            <a:off x="12532243" y="1"/>
            <a:ext cx="3965960" cy="6857995"/>
            <a:chOff x="9399182" y="0"/>
            <a:chExt cx="2974470" cy="6857995"/>
          </a:xfrm>
        </p:grpSpPr>
        <p:sp>
          <p:nvSpPr>
            <p:cNvPr id="11" name="Rectangle 10">
              <a:extLst>
                <a:ext uri="{FF2B5EF4-FFF2-40B4-BE49-F238E27FC236}">
                  <a16:creationId xmlns:a16="http://schemas.microsoft.com/office/drawing/2014/main" id="{B624552C-B575-AE4E-B90E-80386DFFD747}"/>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70" name="Picture 69">
              <a:extLst>
                <a:ext uri="{FF2B5EF4-FFF2-40B4-BE49-F238E27FC236}">
                  <a16:creationId xmlns:a16="http://schemas.microsoft.com/office/drawing/2014/main" id="{72577E3C-2575-9A49-8EA5-9CA05A2E3D32}"/>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12" name="Group 11">
              <a:extLst>
                <a:ext uri="{FF2B5EF4-FFF2-40B4-BE49-F238E27FC236}">
                  <a16:creationId xmlns:a16="http://schemas.microsoft.com/office/drawing/2014/main" id="{4E2D26DA-696F-D345-B831-DB4BCF3B6E31}"/>
                </a:ext>
              </a:extLst>
            </p:cNvPr>
            <p:cNvGrpSpPr/>
            <p:nvPr userDrawn="1"/>
          </p:nvGrpSpPr>
          <p:grpSpPr>
            <a:xfrm>
              <a:off x="9541497" y="162442"/>
              <a:ext cx="2819400" cy="814510"/>
              <a:chOff x="-3644733" y="165205"/>
              <a:chExt cx="2819400" cy="814510"/>
            </a:xfrm>
          </p:grpSpPr>
          <p:sp>
            <p:nvSpPr>
              <p:cNvPr id="18" name="Rectangle 17">
                <a:extLst>
                  <a:ext uri="{FF2B5EF4-FFF2-40B4-BE49-F238E27FC236}">
                    <a16:creationId xmlns:a16="http://schemas.microsoft.com/office/drawing/2014/main" id="{5C3AAD8B-698C-7A43-ABDF-294888239CF2}"/>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9" name="TextBox 18">
                <a:extLst>
                  <a:ext uri="{FF2B5EF4-FFF2-40B4-BE49-F238E27FC236}">
                    <a16:creationId xmlns:a16="http://schemas.microsoft.com/office/drawing/2014/main" id="{2D824FCF-53BC-444C-88D6-38033E97AEDF}"/>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20" name="Picture 19">
                <a:extLst>
                  <a:ext uri="{FF2B5EF4-FFF2-40B4-BE49-F238E27FC236}">
                    <a16:creationId xmlns:a16="http://schemas.microsoft.com/office/drawing/2014/main" id="{B83CA71E-B1B7-6946-92A5-BFD00A4291E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15" name="Group 14">
              <a:extLst>
                <a:ext uri="{FF2B5EF4-FFF2-40B4-BE49-F238E27FC236}">
                  <a16:creationId xmlns:a16="http://schemas.microsoft.com/office/drawing/2014/main" id="{BDFE6C8C-E609-C848-9C4A-7DCBDF10FCCB}"/>
                </a:ext>
              </a:extLst>
            </p:cNvPr>
            <p:cNvGrpSpPr/>
            <p:nvPr userDrawn="1"/>
          </p:nvGrpSpPr>
          <p:grpSpPr>
            <a:xfrm>
              <a:off x="9558507" y="1119891"/>
              <a:ext cx="2639328" cy="202617"/>
              <a:chOff x="9303325" y="149270"/>
              <a:chExt cx="2639328" cy="202617"/>
            </a:xfrm>
          </p:grpSpPr>
          <p:sp>
            <p:nvSpPr>
              <p:cNvPr id="16" name="TextBox 15">
                <a:extLst>
                  <a:ext uri="{FF2B5EF4-FFF2-40B4-BE49-F238E27FC236}">
                    <a16:creationId xmlns:a16="http://schemas.microsoft.com/office/drawing/2014/main" id="{5459E50A-7290-8345-AB63-DF07B151FCBA}"/>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17" name="Straight Connector 16">
                <a:extLst>
                  <a:ext uri="{FF2B5EF4-FFF2-40B4-BE49-F238E27FC236}">
                    <a16:creationId xmlns:a16="http://schemas.microsoft.com/office/drawing/2014/main" id="{877E185E-D403-494F-AEBA-AEAB2A57C114}"/>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2707A63D-0ED3-2649-8C74-DDC556FCF5A9}"/>
                </a:ext>
              </a:extLst>
            </p:cNvPr>
            <p:cNvGrpSpPr/>
            <p:nvPr userDrawn="1"/>
          </p:nvGrpSpPr>
          <p:grpSpPr>
            <a:xfrm>
              <a:off x="9554253" y="3678850"/>
              <a:ext cx="2735151" cy="2655095"/>
              <a:chOff x="9541497" y="2555080"/>
              <a:chExt cx="2735151" cy="2655095"/>
            </a:xfrm>
          </p:grpSpPr>
          <p:grpSp>
            <p:nvGrpSpPr>
              <p:cNvPr id="21" name="Group 20">
                <a:extLst>
                  <a:ext uri="{FF2B5EF4-FFF2-40B4-BE49-F238E27FC236}">
                    <a16:creationId xmlns:a16="http://schemas.microsoft.com/office/drawing/2014/main" id="{97646D57-86DD-CC45-AF75-033441DEAEBB}"/>
                  </a:ext>
                </a:extLst>
              </p:cNvPr>
              <p:cNvGrpSpPr/>
              <p:nvPr userDrawn="1"/>
            </p:nvGrpSpPr>
            <p:grpSpPr>
              <a:xfrm>
                <a:off x="9541497" y="2555080"/>
                <a:ext cx="2735151" cy="2655095"/>
                <a:chOff x="9296567" y="4910411"/>
                <a:chExt cx="2735151" cy="2655095"/>
              </a:xfrm>
            </p:grpSpPr>
            <p:sp>
              <p:nvSpPr>
                <p:cNvPr id="22" name="Rectangle 21">
                  <a:extLst>
                    <a:ext uri="{FF2B5EF4-FFF2-40B4-BE49-F238E27FC236}">
                      <a16:creationId xmlns:a16="http://schemas.microsoft.com/office/drawing/2014/main" id="{88B63AE3-654D-E346-84F1-DE1585D68864}"/>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3" name="TextBox 22">
                  <a:extLst>
                    <a:ext uri="{FF2B5EF4-FFF2-40B4-BE49-F238E27FC236}">
                      <a16:creationId xmlns:a16="http://schemas.microsoft.com/office/drawing/2014/main" id="{73FF8F45-C686-3D4E-9541-1D8727406BA0}"/>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24" name="Graphic 23">
                  <a:extLst>
                    <a:ext uri="{FF2B5EF4-FFF2-40B4-BE49-F238E27FC236}">
                      <a16:creationId xmlns:a16="http://schemas.microsoft.com/office/drawing/2014/main" id="{CB005880-BCA3-A74D-BFE6-ECE18F5208A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25" name="TextBox 24">
                  <a:extLst>
                    <a:ext uri="{FF2B5EF4-FFF2-40B4-BE49-F238E27FC236}">
                      <a16:creationId xmlns:a16="http://schemas.microsoft.com/office/drawing/2014/main" id="{6D7CFF09-C588-D946-9376-69CEAE13234B}"/>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dirty="0"/>
                    <a:t>This template automatically adds paragraph spacing between first-level text paragraphs. When pasting in content, remember to delete any extra blank lines from your text.</a:t>
                  </a:r>
                </a:p>
              </p:txBody>
            </p:sp>
          </p:grpSp>
          <p:grpSp>
            <p:nvGrpSpPr>
              <p:cNvPr id="49" name="Group 48">
                <a:extLst>
                  <a:ext uri="{FF2B5EF4-FFF2-40B4-BE49-F238E27FC236}">
                    <a16:creationId xmlns:a16="http://schemas.microsoft.com/office/drawing/2014/main" id="{942737E0-D794-DF4D-B7C0-6CAEC1A43DF9}"/>
                  </a:ext>
                </a:extLst>
              </p:cNvPr>
              <p:cNvGrpSpPr/>
              <p:nvPr userDrawn="1"/>
            </p:nvGrpSpPr>
            <p:grpSpPr>
              <a:xfrm>
                <a:off x="9832250" y="3569700"/>
                <a:ext cx="2074000" cy="1627918"/>
                <a:chOff x="9832250" y="3617325"/>
                <a:chExt cx="2074000" cy="1627918"/>
              </a:xfrm>
            </p:grpSpPr>
            <p:pic>
              <p:nvPicPr>
                <p:cNvPr id="42" name="Picture 41">
                  <a:extLst>
                    <a:ext uri="{FF2B5EF4-FFF2-40B4-BE49-F238E27FC236}">
                      <a16:creationId xmlns:a16="http://schemas.microsoft.com/office/drawing/2014/main" id="{06E7651E-8190-B943-9721-400134189D67}"/>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44" name="Straight Connector 43">
                  <a:extLst>
                    <a:ext uri="{FF2B5EF4-FFF2-40B4-BE49-F238E27FC236}">
                      <a16:creationId xmlns:a16="http://schemas.microsoft.com/office/drawing/2014/main" id="{6A6779F1-2A60-A14F-9868-14C42F8A7876}"/>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4D2FEFE-94D7-2F4D-B902-718C10873F5D}"/>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BFD489AF-FA3E-5644-86FC-3A5B05E7B94F}"/>
                    </a:ext>
                  </a:extLst>
                </p:cNvPr>
                <p:cNvSpPr txBox="1"/>
                <p:nvPr userDrawn="1"/>
              </p:nvSpPr>
              <p:spPr>
                <a:xfrm>
                  <a:off x="9832250" y="3828243"/>
                  <a:ext cx="257282"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48" name="TextBox 47">
                  <a:extLst>
                    <a:ext uri="{FF2B5EF4-FFF2-40B4-BE49-F238E27FC236}">
                      <a16:creationId xmlns:a16="http://schemas.microsoft.com/office/drawing/2014/main" id="{B0708852-B6D4-5043-86A8-0181B47AF502}"/>
                    </a:ext>
                  </a:extLst>
                </p:cNvPr>
                <p:cNvSpPr txBox="1"/>
                <p:nvPr userDrawn="1"/>
              </p:nvSpPr>
              <p:spPr>
                <a:xfrm>
                  <a:off x="9832250" y="4721742"/>
                  <a:ext cx="257282"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5" name="Group 4">
              <a:extLst>
                <a:ext uri="{FF2B5EF4-FFF2-40B4-BE49-F238E27FC236}">
                  <a16:creationId xmlns:a16="http://schemas.microsoft.com/office/drawing/2014/main" id="{D90F7566-5DFC-224D-B550-F17C772A4956}"/>
                </a:ext>
              </a:extLst>
            </p:cNvPr>
            <p:cNvGrpSpPr/>
            <p:nvPr userDrawn="1"/>
          </p:nvGrpSpPr>
          <p:grpSpPr>
            <a:xfrm>
              <a:off x="9558506" y="2409506"/>
              <a:ext cx="2639327" cy="684608"/>
              <a:chOff x="9558506" y="2476806"/>
              <a:chExt cx="2639327" cy="684608"/>
            </a:xfrm>
          </p:grpSpPr>
          <p:pic>
            <p:nvPicPr>
              <p:cNvPr id="3" name="Picture 2">
                <a:extLst>
                  <a:ext uri="{FF2B5EF4-FFF2-40B4-BE49-F238E27FC236}">
                    <a16:creationId xmlns:a16="http://schemas.microsoft.com/office/drawing/2014/main" id="{740B4C7C-60B8-0147-B275-9FA9F934BCF0}"/>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4" name="Rectangle 3">
                <a:extLst>
                  <a:ext uri="{FF2B5EF4-FFF2-40B4-BE49-F238E27FC236}">
                    <a16:creationId xmlns:a16="http://schemas.microsoft.com/office/drawing/2014/main" id="{F0185F31-1C0F-C84F-82F7-CDE92D5E8462}"/>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1" name="TextBox 50">
                <a:extLst>
                  <a:ext uri="{FF2B5EF4-FFF2-40B4-BE49-F238E27FC236}">
                    <a16:creationId xmlns:a16="http://schemas.microsoft.com/office/drawing/2014/main" id="{AD7D6324-A232-CF4B-A35D-7883E63DC01B}"/>
                  </a:ext>
                </a:extLst>
              </p:cNvPr>
              <p:cNvSpPr txBox="1"/>
              <p:nvPr userDrawn="1"/>
            </p:nvSpPr>
            <p:spPr>
              <a:xfrm>
                <a:off x="9635558" y="2549805"/>
                <a:ext cx="676269" cy="430887"/>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2" name="Group 1">
              <a:extLst>
                <a:ext uri="{FF2B5EF4-FFF2-40B4-BE49-F238E27FC236}">
                  <a16:creationId xmlns:a16="http://schemas.microsoft.com/office/drawing/2014/main" id="{0DACB142-1234-41D1-A255-A168CB3FBFEC}"/>
                </a:ext>
              </a:extLst>
            </p:cNvPr>
            <p:cNvGrpSpPr/>
            <p:nvPr userDrawn="1"/>
          </p:nvGrpSpPr>
          <p:grpSpPr>
            <a:xfrm>
              <a:off x="9554253" y="2414886"/>
              <a:ext cx="2819399" cy="1181890"/>
              <a:chOff x="9541498" y="3352649"/>
              <a:chExt cx="2819399" cy="1181890"/>
            </a:xfrm>
          </p:grpSpPr>
          <p:grpSp>
            <p:nvGrpSpPr>
              <p:cNvPr id="34" name="Group 33">
                <a:extLst>
                  <a:ext uri="{FF2B5EF4-FFF2-40B4-BE49-F238E27FC236}">
                    <a16:creationId xmlns:a16="http://schemas.microsoft.com/office/drawing/2014/main" id="{68589F60-2D66-4B46-AE58-9B3DF45E0D04}"/>
                  </a:ext>
                </a:extLst>
              </p:cNvPr>
              <p:cNvGrpSpPr/>
              <p:nvPr userDrawn="1"/>
            </p:nvGrpSpPr>
            <p:grpSpPr>
              <a:xfrm>
                <a:off x="9541498" y="3352649"/>
                <a:ext cx="2735150" cy="1181890"/>
                <a:chOff x="9541498" y="3751132"/>
                <a:chExt cx="2735150" cy="1181890"/>
              </a:xfrm>
            </p:grpSpPr>
            <p:grpSp>
              <p:nvGrpSpPr>
                <p:cNvPr id="35" name="Group 34">
                  <a:extLst>
                    <a:ext uri="{FF2B5EF4-FFF2-40B4-BE49-F238E27FC236}">
                      <a16:creationId xmlns:a16="http://schemas.microsoft.com/office/drawing/2014/main" id="{2FD0186C-A219-4155-8D46-C05A3751B2ED}"/>
                    </a:ext>
                  </a:extLst>
                </p:cNvPr>
                <p:cNvGrpSpPr/>
                <p:nvPr userDrawn="1"/>
              </p:nvGrpSpPr>
              <p:grpSpPr>
                <a:xfrm>
                  <a:off x="9541498" y="3751132"/>
                  <a:ext cx="2735150" cy="1181890"/>
                  <a:chOff x="9296568" y="4910411"/>
                  <a:chExt cx="2735150" cy="1181890"/>
                </a:xfrm>
              </p:grpSpPr>
              <p:sp>
                <p:nvSpPr>
                  <p:cNvPr id="37" name="Rectangle 36">
                    <a:extLst>
                      <a:ext uri="{FF2B5EF4-FFF2-40B4-BE49-F238E27FC236}">
                        <a16:creationId xmlns:a16="http://schemas.microsoft.com/office/drawing/2014/main" id="{5F54F593-ABB9-4B7D-9C12-B4429591BE5A}"/>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8" name="TextBox 37">
                    <a:extLst>
                      <a:ext uri="{FF2B5EF4-FFF2-40B4-BE49-F238E27FC236}">
                        <a16:creationId xmlns:a16="http://schemas.microsoft.com/office/drawing/2014/main" id="{A62EE7AD-C4E7-4E65-AECC-33E75355E5A7}"/>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0" name="TextBox 39">
                    <a:extLst>
                      <a:ext uri="{FF2B5EF4-FFF2-40B4-BE49-F238E27FC236}">
                        <a16:creationId xmlns:a16="http://schemas.microsoft.com/office/drawing/2014/main" id="{93DB76AE-3F4F-4A19-B966-91F70FF0FAD9}"/>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36" name="Graphic 35">
                  <a:extLst>
                    <a:ext uri="{FF2B5EF4-FFF2-40B4-BE49-F238E27FC236}">
                      <a16:creationId xmlns:a16="http://schemas.microsoft.com/office/drawing/2014/main" id="{32568DFB-2F01-47B2-BE59-F2DE9D01499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1" name="Picture 40">
                <a:extLst>
                  <a:ext uri="{FF2B5EF4-FFF2-40B4-BE49-F238E27FC236}">
                    <a16:creationId xmlns:a16="http://schemas.microsoft.com/office/drawing/2014/main" id="{29414905-E52D-4947-8B5C-2CE4F2F3689A}"/>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99568707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wo Content (Half)">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575736" y="1233489"/>
            <a:ext cx="5344901" cy="4932362"/>
          </a:xfrm>
        </p:spPr>
        <p:txBody>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add text, or use the icon to add a table</a:t>
            </a:r>
          </a:p>
          <a:p>
            <a:pPr lvl="1"/>
            <a:r>
              <a:rPr lang="en-US" dirty="0"/>
              <a:t>Body text (second level)</a:t>
            </a:r>
          </a:p>
          <a:p>
            <a:pPr lvl="2"/>
            <a:r>
              <a:rPr lang="en-US" dirty="0"/>
              <a:t>Square bullet (third level)</a:t>
            </a:r>
          </a:p>
          <a:p>
            <a:pPr lvl="3"/>
            <a:r>
              <a:rPr lang="en-US" dirty="0"/>
              <a:t>Dashed bullet (fourth level)</a:t>
            </a:r>
          </a:p>
          <a:p>
            <a:pPr lvl="4"/>
            <a:r>
              <a:rPr lang="en-US" dirty="0"/>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6271363" y="1233489"/>
            <a:ext cx="5344901" cy="4932362"/>
          </a:xfrm>
        </p:spPr>
        <p:txBody>
          <a:bodyPr/>
          <a:lstStyle>
            <a:lvl1pPr>
              <a:defRPr lang="en-US"/>
            </a:lvl1pPr>
            <a:lvl2pPr>
              <a:defRPr lang="en-US"/>
            </a:lvl2pPr>
            <a:lvl3pPr>
              <a:defRPr lang="en-US"/>
            </a:lvl3pPr>
            <a:lvl4pPr>
              <a:defRPr lang="en-US"/>
            </a:lvl4pPr>
            <a:lvl5pPr>
              <a:defRPr lang="en-US" dirty="0"/>
            </a:lvl5pPr>
          </a:lstStyle>
          <a:p>
            <a:pPr lvl="0"/>
            <a:r>
              <a:rPr lang="en-US" dirty="0"/>
              <a:t>Click to add text, or use the icon to add a table</a:t>
            </a:r>
          </a:p>
          <a:p>
            <a:pPr lvl="1"/>
            <a:r>
              <a:rPr lang="en-US" dirty="0"/>
              <a:t>Body text (second level)</a:t>
            </a:r>
          </a:p>
          <a:p>
            <a:pPr lvl="2"/>
            <a:r>
              <a:rPr lang="en-US" dirty="0"/>
              <a:t>Square bullet (third level)</a:t>
            </a:r>
          </a:p>
          <a:p>
            <a:pPr lvl="3"/>
            <a:r>
              <a:rPr lang="en-US" dirty="0"/>
              <a:t>Dashed bullet (fourth level)</a:t>
            </a:r>
          </a:p>
          <a:p>
            <a:pPr lvl="4"/>
            <a:r>
              <a:rPr lang="en-US" dirty="0"/>
              <a:t>Dashed bullet (fifth level)</a:t>
            </a:r>
          </a:p>
        </p:txBody>
      </p:sp>
      <p:sp>
        <p:nvSpPr>
          <p:cNvPr id="1000" name="Footnotes Placeholder">
            <a:extLst>
              <a:ext uri="{FF2B5EF4-FFF2-40B4-BE49-F238E27FC236}">
                <a16:creationId xmlns:a16="http://schemas.microsoft.com/office/drawing/2014/main" id="{7E28BACC-E012-5845-9150-E5A3C25B9534}"/>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5" name="Date Placeholder 4">
            <a:extLst>
              <a:ext uri="{FF2B5EF4-FFF2-40B4-BE49-F238E27FC236}">
                <a16:creationId xmlns:a16="http://schemas.microsoft.com/office/drawing/2014/main" id="{4AB1449A-BA8C-D548-BDE3-4E5DB13EB4C8}"/>
              </a:ext>
            </a:extLst>
          </p:cNvPr>
          <p:cNvSpPr>
            <a:spLocks noGrp="1"/>
          </p:cNvSpPr>
          <p:nvPr userDrawn="1">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694ECBB0-4C58-4248-88F3-5F92A8649EA9}"/>
              </a:ext>
            </a:extLst>
          </p:cNvPr>
          <p:cNvSpPr>
            <a:spLocks noGrp="1"/>
          </p:cNvSpPr>
          <p:nvPr userDrawn="1">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54418348-A4D7-7641-8A84-204A8DF8E9D7}"/>
              </a:ext>
            </a:extLst>
          </p:cNvPr>
          <p:cNvSpPr>
            <a:spLocks noGrp="1"/>
          </p:cNvSpPr>
          <p:nvPr userDrawn="1">
            <p:ph type="sldNum" sz="quarter" idx="108"/>
          </p:nvPr>
        </p:nvSpPr>
        <p:spPr/>
        <p:txBody>
          <a:bodyPr/>
          <a:lstStyle/>
          <a:p>
            <a:pPr marL="12700"/>
            <a:fld id="{078C017C-E1B9-8443-B047-B08AAA027B45}" type="slidenum">
              <a:rPr lang="en-US" smtClean="0"/>
              <a:pPr marL="12700"/>
              <a:t>‹#›</a:t>
            </a:fld>
            <a:endParaRPr lang="en-US" dirty="0"/>
          </a:p>
        </p:txBody>
      </p:sp>
      <p:grpSp>
        <p:nvGrpSpPr>
          <p:cNvPr id="35" name="Group 34">
            <a:extLst>
              <a:ext uri="{FF2B5EF4-FFF2-40B4-BE49-F238E27FC236}">
                <a16:creationId xmlns:a16="http://schemas.microsoft.com/office/drawing/2014/main" id="{BC7FC7CE-B15F-F745-8154-60A1C696F9B7}"/>
              </a:ext>
            </a:extLst>
          </p:cNvPr>
          <p:cNvGrpSpPr/>
          <p:nvPr userDrawn="1"/>
        </p:nvGrpSpPr>
        <p:grpSpPr>
          <a:xfrm>
            <a:off x="12532243" y="1"/>
            <a:ext cx="3965960" cy="6857995"/>
            <a:chOff x="9399182" y="0"/>
            <a:chExt cx="2974470" cy="6857995"/>
          </a:xfrm>
        </p:grpSpPr>
        <p:sp>
          <p:nvSpPr>
            <p:cNvPr id="36" name="Rectangle 35">
              <a:extLst>
                <a:ext uri="{FF2B5EF4-FFF2-40B4-BE49-F238E27FC236}">
                  <a16:creationId xmlns:a16="http://schemas.microsoft.com/office/drawing/2014/main" id="{8A847F87-2150-EA49-BACD-C88E74E36228}"/>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37" name="Picture 36">
              <a:extLst>
                <a:ext uri="{FF2B5EF4-FFF2-40B4-BE49-F238E27FC236}">
                  <a16:creationId xmlns:a16="http://schemas.microsoft.com/office/drawing/2014/main" id="{B84786FF-44DA-8942-AB70-199CB8C73FBF}"/>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1246D9CC-B5D1-9141-A99F-B466C0533950}"/>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3EE65CCC-707A-BC48-BAF5-F4FFCCAB75F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3" name="TextBox 92">
                <a:extLst>
                  <a:ext uri="{FF2B5EF4-FFF2-40B4-BE49-F238E27FC236}">
                    <a16:creationId xmlns:a16="http://schemas.microsoft.com/office/drawing/2014/main" id="{4A238499-0695-AA45-AE43-E6D4AD9610FC}"/>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981EAC90-1E7B-0348-8A3C-9AD9FAF0B4B1}"/>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23779B09-2A6B-C747-8C57-F1F407A4B659}"/>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87C1A6A5-EE75-EB45-8D57-7B217603478E}"/>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91" name="Straight Connector 90">
                <a:extLst>
                  <a:ext uri="{FF2B5EF4-FFF2-40B4-BE49-F238E27FC236}">
                    <a16:creationId xmlns:a16="http://schemas.microsoft.com/office/drawing/2014/main" id="{38172E64-DDB3-014D-9BB1-603E952617C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ECEE6EB4-DE30-514B-B6A3-3CF197624EFC}"/>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E539A361-27B7-D34B-A5DC-F58AB8141554}"/>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E44AAA1A-A914-804E-98F6-7D89DE0BB22D}"/>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7" name="TextBox 86">
                  <a:extLst>
                    <a:ext uri="{FF2B5EF4-FFF2-40B4-BE49-F238E27FC236}">
                      <a16:creationId xmlns:a16="http://schemas.microsoft.com/office/drawing/2014/main" id="{C0F5BD81-802D-0E4D-A7B0-7F7C27BE43B6}"/>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A7FCA15E-0B61-1A42-A94F-23368608B9D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A7EA1EAA-12F2-004D-A670-BFF2541E281C}"/>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6E685023-D799-A446-B8B0-A1B4CC6EBF17}"/>
                  </a:ext>
                </a:extLst>
              </p:cNvPr>
              <p:cNvGrpSpPr/>
              <p:nvPr userDrawn="1"/>
            </p:nvGrpSpPr>
            <p:grpSpPr>
              <a:xfrm>
                <a:off x="9832250" y="3569700"/>
                <a:ext cx="2074000" cy="1627918"/>
                <a:chOff x="9832250" y="3617325"/>
                <a:chExt cx="2074000" cy="1627918"/>
              </a:xfrm>
            </p:grpSpPr>
            <p:pic>
              <p:nvPicPr>
                <p:cNvPr id="55" name="Picture 54">
                  <a:extLst>
                    <a:ext uri="{FF2B5EF4-FFF2-40B4-BE49-F238E27FC236}">
                      <a16:creationId xmlns:a16="http://schemas.microsoft.com/office/drawing/2014/main" id="{014C2F62-0D18-A443-8AAC-9A6BAC77A72E}"/>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89C34461-EDC8-EB46-B055-2D682CC58AEE}"/>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1763CD67-A109-A648-846D-0CBD5489CFB0}"/>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5332DBA4-4E50-364A-B42D-7EDC1A5B2469}"/>
                    </a:ext>
                  </a:extLst>
                </p:cNvPr>
                <p:cNvSpPr txBox="1"/>
                <p:nvPr userDrawn="1"/>
              </p:nvSpPr>
              <p:spPr>
                <a:xfrm>
                  <a:off x="9832250" y="3828243"/>
                  <a:ext cx="257282"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DFDB09D6-5413-4249-98C0-1E8BC9A27D29}"/>
                    </a:ext>
                  </a:extLst>
                </p:cNvPr>
                <p:cNvSpPr txBox="1"/>
                <p:nvPr userDrawn="1"/>
              </p:nvSpPr>
              <p:spPr>
                <a:xfrm>
                  <a:off x="9832250" y="4721742"/>
                  <a:ext cx="257282"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99F8CE38-B0AB-984C-BF06-16DD7A8FA458}"/>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F61BB896-8775-B54F-BD43-80E54D657CF3}"/>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77532585-4CE3-144A-AC32-AC8F9F388B1F}"/>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2" name="TextBox 51">
                <a:extLst>
                  <a:ext uri="{FF2B5EF4-FFF2-40B4-BE49-F238E27FC236}">
                    <a16:creationId xmlns:a16="http://schemas.microsoft.com/office/drawing/2014/main" id="{20A5AF3B-C55E-884F-BD62-37B268182CF4}"/>
                  </a:ext>
                </a:extLst>
              </p:cNvPr>
              <p:cNvSpPr txBox="1"/>
              <p:nvPr userDrawn="1"/>
            </p:nvSpPr>
            <p:spPr>
              <a:xfrm>
                <a:off x="9635558" y="2549805"/>
                <a:ext cx="676269" cy="430887"/>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EF138706-C32E-8B49-8A86-C08263C6034E}"/>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C3A738B4-E773-1349-ACD6-77F632243404}"/>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EB49EA4A-5705-D54A-B343-E9468BB70060}"/>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7034A0E3-E3C6-D747-A54F-AB0BDA44AF9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8" name="TextBox 47">
                    <a:extLst>
                      <a:ext uri="{FF2B5EF4-FFF2-40B4-BE49-F238E27FC236}">
                        <a16:creationId xmlns:a16="http://schemas.microsoft.com/office/drawing/2014/main" id="{E4772BEC-83FF-0347-84F5-613E17F42F3F}"/>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71AC6B17-22B5-BE49-9E2E-28CC5DEC0748}"/>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10C7229D-CD30-0341-A496-C567041270E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BA66D612-22B5-4045-8D31-CFB640573F91}"/>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746644946"/>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wo Content (1/3 Lef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575709" y="1233489"/>
            <a:ext cx="3499195" cy="4932362"/>
          </a:xfrm>
        </p:spPr>
        <p:txBody>
          <a:bodyPr/>
          <a:lstStyle/>
          <a:p>
            <a:pPr lvl="0"/>
            <a:r>
              <a:rPr lang="en-US" dirty="0"/>
              <a:t>Click to add text, or use the icon to add a table</a:t>
            </a:r>
          </a:p>
          <a:p>
            <a:pPr lvl="1"/>
            <a:r>
              <a:rPr lang="en-US" dirty="0"/>
              <a:t>Body text (second level)</a:t>
            </a:r>
          </a:p>
          <a:p>
            <a:pPr lvl="2"/>
            <a:r>
              <a:rPr lang="en-US" dirty="0"/>
              <a:t>Square bullet (third level)</a:t>
            </a:r>
          </a:p>
          <a:p>
            <a:pPr lvl="3"/>
            <a:r>
              <a:rPr lang="en-US" dirty="0"/>
              <a:t>Dashed bullet (fourth level)</a:t>
            </a:r>
          </a:p>
          <a:p>
            <a:pPr lvl="4"/>
            <a:r>
              <a:rPr lang="en-US" dirty="0"/>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4425630" y="1233489"/>
            <a:ext cx="7190637" cy="4932362"/>
          </a:xfrm>
        </p:spPr>
        <p:txBody>
          <a:bodyPr/>
          <a:lstStyle/>
          <a:p>
            <a:pPr lvl="0"/>
            <a:r>
              <a:rPr lang="en-US" dirty="0"/>
              <a:t>Click to add text, or use the icon to add a table</a:t>
            </a:r>
          </a:p>
          <a:p>
            <a:pPr lvl="1"/>
            <a:r>
              <a:rPr lang="en-US" dirty="0"/>
              <a:t>Body text (second level)</a:t>
            </a:r>
          </a:p>
          <a:p>
            <a:pPr lvl="2"/>
            <a:r>
              <a:rPr lang="en-US" dirty="0"/>
              <a:t>Square bullet (third level)</a:t>
            </a:r>
          </a:p>
          <a:p>
            <a:pPr lvl="3"/>
            <a:r>
              <a:rPr lang="en-US" dirty="0"/>
              <a:t>Dashed bullet (fourth level)</a:t>
            </a:r>
          </a:p>
          <a:p>
            <a:pPr lvl="4"/>
            <a:r>
              <a:rPr lang="en-US" dirty="0"/>
              <a:t>Dashed bullet (fifth level)</a:t>
            </a:r>
          </a:p>
        </p:txBody>
      </p:sp>
      <p:sp>
        <p:nvSpPr>
          <p:cNvPr id="1000" name="Footnotes Placeholder">
            <a:extLst>
              <a:ext uri="{FF2B5EF4-FFF2-40B4-BE49-F238E27FC236}">
                <a16:creationId xmlns:a16="http://schemas.microsoft.com/office/drawing/2014/main" id="{62E1D57E-789F-C049-AE21-2FFE596AF372}"/>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5" name="Date Placeholder 4">
            <a:extLst>
              <a:ext uri="{FF2B5EF4-FFF2-40B4-BE49-F238E27FC236}">
                <a16:creationId xmlns:a16="http://schemas.microsoft.com/office/drawing/2014/main" id="{F52187D9-7A64-FD43-ADB5-4358998A306C}"/>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48C3426B-A824-D843-A346-B1AED40F1EE6}"/>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B9EF4742-1840-4A4C-9C79-0ABDE7122DD2}"/>
              </a:ext>
            </a:extLst>
          </p:cNvPr>
          <p:cNvSpPr>
            <a:spLocks noGrp="1"/>
          </p:cNvSpPr>
          <p:nvPr>
            <p:ph type="sldNum" sz="quarter" idx="108"/>
          </p:nvPr>
        </p:nvSpPr>
        <p:spPr/>
        <p:txBody>
          <a:bodyPr/>
          <a:lstStyle/>
          <a:p>
            <a:pPr marL="12700"/>
            <a:fld id="{078C017C-E1B9-8443-B047-B08AAA027B45}" type="slidenum">
              <a:rPr lang="en-US" smtClean="0"/>
              <a:pPr marL="12700"/>
              <a:t>‹#›</a:t>
            </a:fld>
            <a:endParaRPr lang="en-US" dirty="0"/>
          </a:p>
        </p:txBody>
      </p:sp>
      <p:grpSp>
        <p:nvGrpSpPr>
          <p:cNvPr id="35" name="Group 34">
            <a:extLst>
              <a:ext uri="{FF2B5EF4-FFF2-40B4-BE49-F238E27FC236}">
                <a16:creationId xmlns:a16="http://schemas.microsoft.com/office/drawing/2014/main" id="{902E2498-FF17-AD4D-A16F-D0555843F7FF}"/>
              </a:ext>
            </a:extLst>
          </p:cNvPr>
          <p:cNvGrpSpPr/>
          <p:nvPr userDrawn="1"/>
        </p:nvGrpSpPr>
        <p:grpSpPr>
          <a:xfrm>
            <a:off x="12532243" y="1"/>
            <a:ext cx="3965960" cy="6857995"/>
            <a:chOff x="9399182" y="0"/>
            <a:chExt cx="2974470" cy="6857995"/>
          </a:xfrm>
        </p:grpSpPr>
        <p:sp>
          <p:nvSpPr>
            <p:cNvPr id="36" name="Rectangle 35">
              <a:extLst>
                <a:ext uri="{FF2B5EF4-FFF2-40B4-BE49-F238E27FC236}">
                  <a16:creationId xmlns:a16="http://schemas.microsoft.com/office/drawing/2014/main" id="{F5F50887-8E70-CC4F-AFF3-470F73E7BC52}"/>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37" name="Picture 36">
              <a:extLst>
                <a:ext uri="{FF2B5EF4-FFF2-40B4-BE49-F238E27FC236}">
                  <a16:creationId xmlns:a16="http://schemas.microsoft.com/office/drawing/2014/main" id="{FC0C9224-1E37-2F47-BE66-AAF75896A7CC}"/>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6FD959D5-EFA2-5E49-83C2-CEDE37065FA6}"/>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5D2F6A44-5F00-9545-A4B1-A0061FAE7EC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3" name="TextBox 92">
                <a:extLst>
                  <a:ext uri="{FF2B5EF4-FFF2-40B4-BE49-F238E27FC236}">
                    <a16:creationId xmlns:a16="http://schemas.microsoft.com/office/drawing/2014/main" id="{C1984AA3-39E3-1C43-94A9-34B5E13FF32E}"/>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5235A41A-9B24-9F4B-BF59-14675BCD059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A3477A72-0C5E-0043-8585-DDE93406C932}"/>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E62F6452-A2BE-7C46-A9CC-5C38489C5CE5}"/>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91" name="Straight Connector 90">
                <a:extLst>
                  <a:ext uri="{FF2B5EF4-FFF2-40B4-BE49-F238E27FC236}">
                    <a16:creationId xmlns:a16="http://schemas.microsoft.com/office/drawing/2014/main" id="{18AD7F99-B11F-D249-9E19-51930334CFC7}"/>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9BE17943-B901-2F45-83EC-CAE55A3C5AB3}"/>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3A282DBC-97A0-A74F-A322-83F38647E311}"/>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C6F30183-1D7E-1F46-8A9A-D436E42146F3}"/>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7" name="TextBox 86">
                  <a:extLst>
                    <a:ext uri="{FF2B5EF4-FFF2-40B4-BE49-F238E27FC236}">
                      <a16:creationId xmlns:a16="http://schemas.microsoft.com/office/drawing/2014/main" id="{6F8134E9-C165-374B-B2CC-DA494A389F22}"/>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C0716B58-8AB2-BB4E-BF02-075C7AB5645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55F8E9FF-CF75-2441-B304-D1744649013E}"/>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2514B6E7-6F9E-A74E-B185-C746F5D312F2}"/>
                  </a:ext>
                </a:extLst>
              </p:cNvPr>
              <p:cNvGrpSpPr/>
              <p:nvPr userDrawn="1"/>
            </p:nvGrpSpPr>
            <p:grpSpPr>
              <a:xfrm>
                <a:off x="9832250" y="3569700"/>
                <a:ext cx="2074000" cy="1627918"/>
                <a:chOff x="9832250" y="3617325"/>
                <a:chExt cx="2074000" cy="1627918"/>
              </a:xfrm>
            </p:grpSpPr>
            <p:pic>
              <p:nvPicPr>
                <p:cNvPr id="55" name="Picture 54">
                  <a:extLst>
                    <a:ext uri="{FF2B5EF4-FFF2-40B4-BE49-F238E27FC236}">
                      <a16:creationId xmlns:a16="http://schemas.microsoft.com/office/drawing/2014/main" id="{2D8F5DB2-9D62-B645-815C-A05F1A64837F}"/>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A56B34A5-5FAB-1849-B932-0B65D3EFFC44}"/>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CDAE0E52-76E3-E948-A240-86DD232545E2}"/>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92960CE-C925-D541-B244-F39F12711B9D}"/>
                    </a:ext>
                  </a:extLst>
                </p:cNvPr>
                <p:cNvSpPr txBox="1"/>
                <p:nvPr userDrawn="1"/>
              </p:nvSpPr>
              <p:spPr>
                <a:xfrm>
                  <a:off x="9832250" y="3828243"/>
                  <a:ext cx="257282"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7C97C986-8A69-3440-8F48-A9A0634AD1BF}"/>
                    </a:ext>
                  </a:extLst>
                </p:cNvPr>
                <p:cNvSpPr txBox="1"/>
                <p:nvPr userDrawn="1"/>
              </p:nvSpPr>
              <p:spPr>
                <a:xfrm>
                  <a:off x="9832250" y="4721742"/>
                  <a:ext cx="257282"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847F9F1F-5251-9246-AD4B-01B5FA9CC1BA}"/>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56B31BB5-7D6D-F54A-9773-EF4DBD16FF8F}"/>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FE597D3D-3AFC-BB47-B8CF-8E6C98E82881}"/>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2" name="TextBox 51">
                <a:extLst>
                  <a:ext uri="{FF2B5EF4-FFF2-40B4-BE49-F238E27FC236}">
                    <a16:creationId xmlns:a16="http://schemas.microsoft.com/office/drawing/2014/main" id="{403DA12D-0274-1F49-B336-BD4025C49C63}"/>
                  </a:ext>
                </a:extLst>
              </p:cNvPr>
              <p:cNvSpPr txBox="1"/>
              <p:nvPr userDrawn="1"/>
            </p:nvSpPr>
            <p:spPr>
              <a:xfrm>
                <a:off x="9635558" y="2549805"/>
                <a:ext cx="676269" cy="430887"/>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65FA5060-5E13-4543-9377-154ADBB0E82F}"/>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4671AB2B-235C-C341-8881-9BBB69C9598E}"/>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4F1C356B-DB7D-4D4F-911D-77E8C771B88B}"/>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224311F3-D9B7-5B40-8F89-C14B83BC502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8" name="TextBox 47">
                    <a:extLst>
                      <a:ext uri="{FF2B5EF4-FFF2-40B4-BE49-F238E27FC236}">
                        <a16:creationId xmlns:a16="http://schemas.microsoft.com/office/drawing/2014/main" id="{C3DAD1A5-A5DD-A047-83FC-B9B82F152CD4}"/>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7A43B794-8CF2-3241-85CE-3E267DC2FAF6}"/>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ADA4F7D3-514B-1146-9B32-81A73DC6906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D7DD7A1E-5F73-B04D-BD86-83D0E9226589}"/>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402625426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Content (1/3 Right)">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575733" y="1233489"/>
            <a:ext cx="7190400" cy="4932362"/>
          </a:xfrm>
        </p:spPr>
        <p:txBody>
          <a:bodyPr/>
          <a:lstStyle/>
          <a:p>
            <a:pPr lvl="0"/>
            <a:r>
              <a:rPr lang="en-US" dirty="0"/>
              <a:t>Click to add text, or use the icon to add a table</a:t>
            </a:r>
          </a:p>
          <a:p>
            <a:pPr lvl="1"/>
            <a:r>
              <a:rPr lang="en-US" dirty="0"/>
              <a:t>Body text (second level)</a:t>
            </a:r>
          </a:p>
          <a:p>
            <a:pPr lvl="2"/>
            <a:r>
              <a:rPr lang="en-US" dirty="0"/>
              <a:t>Square bullet (third level)</a:t>
            </a:r>
          </a:p>
          <a:p>
            <a:pPr lvl="3"/>
            <a:r>
              <a:rPr lang="en-US" dirty="0"/>
              <a:t>Dashed bullet (fourth level)</a:t>
            </a:r>
          </a:p>
          <a:p>
            <a:pPr lvl="4"/>
            <a:r>
              <a:rPr lang="en-US" dirty="0"/>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8117067" y="1233489"/>
            <a:ext cx="3499200" cy="4932362"/>
          </a:xfrm>
        </p:spPr>
        <p:txBody>
          <a:bodyPr/>
          <a:lstStyle/>
          <a:p>
            <a:pPr lvl="0"/>
            <a:r>
              <a:rPr lang="en-US" dirty="0"/>
              <a:t>Click to add text, or use the icon to add a table</a:t>
            </a:r>
          </a:p>
          <a:p>
            <a:pPr lvl="1"/>
            <a:r>
              <a:rPr lang="en-US" dirty="0"/>
              <a:t>Body text (second level)</a:t>
            </a:r>
          </a:p>
          <a:p>
            <a:pPr lvl="2"/>
            <a:r>
              <a:rPr lang="en-US" dirty="0"/>
              <a:t>Square bullet (third level)</a:t>
            </a:r>
          </a:p>
          <a:p>
            <a:pPr lvl="3"/>
            <a:r>
              <a:rPr lang="en-US" dirty="0"/>
              <a:t>Dashed bullet (fourth level)</a:t>
            </a:r>
          </a:p>
          <a:p>
            <a:pPr lvl="4"/>
            <a:r>
              <a:rPr lang="en-US" dirty="0"/>
              <a:t>Dashed bullet (fifth level)</a:t>
            </a:r>
          </a:p>
        </p:txBody>
      </p:sp>
      <p:sp>
        <p:nvSpPr>
          <p:cNvPr id="2" name="Title 1">
            <a:extLst>
              <a:ext uri="{FF2B5EF4-FFF2-40B4-BE49-F238E27FC236}">
                <a16:creationId xmlns:a16="http://schemas.microsoft.com/office/drawing/2014/main" id="{E2A06382-4F71-2D43-8F90-DF7986431007}"/>
              </a:ext>
            </a:extLst>
          </p:cNvPr>
          <p:cNvSpPr>
            <a:spLocks noGrp="1"/>
          </p:cNvSpPr>
          <p:nvPr>
            <p:ph type="title" hasCustomPrompt="1"/>
          </p:nvPr>
        </p:nvSpPr>
        <p:spPr>
          <a:xfrm>
            <a:off x="575734" y="423038"/>
            <a:ext cx="11040533" cy="567394"/>
          </a:xfrm>
        </p:spPr>
        <p:txBody>
          <a:bodyPr/>
          <a:lstStyle/>
          <a:p>
            <a:r>
              <a:rPr lang="en-US" dirty="0"/>
              <a:t>CLICK TO ADD Slide TITLE. ALL CAPS. TWO LINES max.</a:t>
            </a:r>
          </a:p>
        </p:txBody>
      </p:sp>
      <p:sp>
        <p:nvSpPr>
          <p:cNvPr id="1000" name="Footnotes Placeholder">
            <a:extLst>
              <a:ext uri="{FF2B5EF4-FFF2-40B4-BE49-F238E27FC236}">
                <a16:creationId xmlns:a16="http://schemas.microsoft.com/office/drawing/2014/main" id="{E8C1E42E-F316-CC44-8C90-6889E7665123}"/>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7" name="Date Placeholder 6">
            <a:extLst>
              <a:ext uri="{FF2B5EF4-FFF2-40B4-BE49-F238E27FC236}">
                <a16:creationId xmlns:a16="http://schemas.microsoft.com/office/drawing/2014/main" id="{85F05EE9-0A3D-4749-B2F6-14D0C82A14DD}"/>
              </a:ext>
            </a:extLst>
          </p:cNvPr>
          <p:cNvSpPr>
            <a:spLocks noGrp="1"/>
          </p:cNvSpPr>
          <p:nvPr>
            <p:ph type="dt" sz="half" idx="106"/>
          </p:nvPr>
        </p:nvSpPr>
        <p:spPr/>
        <p:txBody>
          <a:bodyPr/>
          <a:lstStyle/>
          <a:p>
            <a:endParaRPr lang="en-US" dirty="0"/>
          </a:p>
        </p:txBody>
      </p:sp>
      <p:sp>
        <p:nvSpPr>
          <p:cNvPr id="8" name="Footer Placeholder 7">
            <a:extLst>
              <a:ext uri="{FF2B5EF4-FFF2-40B4-BE49-F238E27FC236}">
                <a16:creationId xmlns:a16="http://schemas.microsoft.com/office/drawing/2014/main" id="{E71F5980-B10D-114E-B46C-229352D8D586}"/>
              </a:ext>
            </a:extLst>
          </p:cNvPr>
          <p:cNvSpPr>
            <a:spLocks noGrp="1"/>
          </p:cNvSpPr>
          <p:nvPr>
            <p:ph type="ftr" sz="quarter" idx="107"/>
          </p:nvPr>
        </p:nvSpPr>
        <p:spPr/>
        <p:txBody>
          <a:bodyPr/>
          <a:lstStyle/>
          <a:p>
            <a:endParaRPr lang="en-US" dirty="0"/>
          </a:p>
        </p:txBody>
      </p:sp>
      <p:sp>
        <p:nvSpPr>
          <p:cNvPr id="10" name="Slide Number Placeholder 9">
            <a:extLst>
              <a:ext uri="{FF2B5EF4-FFF2-40B4-BE49-F238E27FC236}">
                <a16:creationId xmlns:a16="http://schemas.microsoft.com/office/drawing/2014/main" id="{A5D4DBE6-2175-B24F-A643-B8DBBCA00583}"/>
              </a:ext>
            </a:extLst>
          </p:cNvPr>
          <p:cNvSpPr>
            <a:spLocks noGrp="1"/>
          </p:cNvSpPr>
          <p:nvPr>
            <p:ph type="sldNum" sz="quarter" idx="108"/>
          </p:nvPr>
        </p:nvSpPr>
        <p:spPr/>
        <p:txBody>
          <a:bodyPr/>
          <a:lstStyle/>
          <a:p>
            <a:pPr marL="12700"/>
            <a:fld id="{078C017C-E1B9-8443-B047-B08AAA027B45}" type="slidenum">
              <a:rPr lang="en-US" smtClean="0"/>
              <a:pPr marL="12700"/>
              <a:t>‹#›</a:t>
            </a:fld>
            <a:endParaRPr lang="en-US" dirty="0"/>
          </a:p>
        </p:txBody>
      </p:sp>
      <p:grpSp>
        <p:nvGrpSpPr>
          <p:cNvPr id="35" name="Group 34">
            <a:extLst>
              <a:ext uri="{FF2B5EF4-FFF2-40B4-BE49-F238E27FC236}">
                <a16:creationId xmlns:a16="http://schemas.microsoft.com/office/drawing/2014/main" id="{5C57F764-75F4-CB41-BEB8-84C2645F5FB5}"/>
              </a:ext>
            </a:extLst>
          </p:cNvPr>
          <p:cNvGrpSpPr/>
          <p:nvPr userDrawn="1"/>
        </p:nvGrpSpPr>
        <p:grpSpPr>
          <a:xfrm>
            <a:off x="12532243" y="1"/>
            <a:ext cx="3965960" cy="6857995"/>
            <a:chOff x="9399182" y="0"/>
            <a:chExt cx="2974470" cy="6857995"/>
          </a:xfrm>
        </p:grpSpPr>
        <p:sp>
          <p:nvSpPr>
            <p:cNvPr id="36" name="Rectangle 35">
              <a:extLst>
                <a:ext uri="{FF2B5EF4-FFF2-40B4-BE49-F238E27FC236}">
                  <a16:creationId xmlns:a16="http://schemas.microsoft.com/office/drawing/2014/main" id="{7D36F087-817A-684A-AB3B-76BDBCFE257F}"/>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37" name="Picture 36">
              <a:extLst>
                <a:ext uri="{FF2B5EF4-FFF2-40B4-BE49-F238E27FC236}">
                  <a16:creationId xmlns:a16="http://schemas.microsoft.com/office/drawing/2014/main" id="{C828127C-A9D1-354F-8510-197876AAA7BF}"/>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23C0B752-B659-F14D-9656-D25E78B5C3F2}"/>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66AD7EA4-AF8A-5347-A757-7E9A352EED38}"/>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3" name="TextBox 92">
                <a:extLst>
                  <a:ext uri="{FF2B5EF4-FFF2-40B4-BE49-F238E27FC236}">
                    <a16:creationId xmlns:a16="http://schemas.microsoft.com/office/drawing/2014/main" id="{55F5882A-2175-4A43-B444-2BF2F22F4BE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CB69B195-59C0-0D4B-97BF-154377BD5A8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8E499ACE-87E3-FC46-A481-D32CA8F2DFCF}"/>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8226064C-7D82-F047-9BD7-219F92F5ED1A}"/>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91" name="Straight Connector 90">
                <a:extLst>
                  <a:ext uri="{FF2B5EF4-FFF2-40B4-BE49-F238E27FC236}">
                    <a16:creationId xmlns:a16="http://schemas.microsoft.com/office/drawing/2014/main" id="{BB238369-EA71-3742-8840-9462B586DE8E}"/>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28621C79-5C28-CD4C-9CC6-788DF5AD31B8}"/>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450E4076-2883-BA42-81BF-18827567A894}"/>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2CBF7FA1-24C1-1A47-A5B7-071E723219F8}"/>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7" name="TextBox 86">
                  <a:extLst>
                    <a:ext uri="{FF2B5EF4-FFF2-40B4-BE49-F238E27FC236}">
                      <a16:creationId xmlns:a16="http://schemas.microsoft.com/office/drawing/2014/main" id="{C39DC11C-0628-054E-A8B3-C3C8217A6CB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301F6881-300A-A146-99A9-BD99ACCB3DB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AC51286F-DEF1-2B4D-93DB-F3076A2611C0}"/>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3321F084-532D-124B-A03C-154D91D8F45F}"/>
                  </a:ext>
                </a:extLst>
              </p:cNvPr>
              <p:cNvGrpSpPr/>
              <p:nvPr userDrawn="1"/>
            </p:nvGrpSpPr>
            <p:grpSpPr>
              <a:xfrm>
                <a:off x="9832250" y="3569700"/>
                <a:ext cx="2074000" cy="1627918"/>
                <a:chOff x="9832250" y="3617325"/>
                <a:chExt cx="2074000" cy="1627918"/>
              </a:xfrm>
            </p:grpSpPr>
            <p:pic>
              <p:nvPicPr>
                <p:cNvPr id="55" name="Picture 54">
                  <a:extLst>
                    <a:ext uri="{FF2B5EF4-FFF2-40B4-BE49-F238E27FC236}">
                      <a16:creationId xmlns:a16="http://schemas.microsoft.com/office/drawing/2014/main" id="{BBFF6EA2-7DDD-534F-8411-25FCA9D0E1E8}"/>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0E34E07D-3DF6-3745-9646-0A46DDF96B0B}"/>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B1725E8-9C83-F844-A798-4509B80E08F8}"/>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1CB723A7-162A-F54C-BC8B-5F48D8109783}"/>
                    </a:ext>
                  </a:extLst>
                </p:cNvPr>
                <p:cNvSpPr txBox="1"/>
                <p:nvPr userDrawn="1"/>
              </p:nvSpPr>
              <p:spPr>
                <a:xfrm>
                  <a:off x="9832250" y="3828243"/>
                  <a:ext cx="257282"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359BA5AE-3310-1847-9BF2-3A989E221789}"/>
                    </a:ext>
                  </a:extLst>
                </p:cNvPr>
                <p:cNvSpPr txBox="1"/>
                <p:nvPr userDrawn="1"/>
              </p:nvSpPr>
              <p:spPr>
                <a:xfrm>
                  <a:off x="9832250" y="4721742"/>
                  <a:ext cx="257282"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AA1C27C4-CD80-3246-98DD-15A2D88DC926}"/>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2593E019-CA82-1040-9996-4316BF793D51}"/>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B3BC7102-822A-7D41-95D1-B0286E842E03}"/>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2" name="TextBox 51">
                <a:extLst>
                  <a:ext uri="{FF2B5EF4-FFF2-40B4-BE49-F238E27FC236}">
                    <a16:creationId xmlns:a16="http://schemas.microsoft.com/office/drawing/2014/main" id="{A5628D1D-267F-294B-B368-A4FBEC0A170D}"/>
                  </a:ext>
                </a:extLst>
              </p:cNvPr>
              <p:cNvSpPr txBox="1"/>
              <p:nvPr userDrawn="1"/>
            </p:nvSpPr>
            <p:spPr>
              <a:xfrm>
                <a:off x="9635558" y="2549805"/>
                <a:ext cx="676269" cy="430887"/>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1250C1D0-82B5-D54D-8DCC-BA78579053DD}"/>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A36D5FBC-C765-2B4D-88DB-68244F94A3DE}"/>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EA00EDAC-D16A-3A4C-888F-638F125A43EF}"/>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405BBDC5-B3B3-E149-B4C1-2245D126623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8" name="TextBox 47">
                    <a:extLst>
                      <a:ext uri="{FF2B5EF4-FFF2-40B4-BE49-F238E27FC236}">
                        <a16:creationId xmlns:a16="http://schemas.microsoft.com/office/drawing/2014/main" id="{E0171319-10F3-5B45-B320-E73A6292A6E6}"/>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3E27D3AE-33D1-7D4E-9E3A-0EECAC2B2E50}"/>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F5440D1A-C837-814E-91DD-BDB8325D43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C081CC70-A1B7-FB4B-975F-E36A3BAEEF61}"/>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52285924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wo Content (Stacke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575736" y="1233489"/>
            <a:ext cx="11040531" cy="2381499"/>
          </a:xfrm>
        </p:spPr>
        <p:txBody>
          <a:bodyPr/>
          <a:lstStyle/>
          <a:p>
            <a:pPr lvl="0"/>
            <a:r>
              <a:rPr lang="en-US" dirty="0"/>
              <a:t>Click to add text, or use the icon to add a table</a:t>
            </a:r>
          </a:p>
          <a:p>
            <a:pPr lvl="1"/>
            <a:r>
              <a:rPr lang="en-US" dirty="0"/>
              <a:t>Body text (second level)</a:t>
            </a:r>
          </a:p>
          <a:p>
            <a:pPr lvl="2"/>
            <a:r>
              <a:rPr lang="en-US" dirty="0"/>
              <a:t>Square bullet (third level)</a:t>
            </a:r>
          </a:p>
          <a:p>
            <a:pPr lvl="3"/>
            <a:r>
              <a:rPr lang="en-US" dirty="0"/>
              <a:t>Dashed bullet (fourth level)</a:t>
            </a:r>
          </a:p>
          <a:p>
            <a:pPr lvl="4"/>
            <a:r>
              <a:rPr lang="en-US" dirty="0"/>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575736" y="3784352"/>
            <a:ext cx="11040531" cy="2381499"/>
          </a:xfrm>
        </p:spPr>
        <p:txBody>
          <a:bodyPr/>
          <a:lstStyle/>
          <a:p>
            <a:pPr lvl="0"/>
            <a:r>
              <a:rPr lang="en-US" dirty="0"/>
              <a:t>Click to add text, or use the icon to add a table</a:t>
            </a:r>
          </a:p>
          <a:p>
            <a:pPr lvl="1"/>
            <a:r>
              <a:rPr lang="en-US" dirty="0"/>
              <a:t>Body text (second level)</a:t>
            </a:r>
          </a:p>
          <a:p>
            <a:pPr lvl="2"/>
            <a:r>
              <a:rPr lang="en-US" dirty="0"/>
              <a:t>Square bullet (third level)</a:t>
            </a:r>
          </a:p>
          <a:p>
            <a:pPr lvl="3"/>
            <a:r>
              <a:rPr lang="en-US" dirty="0"/>
              <a:t>Dashed bullet (fourth level)</a:t>
            </a:r>
          </a:p>
          <a:p>
            <a:pPr lvl="4"/>
            <a:r>
              <a:rPr lang="en-US" dirty="0"/>
              <a:t>Dashed bullet (fifth level)</a:t>
            </a:r>
          </a:p>
        </p:txBody>
      </p:sp>
      <p:sp>
        <p:nvSpPr>
          <p:cNvPr id="1000" name="Footnotes Placeholder">
            <a:extLst>
              <a:ext uri="{FF2B5EF4-FFF2-40B4-BE49-F238E27FC236}">
                <a16:creationId xmlns:a16="http://schemas.microsoft.com/office/drawing/2014/main" id="{4A06038C-128D-734E-9D80-8DBA43C1A8F8}"/>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5" name="Date Placeholder 4">
            <a:extLst>
              <a:ext uri="{FF2B5EF4-FFF2-40B4-BE49-F238E27FC236}">
                <a16:creationId xmlns:a16="http://schemas.microsoft.com/office/drawing/2014/main" id="{402CC4C5-26A5-4F45-BB5F-846EFE4C15E8}"/>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DEC332D7-9604-5C49-9FCA-6EED3EB703A5}"/>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D2381C1A-6FC0-BF4F-8124-7B7DCAB4EE32}"/>
              </a:ext>
            </a:extLst>
          </p:cNvPr>
          <p:cNvSpPr>
            <a:spLocks noGrp="1"/>
          </p:cNvSpPr>
          <p:nvPr>
            <p:ph type="sldNum" sz="quarter" idx="108"/>
          </p:nvPr>
        </p:nvSpPr>
        <p:spPr/>
        <p:txBody>
          <a:bodyPr/>
          <a:lstStyle/>
          <a:p>
            <a:pPr marL="12700"/>
            <a:fld id="{078C017C-E1B9-8443-B047-B08AAA027B45}" type="slidenum">
              <a:rPr lang="en-US" smtClean="0"/>
              <a:pPr marL="12700"/>
              <a:t>‹#›</a:t>
            </a:fld>
            <a:endParaRPr lang="en-US" dirty="0"/>
          </a:p>
        </p:txBody>
      </p:sp>
      <p:grpSp>
        <p:nvGrpSpPr>
          <p:cNvPr id="35" name="Group 34">
            <a:extLst>
              <a:ext uri="{FF2B5EF4-FFF2-40B4-BE49-F238E27FC236}">
                <a16:creationId xmlns:a16="http://schemas.microsoft.com/office/drawing/2014/main" id="{8D404F43-75AD-CE4A-A7B8-A9E3FF14D26D}"/>
              </a:ext>
            </a:extLst>
          </p:cNvPr>
          <p:cNvGrpSpPr/>
          <p:nvPr userDrawn="1"/>
        </p:nvGrpSpPr>
        <p:grpSpPr>
          <a:xfrm>
            <a:off x="12532243" y="1"/>
            <a:ext cx="3965960" cy="6857995"/>
            <a:chOff x="9399182" y="0"/>
            <a:chExt cx="2974470" cy="6857995"/>
          </a:xfrm>
        </p:grpSpPr>
        <p:sp>
          <p:nvSpPr>
            <p:cNvPr id="36" name="Rectangle 35">
              <a:extLst>
                <a:ext uri="{FF2B5EF4-FFF2-40B4-BE49-F238E27FC236}">
                  <a16:creationId xmlns:a16="http://schemas.microsoft.com/office/drawing/2014/main" id="{1014F8BC-C417-2D44-A2FC-282CC7C25B35}"/>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37" name="Picture 36">
              <a:extLst>
                <a:ext uri="{FF2B5EF4-FFF2-40B4-BE49-F238E27FC236}">
                  <a16:creationId xmlns:a16="http://schemas.microsoft.com/office/drawing/2014/main" id="{55C16C39-1CD8-AA44-89DD-0FA2F2460F07}"/>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7A7AD89C-ED0F-1B48-B39F-C037B93F2E6A}"/>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F235AC39-43AE-6F40-AB10-243ECD167CE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3" name="TextBox 92">
                <a:extLst>
                  <a:ext uri="{FF2B5EF4-FFF2-40B4-BE49-F238E27FC236}">
                    <a16:creationId xmlns:a16="http://schemas.microsoft.com/office/drawing/2014/main" id="{3D35AB1B-2CF2-9747-BA0D-43B811696209}"/>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8C7C35E0-1DE8-244B-961E-FE49AB67FB0A}"/>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CAAD5832-1ACD-084B-A42D-A8C00D8AAA8B}"/>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76712AB1-475C-5B42-87BD-53A6197FA783}"/>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91" name="Straight Connector 90">
                <a:extLst>
                  <a:ext uri="{FF2B5EF4-FFF2-40B4-BE49-F238E27FC236}">
                    <a16:creationId xmlns:a16="http://schemas.microsoft.com/office/drawing/2014/main" id="{4F5BD1A5-A975-234B-A289-B0633D1C2953}"/>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C8881626-21AA-D14A-AD25-7121DF34EC26}"/>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30746657-077C-3546-9563-5E5BA10BE248}"/>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D68127FC-49D0-D74A-9EA8-442E1736CB3A}"/>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7" name="TextBox 86">
                  <a:extLst>
                    <a:ext uri="{FF2B5EF4-FFF2-40B4-BE49-F238E27FC236}">
                      <a16:creationId xmlns:a16="http://schemas.microsoft.com/office/drawing/2014/main" id="{D7249D72-5168-BB4C-87A9-96903DE73F6A}"/>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19B19338-5CD2-7648-ABBF-92C68606669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3D7DE9F1-D936-D241-897F-E8C3A31F4213}"/>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9095461C-201B-214E-A77B-60BAC311D272}"/>
                  </a:ext>
                </a:extLst>
              </p:cNvPr>
              <p:cNvGrpSpPr/>
              <p:nvPr userDrawn="1"/>
            </p:nvGrpSpPr>
            <p:grpSpPr>
              <a:xfrm>
                <a:off x="9832250" y="3569700"/>
                <a:ext cx="2074000" cy="1627918"/>
                <a:chOff x="9832250" y="3617325"/>
                <a:chExt cx="2074000" cy="1627918"/>
              </a:xfrm>
            </p:grpSpPr>
            <p:pic>
              <p:nvPicPr>
                <p:cNvPr id="55" name="Picture 54">
                  <a:extLst>
                    <a:ext uri="{FF2B5EF4-FFF2-40B4-BE49-F238E27FC236}">
                      <a16:creationId xmlns:a16="http://schemas.microsoft.com/office/drawing/2014/main" id="{EB575104-562F-004A-B326-7B5EEDC843A4}"/>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2D863755-CBBC-8B48-BCB9-6BB775EA83E1}"/>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711D527A-AE54-1F49-9DBB-C3CD78A4EDFB}"/>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69096FA6-8848-D14E-8857-EF56C7EEAFD3}"/>
                    </a:ext>
                  </a:extLst>
                </p:cNvPr>
                <p:cNvSpPr txBox="1"/>
                <p:nvPr userDrawn="1"/>
              </p:nvSpPr>
              <p:spPr>
                <a:xfrm>
                  <a:off x="9832250" y="3828243"/>
                  <a:ext cx="257282"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0A6361FD-3788-164D-82B1-B50A51D5C49E}"/>
                    </a:ext>
                  </a:extLst>
                </p:cNvPr>
                <p:cNvSpPr txBox="1"/>
                <p:nvPr userDrawn="1"/>
              </p:nvSpPr>
              <p:spPr>
                <a:xfrm>
                  <a:off x="9832250" y="4721742"/>
                  <a:ext cx="257282"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0B28497C-1EBC-4146-9C10-1FA4511A8EB1}"/>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2C8A9567-D498-4E43-A058-AB8CDFBD67CA}"/>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0AE214B1-0405-3F44-B02A-A17F031B193F}"/>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2" name="TextBox 51">
                <a:extLst>
                  <a:ext uri="{FF2B5EF4-FFF2-40B4-BE49-F238E27FC236}">
                    <a16:creationId xmlns:a16="http://schemas.microsoft.com/office/drawing/2014/main" id="{A031FC06-07C2-F944-B3D7-5948AB3601DB}"/>
                  </a:ext>
                </a:extLst>
              </p:cNvPr>
              <p:cNvSpPr txBox="1"/>
              <p:nvPr userDrawn="1"/>
            </p:nvSpPr>
            <p:spPr>
              <a:xfrm>
                <a:off x="9635558" y="2549805"/>
                <a:ext cx="676269" cy="430887"/>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3535732C-1E13-4C4A-B787-AE24B4A3C9B4}"/>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B88CD7CA-DBA3-C14E-A359-502F7DC9E08F}"/>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8A62CE80-1DCA-2E41-A9A2-0FBB26DC2E37}"/>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6B01E16F-8D56-AD42-BF0C-1B00F9E33346}"/>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8" name="TextBox 47">
                    <a:extLst>
                      <a:ext uri="{FF2B5EF4-FFF2-40B4-BE49-F238E27FC236}">
                        <a16:creationId xmlns:a16="http://schemas.microsoft.com/office/drawing/2014/main" id="{301AE0C3-91EA-2D43-B520-2DB261739B44}"/>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1BAA935D-EF18-3C4F-87C9-9936893F982C}"/>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DA1AD802-82D2-EE49-8DC0-E5CFC77362A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59B2C3CC-42E2-6D46-BF1D-66B0986526F5}"/>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50979353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One Char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6" name="Chart Placeholder 2">
            <a:extLst>
              <a:ext uri="{FF2B5EF4-FFF2-40B4-BE49-F238E27FC236}">
                <a16:creationId xmlns:a16="http://schemas.microsoft.com/office/drawing/2014/main" id="{A52282EC-86DC-8D43-96A4-DCB61C454A07}"/>
              </a:ext>
            </a:extLst>
          </p:cNvPr>
          <p:cNvSpPr>
            <a:spLocks noGrp="1"/>
          </p:cNvSpPr>
          <p:nvPr>
            <p:ph type="chart" sz="quarter" idx="113"/>
          </p:nvPr>
        </p:nvSpPr>
        <p:spPr>
          <a:xfrm>
            <a:off x="575733" y="1735138"/>
            <a:ext cx="11040532" cy="4430712"/>
          </a:xfrm>
        </p:spPr>
        <p:txBody>
          <a:bodyPr/>
          <a:lstStyle>
            <a:lvl1pPr>
              <a:defRPr b="0">
                <a:solidFill>
                  <a:schemeClr val="tx1">
                    <a:lumMod val="50000"/>
                    <a:lumOff val="50000"/>
                  </a:schemeClr>
                </a:solidFill>
              </a:defRPr>
            </a:lvl1pPr>
          </a:lstStyle>
          <a:p>
            <a:r>
              <a:rPr lang="en-US"/>
              <a:t>Click icon to add chart</a:t>
            </a:r>
            <a:endParaRPr lang="en-US" dirty="0"/>
          </a:p>
        </p:txBody>
      </p:sp>
      <p:sp>
        <p:nvSpPr>
          <p:cNvPr id="1000" name="Footnotes Placeholder">
            <a:extLst>
              <a:ext uri="{FF2B5EF4-FFF2-40B4-BE49-F238E27FC236}">
                <a16:creationId xmlns:a16="http://schemas.microsoft.com/office/drawing/2014/main" id="{A5DCE5DD-26A8-1F44-AB0E-1108C6B2C629}"/>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11" name="Text Placeholder 6">
            <a:extLst>
              <a:ext uri="{FF2B5EF4-FFF2-40B4-BE49-F238E27FC236}">
                <a16:creationId xmlns:a16="http://schemas.microsoft.com/office/drawing/2014/main" id="{932E292F-93E5-C544-8958-CDEDEB71F002}"/>
              </a:ext>
            </a:extLst>
          </p:cNvPr>
          <p:cNvSpPr>
            <a:spLocks noGrp="1"/>
          </p:cNvSpPr>
          <p:nvPr>
            <p:ph type="body" sz="quarter" idx="108" hasCustomPrompt="1"/>
          </p:nvPr>
        </p:nvSpPr>
        <p:spPr>
          <a:xfrm>
            <a:off x="575734"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dirty="0"/>
              <a:t>Click to add chart title</a:t>
            </a:r>
          </a:p>
          <a:p>
            <a:pPr lvl="1"/>
            <a:r>
              <a:rPr lang="en-US" dirty="0"/>
              <a:t>Chart subtitle (second level)</a:t>
            </a:r>
          </a:p>
        </p:txBody>
      </p:sp>
      <p:grpSp>
        <p:nvGrpSpPr>
          <p:cNvPr id="56" name="Group 55">
            <a:extLst>
              <a:ext uri="{FF2B5EF4-FFF2-40B4-BE49-F238E27FC236}">
                <a16:creationId xmlns:a16="http://schemas.microsoft.com/office/drawing/2014/main" id="{46A3C5DB-48EB-1C41-B49E-663E78CA9D9E}"/>
              </a:ext>
            </a:extLst>
          </p:cNvPr>
          <p:cNvGrpSpPr/>
          <p:nvPr userDrawn="1"/>
        </p:nvGrpSpPr>
        <p:grpSpPr>
          <a:xfrm>
            <a:off x="12532244" y="-1"/>
            <a:ext cx="3948953" cy="6989737"/>
            <a:chOff x="9399182" y="-1"/>
            <a:chExt cx="2961715" cy="6989737"/>
          </a:xfrm>
        </p:grpSpPr>
        <p:sp>
          <p:nvSpPr>
            <p:cNvPr id="13" name="Rectangle 12">
              <a:extLst>
                <a:ext uri="{FF2B5EF4-FFF2-40B4-BE49-F238E27FC236}">
                  <a16:creationId xmlns:a16="http://schemas.microsoft.com/office/drawing/2014/main" id="{0DEE0A41-E466-6241-9EE4-211BECC9E5B4}"/>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46" name="Picture 45">
              <a:extLst>
                <a:ext uri="{FF2B5EF4-FFF2-40B4-BE49-F238E27FC236}">
                  <a16:creationId xmlns:a16="http://schemas.microsoft.com/office/drawing/2014/main" id="{052E85D3-7D4D-1245-9994-C9F23EA78BC0}"/>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7" name="Group 16">
              <a:extLst>
                <a:ext uri="{FF2B5EF4-FFF2-40B4-BE49-F238E27FC236}">
                  <a16:creationId xmlns:a16="http://schemas.microsoft.com/office/drawing/2014/main" id="{3188577A-9C5E-3441-8977-05779AF7AFFB}"/>
                </a:ext>
              </a:extLst>
            </p:cNvPr>
            <p:cNvGrpSpPr/>
            <p:nvPr userDrawn="1"/>
          </p:nvGrpSpPr>
          <p:grpSpPr>
            <a:xfrm>
              <a:off x="9541497" y="162442"/>
              <a:ext cx="2819400" cy="814510"/>
              <a:chOff x="-3644733" y="165205"/>
              <a:chExt cx="2819400" cy="814510"/>
            </a:xfrm>
          </p:grpSpPr>
          <p:sp>
            <p:nvSpPr>
              <p:cNvPr id="36" name="Rectangle 35">
                <a:extLst>
                  <a:ext uri="{FF2B5EF4-FFF2-40B4-BE49-F238E27FC236}">
                    <a16:creationId xmlns:a16="http://schemas.microsoft.com/office/drawing/2014/main" id="{AD2D2C92-2EB0-D842-80AE-BDB0B6BE7B3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7" name="TextBox 36">
                <a:extLst>
                  <a:ext uri="{FF2B5EF4-FFF2-40B4-BE49-F238E27FC236}">
                    <a16:creationId xmlns:a16="http://schemas.microsoft.com/office/drawing/2014/main" id="{78C5C3D8-B1F5-7049-B564-458BB9066277}"/>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38" name="Picture 37">
                <a:extLst>
                  <a:ext uri="{FF2B5EF4-FFF2-40B4-BE49-F238E27FC236}">
                    <a16:creationId xmlns:a16="http://schemas.microsoft.com/office/drawing/2014/main" id="{823A8AA4-5D28-EE4F-A6FA-701C10701D71}"/>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2" name="Group 1">
              <a:extLst>
                <a:ext uri="{FF2B5EF4-FFF2-40B4-BE49-F238E27FC236}">
                  <a16:creationId xmlns:a16="http://schemas.microsoft.com/office/drawing/2014/main" id="{5F14184C-17A3-1E43-9FDB-63D39103AC76}"/>
                </a:ext>
              </a:extLst>
            </p:cNvPr>
            <p:cNvGrpSpPr/>
            <p:nvPr userDrawn="1"/>
          </p:nvGrpSpPr>
          <p:grpSpPr>
            <a:xfrm>
              <a:off x="9521833" y="5769065"/>
              <a:ext cx="2676002" cy="1074276"/>
              <a:chOff x="9521833" y="2036288"/>
              <a:chExt cx="2676002" cy="1074276"/>
            </a:xfrm>
          </p:grpSpPr>
          <p:sp>
            <p:nvSpPr>
              <p:cNvPr id="14" name="TextBox 13">
                <a:extLst>
                  <a:ext uri="{FF2B5EF4-FFF2-40B4-BE49-F238E27FC236}">
                    <a16:creationId xmlns:a16="http://schemas.microsoft.com/office/drawing/2014/main" id="{79AE1D20-8CAB-A84B-93C0-DD3E85791803}"/>
                  </a:ext>
                </a:extLst>
              </p:cNvPr>
              <p:cNvSpPr txBox="1"/>
              <p:nvPr userDrawn="1"/>
            </p:nvSpPr>
            <p:spPr>
              <a:xfrm>
                <a:off x="9558507" y="2036288"/>
                <a:ext cx="99666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ADD A NEW CHART</a:t>
                </a:r>
              </a:p>
            </p:txBody>
          </p:sp>
          <p:cxnSp>
            <p:nvCxnSpPr>
              <p:cNvPr id="15" name="Straight Connector 14">
                <a:extLst>
                  <a:ext uri="{FF2B5EF4-FFF2-40B4-BE49-F238E27FC236}">
                    <a16:creationId xmlns:a16="http://schemas.microsoft.com/office/drawing/2014/main" id="{DF9304E6-DDDD-074C-9CA1-3FF397E8A438}"/>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7FD474BE-600B-C34D-BDE1-0491BC172E2E}"/>
                  </a:ext>
                </a:extLst>
              </p:cNvPr>
              <p:cNvGrpSpPr/>
              <p:nvPr userDrawn="1"/>
            </p:nvGrpSpPr>
            <p:grpSpPr>
              <a:xfrm>
                <a:off x="9521833" y="2361408"/>
                <a:ext cx="2557391" cy="323165"/>
                <a:chOff x="12352022" y="513115"/>
                <a:chExt cx="2557391" cy="323165"/>
              </a:xfrm>
            </p:grpSpPr>
            <p:sp>
              <p:nvSpPr>
                <p:cNvPr id="33" name="TextBox 32">
                  <a:extLst>
                    <a:ext uri="{FF2B5EF4-FFF2-40B4-BE49-F238E27FC236}">
                      <a16:creationId xmlns:a16="http://schemas.microsoft.com/office/drawing/2014/main" id="{0C88436B-93D8-554A-B5CD-918E7F26680E}"/>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5" name="TextBox 34">
                  <a:extLst>
                    <a:ext uri="{FF2B5EF4-FFF2-40B4-BE49-F238E27FC236}">
                      <a16:creationId xmlns:a16="http://schemas.microsoft.com/office/drawing/2014/main" id="{AEF79A20-3A24-A548-BB43-C0356B3E259D}"/>
                    </a:ext>
                  </a:extLst>
                </p:cNvPr>
                <p:cNvSpPr txBox="1"/>
                <p:nvPr userDrawn="1"/>
              </p:nvSpPr>
              <p:spPr>
                <a:xfrm>
                  <a:off x="12516615" y="513115"/>
                  <a:ext cx="2392798"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Open the </a:t>
                  </a:r>
                  <a:r>
                    <a:rPr lang="en-US" sz="1050" b="1" dirty="0"/>
                    <a:t>VEDP Template Assets file </a:t>
                  </a:r>
                  <a:r>
                    <a:rPr lang="en-US" sz="1050" dirty="0"/>
                    <a:t>and copy the desired chart type into your presentation.</a:t>
                  </a:r>
                </a:p>
              </p:txBody>
            </p:sp>
          </p:grpSp>
          <p:sp>
            <p:nvSpPr>
              <p:cNvPr id="19" name="TextBox 18">
                <a:extLst>
                  <a:ext uri="{FF2B5EF4-FFF2-40B4-BE49-F238E27FC236}">
                    <a16:creationId xmlns:a16="http://schemas.microsoft.com/office/drawing/2014/main" id="{0E8E16A0-1C23-7C47-A1F5-A2C39F078AEA}"/>
                  </a:ext>
                </a:extLst>
              </p:cNvPr>
              <p:cNvSpPr txBox="1"/>
              <p:nvPr userDrawn="1"/>
            </p:nvSpPr>
            <p:spPr>
              <a:xfrm>
                <a:off x="9686426" y="2895120"/>
                <a:ext cx="2120429"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20" name="TextBox 19">
              <a:extLst>
                <a:ext uri="{FF2B5EF4-FFF2-40B4-BE49-F238E27FC236}">
                  <a16:creationId xmlns:a16="http://schemas.microsoft.com/office/drawing/2014/main" id="{43CAB352-C374-234F-BB73-257B0657FFA7}"/>
                </a:ext>
              </a:extLst>
            </p:cNvPr>
            <p:cNvSpPr txBox="1"/>
            <p:nvPr userDrawn="1"/>
          </p:nvSpPr>
          <p:spPr>
            <a:xfrm>
              <a:off x="9558507" y="2034287"/>
              <a:ext cx="15424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FORMAT AN EXISTING CHART</a:t>
              </a:r>
            </a:p>
          </p:txBody>
        </p:sp>
        <p:cxnSp>
          <p:nvCxnSpPr>
            <p:cNvPr id="21" name="Straight Connector 20">
              <a:extLst>
                <a:ext uri="{FF2B5EF4-FFF2-40B4-BE49-F238E27FC236}">
                  <a16:creationId xmlns:a16="http://schemas.microsoft.com/office/drawing/2014/main" id="{C19D179F-1619-3041-9EA0-F999842F6701}"/>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B288DF0-7D33-E140-8D7C-8C53D4D2F2BD}"/>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23" name="TextBox 22">
              <a:extLst>
                <a:ext uri="{FF2B5EF4-FFF2-40B4-BE49-F238E27FC236}">
                  <a16:creationId xmlns:a16="http://schemas.microsoft.com/office/drawing/2014/main" id="{43AA5595-3102-C444-9F60-386BB986D435}"/>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24" name="TextBox 23">
              <a:extLst>
                <a:ext uri="{FF2B5EF4-FFF2-40B4-BE49-F238E27FC236}">
                  <a16:creationId xmlns:a16="http://schemas.microsoft.com/office/drawing/2014/main" id="{7012B9C1-AB90-A243-A8E5-BF0E3C62F730}"/>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the chart placeholder and then paste your existing chart.</a:t>
              </a:r>
            </a:p>
          </p:txBody>
        </p:sp>
        <p:sp>
          <p:nvSpPr>
            <p:cNvPr id="25" name="TextBox 24">
              <a:extLst>
                <a:ext uri="{FF2B5EF4-FFF2-40B4-BE49-F238E27FC236}">
                  <a16:creationId xmlns:a16="http://schemas.microsoft.com/office/drawing/2014/main" id="{232CD633-A48D-A745-9BD0-9E3BD2BB3D7B}"/>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Right-click on the chart and choose “Change Chart Type…”</a:t>
              </a:r>
            </a:p>
          </p:txBody>
        </p:sp>
        <p:sp>
          <p:nvSpPr>
            <p:cNvPr id="26" name="TextBox 25">
              <a:extLst>
                <a:ext uri="{FF2B5EF4-FFF2-40B4-BE49-F238E27FC236}">
                  <a16:creationId xmlns:a16="http://schemas.microsoft.com/office/drawing/2014/main" id="{20654DE4-AAA0-EA42-9B5D-4772B2BF09B0}"/>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27" name="TextBox 26">
              <a:extLst>
                <a:ext uri="{FF2B5EF4-FFF2-40B4-BE49-F238E27FC236}">
                  <a16:creationId xmlns:a16="http://schemas.microsoft.com/office/drawing/2014/main" id="{7DDF1272-B825-C44D-A05D-B7B4B9F4EE4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Choose one of the VEDP chart styles from the ‘Templates’ category.</a:t>
              </a:r>
            </a:p>
          </p:txBody>
        </p:sp>
        <p:sp>
          <p:nvSpPr>
            <p:cNvPr id="28" name="TextBox 27">
              <a:extLst>
                <a:ext uri="{FF2B5EF4-FFF2-40B4-BE49-F238E27FC236}">
                  <a16:creationId xmlns:a16="http://schemas.microsoft.com/office/drawing/2014/main" id="{C358145A-52DB-874A-A52C-73CB4F645F5D}"/>
                </a:ext>
              </a:extLst>
            </p:cNvPr>
            <p:cNvSpPr txBox="1"/>
            <p:nvPr userDrawn="1"/>
          </p:nvSpPr>
          <p:spPr>
            <a:xfrm>
              <a:off x="9674268" y="2722629"/>
              <a:ext cx="2297650"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30" name="Group 29">
              <a:extLst>
                <a:ext uri="{FF2B5EF4-FFF2-40B4-BE49-F238E27FC236}">
                  <a16:creationId xmlns:a16="http://schemas.microsoft.com/office/drawing/2014/main" id="{96FFEFAB-2135-954C-BE19-7078E19E9F13}"/>
                </a:ext>
              </a:extLst>
            </p:cNvPr>
            <p:cNvGrpSpPr/>
            <p:nvPr userDrawn="1"/>
          </p:nvGrpSpPr>
          <p:grpSpPr>
            <a:xfrm>
              <a:off x="9558507" y="1119891"/>
              <a:ext cx="2639328" cy="202617"/>
              <a:chOff x="9303325" y="149270"/>
              <a:chExt cx="2639328" cy="202617"/>
            </a:xfrm>
          </p:grpSpPr>
          <p:sp>
            <p:nvSpPr>
              <p:cNvPr id="31" name="TextBox 30">
                <a:extLst>
                  <a:ext uri="{FF2B5EF4-FFF2-40B4-BE49-F238E27FC236}">
                    <a16:creationId xmlns:a16="http://schemas.microsoft.com/office/drawing/2014/main" id="{18B4290E-B21A-F749-A231-9A6AC889777F}"/>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32" name="Straight Connector 31">
                <a:extLst>
                  <a:ext uri="{FF2B5EF4-FFF2-40B4-BE49-F238E27FC236}">
                    <a16:creationId xmlns:a16="http://schemas.microsoft.com/office/drawing/2014/main" id="{9FB79B68-3EBE-714A-B5BA-1F4586A34CDD}"/>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F646EFCF-19A2-C542-B0AF-E4058343FBE8}"/>
                </a:ext>
              </a:extLst>
            </p:cNvPr>
            <p:cNvGrpSpPr/>
            <p:nvPr userDrawn="1"/>
          </p:nvGrpSpPr>
          <p:grpSpPr>
            <a:xfrm>
              <a:off x="9541497" y="4046193"/>
              <a:ext cx="2735151" cy="1533198"/>
              <a:chOff x="9296567" y="4910412"/>
              <a:chExt cx="2735151" cy="1533198"/>
            </a:xfrm>
          </p:grpSpPr>
          <p:sp>
            <p:nvSpPr>
              <p:cNvPr id="40" name="Rectangle 39">
                <a:extLst>
                  <a:ext uri="{FF2B5EF4-FFF2-40B4-BE49-F238E27FC236}">
                    <a16:creationId xmlns:a16="http://schemas.microsoft.com/office/drawing/2014/main" id="{A9C96D50-537F-644A-B8A7-9E284B5D2CAF}"/>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1" name="TextBox 40">
                <a:extLst>
                  <a:ext uri="{FF2B5EF4-FFF2-40B4-BE49-F238E27FC236}">
                    <a16:creationId xmlns:a16="http://schemas.microsoft.com/office/drawing/2014/main" id="{60BEC074-7574-D843-A815-FDC7A3F8DE1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42" name="Graphic 41">
                <a:extLst>
                  <a:ext uri="{FF2B5EF4-FFF2-40B4-BE49-F238E27FC236}">
                    <a16:creationId xmlns:a16="http://schemas.microsoft.com/office/drawing/2014/main" id="{6206800A-4989-A74C-8790-A0DBC0071B0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43" name="TextBox 42">
                <a:extLst>
                  <a:ext uri="{FF2B5EF4-FFF2-40B4-BE49-F238E27FC236}">
                    <a16:creationId xmlns:a16="http://schemas.microsoft.com/office/drawing/2014/main" id="{652EE101-17F5-7E45-B4FB-A67BC514186C}"/>
                  </a:ext>
                </a:extLst>
              </p:cNvPr>
              <p:cNvSpPr txBox="1"/>
              <p:nvPr userDrawn="1"/>
            </p:nvSpPr>
            <p:spPr>
              <a:xfrm>
                <a:off x="9471805" y="5300350"/>
                <a:ext cx="2399065" cy="10207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dirty="0"/>
                  <a:t>In case of error, return legend entries, data labels, and/or chart formatting by re-applying the current VEDP chart style template.</a:t>
                </a:r>
              </a:p>
              <a:p>
                <a:pPr lvl="1"/>
                <a:r>
                  <a:rPr lang="en-US" sz="900" dirty="0"/>
                  <a:t>Right-click the chart and choose</a:t>
                </a:r>
                <a:br>
                  <a:rPr lang="en-US" sz="900" dirty="0"/>
                </a:br>
                <a:r>
                  <a:rPr lang="en-US" sz="900" dirty="0"/>
                  <a:t>“Change Chart Type”</a:t>
                </a:r>
              </a:p>
              <a:p>
                <a:pPr lvl="1"/>
                <a:r>
                  <a:rPr lang="en-US" sz="900" dirty="0"/>
                  <a:t>Then choose the matching VEDP chart style from the ‘Templates’ category.</a:t>
                </a:r>
              </a:p>
            </p:txBody>
          </p:sp>
        </p:grpSp>
      </p:grpSp>
      <p:sp>
        <p:nvSpPr>
          <p:cNvPr id="7" name="Date Placeholder 6">
            <a:extLst>
              <a:ext uri="{FF2B5EF4-FFF2-40B4-BE49-F238E27FC236}">
                <a16:creationId xmlns:a16="http://schemas.microsoft.com/office/drawing/2014/main" id="{36C2C27D-9DE3-5A46-AF41-ABB478805204}"/>
              </a:ext>
            </a:extLst>
          </p:cNvPr>
          <p:cNvSpPr>
            <a:spLocks noGrp="1"/>
          </p:cNvSpPr>
          <p:nvPr userDrawn="1">
            <p:ph type="dt" sz="half" idx="114"/>
          </p:nvPr>
        </p:nvSpPr>
        <p:spPr/>
        <p:txBody>
          <a:bodyPr/>
          <a:lstStyle/>
          <a:p>
            <a:endParaRPr lang="en-US" dirty="0"/>
          </a:p>
        </p:txBody>
      </p:sp>
      <p:sp>
        <p:nvSpPr>
          <p:cNvPr id="8" name="Footer Placeholder 7">
            <a:extLst>
              <a:ext uri="{FF2B5EF4-FFF2-40B4-BE49-F238E27FC236}">
                <a16:creationId xmlns:a16="http://schemas.microsoft.com/office/drawing/2014/main" id="{D9636EAF-4BEC-1741-AAE3-F6127A0777EA}"/>
              </a:ext>
            </a:extLst>
          </p:cNvPr>
          <p:cNvSpPr>
            <a:spLocks noGrp="1"/>
          </p:cNvSpPr>
          <p:nvPr userDrawn="1">
            <p:ph type="ftr" sz="quarter" idx="115"/>
          </p:nvPr>
        </p:nvSpPr>
        <p:spPr/>
        <p:txBody>
          <a:bodyPr/>
          <a:lstStyle/>
          <a:p>
            <a:endParaRPr lang="en-US" dirty="0"/>
          </a:p>
        </p:txBody>
      </p:sp>
      <p:sp>
        <p:nvSpPr>
          <p:cNvPr id="12" name="Slide Number Placeholder 11">
            <a:extLst>
              <a:ext uri="{FF2B5EF4-FFF2-40B4-BE49-F238E27FC236}">
                <a16:creationId xmlns:a16="http://schemas.microsoft.com/office/drawing/2014/main" id="{8CFEAC8D-B87E-434B-B0C2-7C4783B1F6D9}"/>
              </a:ext>
            </a:extLst>
          </p:cNvPr>
          <p:cNvSpPr>
            <a:spLocks noGrp="1"/>
          </p:cNvSpPr>
          <p:nvPr userDrawn="1">
            <p:ph type="sldNum" sz="quarter" idx="116"/>
          </p:nvPr>
        </p:nvSpPr>
        <p:spPr/>
        <p:txBody>
          <a:bodyPr/>
          <a:lstStyle/>
          <a:p>
            <a:pPr marL="12700"/>
            <a:fld id="{078C017C-E1B9-8443-B047-B08AAA027B45}" type="slidenum">
              <a:rPr lang="en-US" smtClean="0"/>
              <a:pPr marL="12700"/>
              <a:t>‹#›</a:t>
            </a:fld>
            <a:endParaRPr lang="en-US" dirty="0"/>
          </a:p>
        </p:txBody>
      </p:sp>
    </p:spTree>
    <p:extLst>
      <p:ext uri="{BB962C8B-B14F-4D97-AF65-F5344CB8AC3E}">
        <p14:creationId xmlns:p14="http://schemas.microsoft.com/office/powerpoint/2010/main" val="185676716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wo Content (1/3 Lef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575709" y="1233489"/>
            <a:ext cx="3499195"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4425630" y="1233489"/>
            <a:ext cx="7190637"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62E1D57E-789F-C049-AE21-2FFE596AF372}"/>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F52187D9-7A64-FD43-ADB5-4358998A306C}"/>
              </a:ext>
            </a:extLst>
          </p:cNvPr>
          <p:cNvSpPr>
            <a:spLocks noGrp="1"/>
          </p:cNvSpPr>
          <p:nvPr>
            <p:ph type="dt" sz="half" idx="106"/>
          </p:nvPr>
        </p:nvSpPr>
        <p:spPr/>
        <p:txBody>
          <a:bodyPr/>
          <a:lstStyle/>
          <a:p>
            <a:endParaRPr lang="en-US"/>
          </a:p>
        </p:txBody>
      </p:sp>
      <p:sp>
        <p:nvSpPr>
          <p:cNvPr id="7" name="Footer Placeholder 6">
            <a:extLst>
              <a:ext uri="{FF2B5EF4-FFF2-40B4-BE49-F238E27FC236}">
                <a16:creationId xmlns:a16="http://schemas.microsoft.com/office/drawing/2014/main" id="{48C3426B-A824-D843-A346-B1AED40F1EE6}"/>
              </a:ext>
            </a:extLst>
          </p:cNvPr>
          <p:cNvSpPr>
            <a:spLocks noGrp="1"/>
          </p:cNvSpPr>
          <p:nvPr>
            <p:ph type="ftr" sz="quarter" idx="107"/>
          </p:nvPr>
        </p:nvSpPr>
        <p:spPr/>
        <p:txBody>
          <a:bodyPr/>
          <a:lstStyle/>
          <a:p>
            <a:endParaRPr lang="en-US"/>
          </a:p>
        </p:txBody>
      </p:sp>
      <p:sp>
        <p:nvSpPr>
          <p:cNvPr id="8" name="Slide Number Placeholder 7">
            <a:extLst>
              <a:ext uri="{FF2B5EF4-FFF2-40B4-BE49-F238E27FC236}">
                <a16:creationId xmlns:a16="http://schemas.microsoft.com/office/drawing/2014/main" id="{B9EF4742-1840-4A4C-9C79-0ABDE7122DD2}"/>
              </a:ext>
            </a:extLst>
          </p:cNvPr>
          <p:cNvSpPr>
            <a:spLocks noGrp="1"/>
          </p:cNvSpPr>
          <p:nvPr>
            <p:ph type="sldNum" sz="quarter" idx="108"/>
          </p:nvPr>
        </p:nvSpPr>
        <p:spPr/>
        <p:txBody>
          <a:bodyPr/>
          <a:lstStyle/>
          <a:p>
            <a:pPr marL="12700"/>
            <a:fld id="{078C017C-E1B9-8443-B047-B08AAA027B45}" type="slidenum">
              <a:rPr lang="en-US" smtClean="0"/>
              <a:pPr marL="12700"/>
              <a:t>‹#›</a:t>
            </a:fld>
            <a:endParaRPr lang="en-US"/>
          </a:p>
        </p:txBody>
      </p:sp>
      <p:grpSp>
        <p:nvGrpSpPr>
          <p:cNvPr id="57" name="Group 56">
            <a:extLst>
              <a:ext uri="{FF2B5EF4-FFF2-40B4-BE49-F238E27FC236}">
                <a16:creationId xmlns:a16="http://schemas.microsoft.com/office/drawing/2014/main" id="{56DDE4BE-E6C7-294C-974E-D2E73CE4267F}"/>
              </a:ext>
            </a:extLst>
          </p:cNvPr>
          <p:cNvGrpSpPr/>
          <p:nvPr userDrawn="1"/>
        </p:nvGrpSpPr>
        <p:grpSpPr>
          <a:xfrm>
            <a:off x="12532243" y="1"/>
            <a:ext cx="2997567" cy="6857995"/>
            <a:chOff x="9399182" y="0"/>
            <a:chExt cx="2974470" cy="6857995"/>
          </a:xfrm>
        </p:grpSpPr>
        <p:sp>
          <p:nvSpPr>
            <p:cNvPr id="58" name="Rectangle 57">
              <a:extLst>
                <a:ext uri="{FF2B5EF4-FFF2-40B4-BE49-F238E27FC236}">
                  <a16:creationId xmlns:a16="http://schemas.microsoft.com/office/drawing/2014/main" id="{FB5C66AC-68F1-1A4D-9971-8AEB1C96E285}"/>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59" name="Picture 58">
              <a:extLst>
                <a:ext uri="{FF2B5EF4-FFF2-40B4-BE49-F238E27FC236}">
                  <a16:creationId xmlns:a16="http://schemas.microsoft.com/office/drawing/2014/main" id="{8C1DD337-87AB-D94A-9630-7998232321BE}"/>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0" name="Group 59">
              <a:extLst>
                <a:ext uri="{FF2B5EF4-FFF2-40B4-BE49-F238E27FC236}">
                  <a16:creationId xmlns:a16="http://schemas.microsoft.com/office/drawing/2014/main" id="{87BC89B8-73E4-544F-8F0F-1C8BEA9263C1}"/>
                </a:ext>
              </a:extLst>
            </p:cNvPr>
            <p:cNvGrpSpPr/>
            <p:nvPr userDrawn="1"/>
          </p:nvGrpSpPr>
          <p:grpSpPr>
            <a:xfrm>
              <a:off x="9541497" y="162442"/>
              <a:ext cx="2819400" cy="814510"/>
              <a:chOff x="-3644733" y="165205"/>
              <a:chExt cx="2819400" cy="814510"/>
            </a:xfrm>
          </p:grpSpPr>
          <p:sp>
            <p:nvSpPr>
              <p:cNvPr id="100" name="Rectangle 99">
                <a:extLst>
                  <a:ext uri="{FF2B5EF4-FFF2-40B4-BE49-F238E27FC236}">
                    <a16:creationId xmlns:a16="http://schemas.microsoft.com/office/drawing/2014/main" id="{0461B071-9F6D-F240-824E-E065BAE51C0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01" name="TextBox 100">
                <a:extLst>
                  <a:ext uri="{FF2B5EF4-FFF2-40B4-BE49-F238E27FC236}">
                    <a16:creationId xmlns:a16="http://schemas.microsoft.com/office/drawing/2014/main" id="{A2FE9D2F-63A9-2546-806A-44BB4068272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02" name="Picture 101">
                <a:extLst>
                  <a:ext uri="{FF2B5EF4-FFF2-40B4-BE49-F238E27FC236}">
                    <a16:creationId xmlns:a16="http://schemas.microsoft.com/office/drawing/2014/main" id="{26544348-3F51-614C-9B16-80D38C2D3C6A}"/>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1" name="Group 60">
              <a:extLst>
                <a:ext uri="{FF2B5EF4-FFF2-40B4-BE49-F238E27FC236}">
                  <a16:creationId xmlns:a16="http://schemas.microsoft.com/office/drawing/2014/main" id="{89214FC1-F4EA-1045-8912-C6677DE653F0}"/>
                </a:ext>
              </a:extLst>
            </p:cNvPr>
            <p:cNvGrpSpPr/>
            <p:nvPr userDrawn="1"/>
          </p:nvGrpSpPr>
          <p:grpSpPr>
            <a:xfrm>
              <a:off x="9558507" y="1119891"/>
              <a:ext cx="2639328" cy="202617"/>
              <a:chOff x="9303325" y="149270"/>
              <a:chExt cx="2639328" cy="202617"/>
            </a:xfrm>
          </p:grpSpPr>
          <p:sp>
            <p:nvSpPr>
              <p:cNvPr id="98" name="TextBox 97">
                <a:extLst>
                  <a:ext uri="{FF2B5EF4-FFF2-40B4-BE49-F238E27FC236}">
                    <a16:creationId xmlns:a16="http://schemas.microsoft.com/office/drawing/2014/main" id="{51B2AE36-7B43-974D-B1D3-390FE20F58EF}"/>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99" name="Straight Connector 98">
                <a:extLst>
                  <a:ext uri="{FF2B5EF4-FFF2-40B4-BE49-F238E27FC236}">
                    <a16:creationId xmlns:a16="http://schemas.microsoft.com/office/drawing/2014/main" id="{FFF54B5E-5745-A64C-8C77-6E68463F35AB}"/>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C1D1981A-23CE-664B-AF9C-22C6AD6DCF0E}"/>
                </a:ext>
              </a:extLst>
            </p:cNvPr>
            <p:cNvGrpSpPr/>
            <p:nvPr userDrawn="1"/>
          </p:nvGrpSpPr>
          <p:grpSpPr>
            <a:xfrm>
              <a:off x="9554253" y="3678850"/>
              <a:ext cx="2735151" cy="2655095"/>
              <a:chOff x="9541497" y="2555080"/>
              <a:chExt cx="2735151" cy="2655095"/>
            </a:xfrm>
          </p:grpSpPr>
          <p:grpSp>
            <p:nvGrpSpPr>
              <p:cNvPr id="75" name="Group 74">
                <a:extLst>
                  <a:ext uri="{FF2B5EF4-FFF2-40B4-BE49-F238E27FC236}">
                    <a16:creationId xmlns:a16="http://schemas.microsoft.com/office/drawing/2014/main" id="{BEDE1FCA-5C0F-1647-BDBE-885672CA89A5}"/>
                  </a:ext>
                </a:extLst>
              </p:cNvPr>
              <p:cNvGrpSpPr/>
              <p:nvPr userDrawn="1"/>
            </p:nvGrpSpPr>
            <p:grpSpPr>
              <a:xfrm>
                <a:off x="9541497" y="2555080"/>
                <a:ext cx="2735151" cy="2655095"/>
                <a:chOff x="9296567" y="4910411"/>
                <a:chExt cx="2735151" cy="2655095"/>
              </a:xfrm>
            </p:grpSpPr>
            <p:sp>
              <p:nvSpPr>
                <p:cNvPr id="82" name="Rectangle 81">
                  <a:extLst>
                    <a:ext uri="{FF2B5EF4-FFF2-40B4-BE49-F238E27FC236}">
                      <a16:creationId xmlns:a16="http://schemas.microsoft.com/office/drawing/2014/main" id="{55836052-15AD-0241-BD82-6BA02AB0EB15}"/>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95" name="TextBox 94">
                  <a:extLst>
                    <a:ext uri="{FF2B5EF4-FFF2-40B4-BE49-F238E27FC236}">
                      <a16:creationId xmlns:a16="http://schemas.microsoft.com/office/drawing/2014/main" id="{1FF59886-5C65-B642-B5D5-7F9B59E11E4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Automatic paragraph spacing</a:t>
                  </a:r>
                </a:p>
              </p:txBody>
            </p:sp>
            <p:pic>
              <p:nvPicPr>
                <p:cNvPr id="96" name="Graphic 95">
                  <a:extLst>
                    <a:ext uri="{FF2B5EF4-FFF2-40B4-BE49-F238E27FC236}">
                      <a16:creationId xmlns:a16="http://schemas.microsoft.com/office/drawing/2014/main" id="{1E6D7C90-4CD2-2043-A207-C09C7D64A81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97" name="TextBox 96">
                  <a:extLst>
                    <a:ext uri="{FF2B5EF4-FFF2-40B4-BE49-F238E27FC236}">
                      <a16:creationId xmlns:a16="http://schemas.microsoft.com/office/drawing/2014/main" id="{7D5C6207-5827-3043-9F4B-529E7CDFAE82}"/>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a:t>This template automatically adds paragraph spacing between first-level text paragraphs. When pasting in content, remember to delete any extra blank lines from your text.</a:t>
                  </a:r>
                </a:p>
              </p:txBody>
            </p:sp>
          </p:grpSp>
          <p:grpSp>
            <p:nvGrpSpPr>
              <p:cNvPr id="76" name="Group 75">
                <a:extLst>
                  <a:ext uri="{FF2B5EF4-FFF2-40B4-BE49-F238E27FC236}">
                    <a16:creationId xmlns:a16="http://schemas.microsoft.com/office/drawing/2014/main" id="{88F7C83D-96F7-3640-8209-C9E5683A5E2D}"/>
                  </a:ext>
                </a:extLst>
              </p:cNvPr>
              <p:cNvGrpSpPr/>
              <p:nvPr userDrawn="1"/>
            </p:nvGrpSpPr>
            <p:grpSpPr>
              <a:xfrm>
                <a:off x="9832250" y="3569700"/>
                <a:ext cx="2074000" cy="1627918"/>
                <a:chOff x="9832250" y="3617325"/>
                <a:chExt cx="2074000" cy="1627918"/>
              </a:xfrm>
            </p:grpSpPr>
            <p:pic>
              <p:nvPicPr>
                <p:cNvPr id="77" name="Picture 76">
                  <a:extLst>
                    <a:ext uri="{FF2B5EF4-FFF2-40B4-BE49-F238E27FC236}">
                      <a16:creationId xmlns:a16="http://schemas.microsoft.com/office/drawing/2014/main" id="{A0C6CEA8-7517-634A-9052-C77413AE7385}"/>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78" name="Straight Connector 77">
                  <a:extLst>
                    <a:ext uri="{FF2B5EF4-FFF2-40B4-BE49-F238E27FC236}">
                      <a16:creationId xmlns:a16="http://schemas.microsoft.com/office/drawing/2014/main" id="{0222698D-32E4-1A4B-B47E-5695C1768FC0}"/>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28097BB5-9E9F-A442-AFC9-6E57D90B1936}"/>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3FB4D877-1496-E645-BA75-C332C364CB13}"/>
                    </a:ext>
                  </a:extLst>
                </p:cNvPr>
                <p:cNvSpPr txBox="1"/>
                <p:nvPr userDrawn="1"/>
              </p:nvSpPr>
              <p:spPr>
                <a:xfrm>
                  <a:off x="9832250" y="3828243"/>
                  <a:ext cx="257282" cy="184666"/>
                </a:xfrm>
                <a:prstGeom prst="rect">
                  <a:avLst/>
                </a:prstGeom>
              </p:spPr>
              <p:txBody>
                <a:bodyPr vert="horz" wrap="none" lIns="0" tIns="0" rIns="0" bIns="0" rtlCol="0" anchor="t">
                  <a:spAutoFit/>
                </a:bodyPr>
                <a:lstStyle/>
                <a:p>
                  <a:pPr algn="r"/>
                  <a:r>
                    <a:rPr lang="en-US" sz="600">
                      <a:solidFill>
                        <a:schemeClr val="tx1">
                          <a:lumMod val="50000"/>
                          <a:lumOff val="50000"/>
                        </a:schemeClr>
                      </a:solidFill>
                      <a:latin typeface="Arial" charset="0"/>
                      <a:ea typeface="Arial" charset="0"/>
                      <a:cs typeface="Arial" charset="0"/>
                    </a:rPr>
                    <a:t>Automatic</a:t>
                  </a:r>
                  <a:br>
                    <a:rPr lang="en-US" sz="600">
                      <a:solidFill>
                        <a:schemeClr val="tx1">
                          <a:lumMod val="50000"/>
                          <a:lumOff val="50000"/>
                        </a:schemeClr>
                      </a:solidFill>
                      <a:latin typeface="Arial" charset="0"/>
                      <a:ea typeface="Arial" charset="0"/>
                      <a:cs typeface="Arial" charset="0"/>
                    </a:rPr>
                  </a:br>
                  <a:r>
                    <a:rPr lang="en-US" sz="600">
                      <a:solidFill>
                        <a:schemeClr val="tx1">
                          <a:lumMod val="50000"/>
                          <a:lumOff val="50000"/>
                        </a:schemeClr>
                      </a:solidFill>
                      <a:latin typeface="Arial" charset="0"/>
                      <a:ea typeface="Arial" charset="0"/>
                      <a:cs typeface="Arial" charset="0"/>
                    </a:rPr>
                    <a:t>space</a:t>
                  </a:r>
                </a:p>
              </p:txBody>
            </p:sp>
            <p:sp>
              <p:nvSpPr>
                <p:cNvPr id="81" name="TextBox 80">
                  <a:extLst>
                    <a:ext uri="{FF2B5EF4-FFF2-40B4-BE49-F238E27FC236}">
                      <a16:creationId xmlns:a16="http://schemas.microsoft.com/office/drawing/2014/main" id="{C58B3B3A-B9F8-6740-AE72-76D0BA34C566}"/>
                    </a:ext>
                  </a:extLst>
                </p:cNvPr>
                <p:cNvSpPr txBox="1"/>
                <p:nvPr userDrawn="1"/>
              </p:nvSpPr>
              <p:spPr>
                <a:xfrm>
                  <a:off x="9832250" y="4721742"/>
                  <a:ext cx="257282" cy="184666"/>
                </a:xfrm>
                <a:prstGeom prst="rect">
                  <a:avLst/>
                </a:prstGeom>
              </p:spPr>
              <p:txBody>
                <a:bodyPr vert="horz" wrap="none" lIns="0" tIns="0" rIns="0" bIns="0" rtlCol="0" anchor="t">
                  <a:spAutoFit/>
                </a:bodyPr>
                <a:lstStyle/>
                <a:p>
                  <a:pPr algn="r"/>
                  <a:r>
                    <a:rPr lang="en-US" sz="600">
                      <a:solidFill>
                        <a:schemeClr val="tx1">
                          <a:lumMod val="50000"/>
                          <a:lumOff val="50000"/>
                        </a:schemeClr>
                      </a:solidFill>
                      <a:latin typeface="Arial" charset="0"/>
                      <a:ea typeface="Arial" charset="0"/>
                      <a:cs typeface="Arial" charset="0"/>
                    </a:rPr>
                    <a:t>Automatic</a:t>
                  </a:r>
                  <a:br>
                    <a:rPr lang="en-US" sz="600">
                      <a:solidFill>
                        <a:schemeClr val="tx1">
                          <a:lumMod val="50000"/>
                          <a:lumOff val="50000"/>
                        </a:schemeClr>
                      </a:solidFill>
                      <a:latin typeface="Arial" charset="0"/>
                      <a:ea typeface="Arial" charset="0"/>
                      <a:cs typeface="Arial" charset="0"/>
                    </a:rPr>
                  </a:br>
                  <a:r>
                    <a:rPr lang="en-US" sz="600">
                      <a:solidFill>
                        <a:schemeClr val="tx1">
                          <a:lumMod val="50000"/>
                          <a:lumOff val="50000"/>
                        </a:schemeClr>
                      </a:solidFill>
                      <a:latin typeface="Arial" charset="0"/>
                      <a:ea typeface="Arial" charset="0"/>
                      <a:cs typeface="Arial" charset="0"/>
                    </a:rPr>
                    <a:t>space</a:t>
                  </a:r>
                </a:p>
              </p:txBody>
            </p:sp>
          </p:grpSp>
        </p:grpSp>
        <p:grpSp>
          <p:nvGrpSpPr>
            <p:cNvPr id="63" name="Group 62">
              <a:extLst>
                <a:ext uri="{FF2B5EF4-FFF2-40B4-BE49-F238E27FC236}">
                  <a16:creationId xmlns:a16="http://schemas.microsoft.com/office/drawing/2014/main" id="{DA79E258-A24D-3942-9267-86B72EE66FF6}"/>
                </a:ext>
              </a:extLst>
            </p:cNvPr>
            <p:cNvGrpSpPr/>
            <p:nvPr userDrawn="1"/>
          </p:nvGrpSpPr>
          <p:grpSpPr>
            <a:xfrm>
              <a:off x="9558506" y="2409506"/>
              <a:ext cx="2639327" cy="684608"/>
              <a:chOff x="9558506" y="2476806"/>
              <a:chExt cx="2639327" cy="684608"/>
            </a:xfrm>
          </p:grpSpPr>
          <p:pic>
            <p:nvPicPr>
              <p:cNvPr id="72" name="Picture 71">
                <a:extLst>
                  <a:ext uri="{FF2B5EF4-FFF2-40B4-BE49-F238E27FC236}">
                    <a16:creationId xmlns:a16="http://schemas.microsoft.com/office/drawing/2014/main" id="{6CB99622-F152-3E4A-A43A-1312D6360742}"/>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73" name="Rectangle 72">
                <a:extLst>
                  <a:ext uri="{FF2B5EF4-FFF2-40B4-BE49-F238E27FC236}">
                    <a16:creationId xmlns:a16="http://schemas.microsoft.com/office/drawing/2014/main" id="{04168C71-9B93-2C47-9CAB-EECCC8896479}"/>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4" name="TextBox 73">
                <a:extLst>
                  <a:ext uri="{FF2B5EF4-FFF2-40B4-BE49-F238E27FC236}">
                    <a16:creationId xmlns:a16="http://schemas.microsoft.com/office/drawing/2014/main" id="{A2E5222C-CC48-6D4A-8EDB-2E338E8D1419}"/>
                  </a:ext>
                </a:extLst>
              </p:cNvPr>
              <p:cNvSpPr txBox="1"/>
              <p:nvPr userDrawn="1"/>
            </p:nvSpPr>
            <p:spPr>
              <a:xfrm>
                <a:off x="9635558" y="2549805"/>
                <a:ext cx="676269" cy="430887"/>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a:solidFill>
                      <a:schemeClr val="bg1"/>
                    </a:solidFill>
                    <a:latin typeface="+mn-lt"/>
                    <a:ea typeface="+mn-ea"/>
                    <a:cs typeface="+mn-cs"/>
                  </a:rPr>
                  <a:t>Note: </a:t>
                </a:r>
                <a:br>
                  <a:rPr lang="en-US" sz="700" kern="1200">
                    <a:solidFill>
                      <a:schemeClr val="bg1"/>
                    </a:solidFill>
                    <a:latin typeface="+mn-lt"/>
                    <a:ea typeface="+mn-ea"/>
                    <a:cs typeface="+mn-cs"/>
                  </a:rPr>
                </a:br>
                <a:r>
                  <a:rPr lang="en-US" sz="700" kern="1200">
                    <a:solidFill>
                      <a:schemeClr val="bg1"/>
                    </a:solidFill>
                    <a:latin typeface="+mn-lt"/>
                    <a:ea typeface="+mn-ea"/>
                    <a:cs typeface="+mn-cs"/>
                  </a:rPr>
                  <a:t>For numbered lists, see the most up-to-date Asset File.</a:t>
                </a:r>
              </a:p>
            </p:txBody>
          </p:sp>
        </p:grpSp>
        <p:grpSp>
          <p:nvGrpSpPr>
            <p:cNvPr id="64" name="Group 63">
              <a:extLst>
                <a:ext uri="{FF2B5EF4-FFF2-40B4-BE49-F238E27FC236}">
                  <a16:creationId xmlns:a16="http://schemas.microsoft.com/office/drawing/2014/main" id="{29E86AE7-C4BB-0643-96CE-4AFA087FD32E}"/>
                </a:ext>
              </a:extLst>
            </p:cNvPr>
            <p:cNvGrpSpPr/>
            <p:nvPr userDrawn="1"/>
          </p:nvGrpSpPr>
          <p:grpSpPr>
            <a:xfrm>
              <a:off x="9554253" y="2414886"/>
              <a:ext cx="2819399" cy="1181890"/>
              <a:chOff x="9541498" y="3352649"/>
              <a:chExt cx="2819399" cy="1181890"/>
            </a:xfrm>
          </p:grpSpPr>
          <p:grpSp>
            <p:nvGrpSpPr>
              <p:cNvPr id="65" name="Group 64">
                <a:extLst>
                  <a:ext uri="{FF2B5EF4-FFF2-40B4-BE49-F238E27FC236}">
                    <a16:creationId xmlns:a16="http://schemas.microsoft.com/office/drawing/2014/main" id="{3E590D8C-A052-5C4C-8C2D-5C7499F41A04}"/>
                  </a:ext>
                </a:extLst>
              </p:cNvPr>
              <p:cNvGrpSpPr/>
              <p:nvPr userDrawn="1"/>
            </p:nvGrpSpPr>
            <p:grpSpPr>
              <a:xfrm>
                <a:off x="9541498" y="3352649"/>
                <a:ext cx="2735150" cy="1181890"/>
                <a:chOff x="9541498" y="3751132"/>
                <a:chExt cx="2735150" cy="1181890"/>
              </a:xfrm>
            </p:grpSpPr>
            <p:grpSp>
              <p:nvGrpSpPr>
                <p:cNvPr id="67" name="Group 66">
                  <a:extLst>
                    <a:ext uri="{FF2B5EF4-FFF2-40B4-BE49-F238E27FC236}">
                      <a16:creationId xmlns:a16="http://schemas.microsoft.com/office/drawing/2014/main" id="{4E80DDF8-BCD1-774A-AAE5-0ED2F35BE2BA}"/>
                    </a:ext>
                  </a:extLst>
                </p:cNvPr>
                <p:cNvGrpSpPr/>
                <p:nvPr userDrawn="1"/>
              </p:nvGrpSpPr>
              <p:grpSpPr>
                <a:xfrm>
                  <a:off x="9541498" y="3751132"/>
                  <a:ext cx="2735150" cy="1181890"/>
                  <a:chOff x="9296568" y="4910411"/>
                  <a:chExt cx="2735150" cy="1181890"/>
                </a:xfrm>
              </p:grpSpPr>
              <p:sp>
                <p:nvSpPr>
                  <p:cNvPr id="69" name="Rectangle 68">
                    <a:extLst>
                      <a:ext uri="{FF2B5EF4-FFF2-40B4-BE49-F238E27FC236}">
                        <a16:creationId xmlns:a16="http://schemas.microsoft.com/office/drawing/2014/main" id="{93B292BD-CC17-754B-A4D8-6E095C87221D}"/>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0" name="TextBox 69">
                    <a:extLst>
                      <a:ext uri="{FF2B5EF4-FFF2-40B4-BE49-F238E27FC236}">
                        <a16:creationId xmlns:a16="http://schemas.microsoft.com/office/drawing/2014/main" id="{562061FD-8B64-994B-949A-6309C24FB5D4}"/>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71" name="TextBox 70">
                    <a:extLst>
                      <a:ext uri="{FF2B5EF4-FFF2-40B4-BE49-F238E27FC236}">
                        <a16:creationId xmlns:a16="http://schemas.microsoft.com/office/drawing/2014/main" id="{F4DE5E88-C4D1-324F-BAF0-18604FD756E0}"/>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8" name="Graphic 67">
                  <a:extLst>
                    <a:ext uri="{FF2B5EF4-FFF2-40B4-BE49-F238E27FC236}">
                      <a16:creationId xmlns:a16="http://schemas.microsoft.com/office/drawing/2014/main" id="{343A07A1-EE59-4F46-9044-0216520E46D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66" name="Picture 65">
                <a:extLst>
                  <a:ext uri="{FF2B5EF4-FFF2-40B4-BE49-F238E27FC236}">
                    <a16:creationId xmlns:a16="http://schemas.microsoft.com/office/drawing/2014/main" id="{D47F2597-617D-824C-B27A-C4393F7A589D}"/>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78137397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575733" y="1735138"/>
            <a:ext cx="5344584" cy="4430712"/>
          </a:xfrm>
        </p:spPr>
        <p:txBody>
          <a:bodyPr/>
          <a:lstStyle>
            <a:lvl1pPr>
              <a:defRPr b="0">
                <a:solidFill>
                  <a:schemeClr val="tx1">
                    <a:lumMod val="50000"/>
                    <a:lumOff val="50000"/>
                  </a:schemeClr>
                </a:solidFill>
              </a:defRPr>
            </a:lvl1pPr>
          </a:lstStyle>
          <a:p>
            <a:r>
              <a:rPr lang="en-US"/>
              <a:t>Click icon to add chart</a:t>
            </a:r>
            <a:endParaRPr lang="en-US" dirty="0"/>
          </a:p>
        </p:txBody>
      </p:sp>
      <p:sp>
        <p:nvSpPr>
          <p:cNvPr id="17" name="Chart Placeholder 2">
            <a:extLst>
              <a:ext uri="{FF2B5EF4-FFF2-40B4-BE49-F238E27FC236}">
                <a16:creationId xmlns:a16="http://schemas.microsoft.com/office/drawing/2014/main" id="{F6E3593A-EC32-4649-9755-E1EA347597A8}"/>
              </a:ext>
            </a:extLst>
          </p:cNvPr>
          <p:cNvSpPr>
            <a:spLocks noGrp="1"/>
          </p:cNvSpPr>
          <p:nvPr>
            <p:ph type="chart" sz="quarter" idx="114"/>
          </p:nvPr>
        </p:nvSpPr>
        <p:spPr>
          <a:xfrm>
            <a:off x="6265208" y="1735138"/>
            <a:ext cx="5344584" cy="4430712"/>
          </a:xfrm>
        </p:spPr>
        <p:txBody>
          <a:bodyPr/>
          <a:lstStyle>
            <a:lvl1pPr>
              <a:defRPr b="0">
                <a:solidFill>
                  <a:schemeClr val="tx1">
                    <a:lumMod val="50000"/>
                    <a:lumOff val="50000"/>
                  </a:schemeClr>
                </a:solidFill>
              </a:defRPr>
            </a:lvl1pPr>
          </a:lstStyle>
          <a:p>
            <a:r>
              <a:rPr lang="en-US"/>
              <a:t>Click icon to add chart</a:t>
            </a:r>
            <a:endParaRPr lang="en-US" dirty="0"/>
          </a:p>
        </p:txBody>
      </p:sp>
      <p:sp>
        <p:nvSpPr>
          <p:cNvPr id="1000" name="Footnotes Placeholder">
            <a:extLst>
              <a:ext uri="{FF2B5EF4-FFF2-40B4-BE49-F238E27FC236}">
                <a16:creationId xmlns:a16="http://schemas.microsoft.com/office/drawing/2014/main" id="{4A426F11-55A1-3946-8771-D8A379B5AD5E}"/>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43" name="Text Placeholder 6">
            <a:extLst>
              <a:ext uri="{FF2B5EF4-FFF2-40B4-BE49-F238E27FC236}">
                <a16:creationId xmlns:a16="http://schemas.microsoft.com/office/drawing/2014/main" id="{7892DA04-F4A9-2044-B9E5-08BCF7318160}"/>
              </a:ext>
            </a:extLst>
          </p:cNvPr>
          <p:cNvSpPr>
            <a:spLocks noGrp="1"/>
          </p:cNvSpPr>
          <p:nvPr>
            <p:ph type="body" sz="quarter" idx="108" hasCustomPrompt="1"/>
          </p:nvPr>
        </p:nvSpPr>
        <p:spPr>
          <a:xfrm>
            <a:off x="575734"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dirty="0"/>
              <a:t>Click to add chart title</a:t>
            </a:r>
          </a:p>
          <a:p>
            <a:pPr lvl="1"/>
            <a:r>
              <a:rPr lang="en-US" dirty="0"/>
              <a:t>Chart subtitle (second level)</a:t>
            </a:r>
          </a:p>
        </p:txBody>
      </p:sp>
      <p:sp>
        <p:nvSpPr>
          <p:cNvPr id="44" name="Text Placeholder 6">
            <a:extLst>
              <a:ext uri="{FF2B5EF4-FFF2-40B4-BE49-F238E27FC236}">
                <a16:creationId xmlns:a16="http://schemas.microsoft.com/office/drawing/2014/main" id="{FC379CB5-F96A-5A41-ABCB-0A7229FB2403}"/>
              </a:ext>
            </a:extLst>
          </p:cNvPr>
          <p:cNvSpPr>
            <a:spLocks noGrp="1"/>
          </p:cNvSpPr>
          <p:nvPr>
            <p:ph type="body" sz="quarter" idx="115" hasCustomPrompt="1"/>
          </p:nvPr>
        </p:nvSpPr>
        <p:spPr>
          <a:xfrm>
            <a:off x="6265209"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dirty="0"/>
              <a:t>Click to add chart title</a:t>
            </a:r>
          </a:p>
          <a:p>
            <a:pPr lvl="1"/>
            <a:r>
              <a:rPr lang="en-US" dirty="0"/>
              <a:t>Chart subtitle (second level)</a:t>
            </a:r>
          </a:p>
        </p:txBody>
      </p:sp>
      <p:sp>
        <p:nvSpPr>
          <p:cNvPr id="6" name="Date Placeholder 5">
            <a:extLst>
              <a:ext uri="{FF2B5EF4-FFF2-40B4-BE49-F238E27FC236}">
                <a16:creationId xmlns:a16="http://schemas.microsoft.com/office/drawing/2014/main" id="{F379AB29-F3FD-6B4D-AB9C-5B22D89A0EA3}"/>
              </a:ext>
            </a:extLst>
          </p:cNvPr>
          <p:cNvSpPr>
            <a:spLocks noGrp="1"/>
          </p:cNvSpPr>
          <p:nvPr>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998E7724-1686-F747-8D1B-1AB14F556771}"/>
              </a:ext>
            </a:extLst>
          </p:cNvPr>
          <p:cNvSpPr>
            <a:spLocks noGrp="1"/>
          </p:cNvSpPr>
          <p:nvPr>
            <p:ph type="ftr" sz="quarter" idx="117"/>
          </p:nvPr>
        </p:nvSpPr>
        <p:spPr/>
        <p:txBody>
          <a:bodyPr/>
          <a:lstStyle/>
          <a:p>
            <a:endParaRPr lang="en-US" dirty="0"/>
          </a:p>
        </p:txBody>
      </p:sp>
      <p:sp>
        <p:nvSpPr>
          <p:cNvPr id="8" name="Slide Number Placeholder 7">
            <a:extLst>
              <a:ext uri="{FF2B5EF4-FFF2-40B4-BE49-F238E27FC236}">
                <a16:creationId xmlns:a16="http://schemas.microsoft.com/office/drawing/2014/main" id="{67560BD8-BC0B-DB45-8951-391197B87781}"/>
              </a:ext>
            </a:extLst>
          </p:cNvPr>
          <p:cNvSpPr>
            <a:spLocks noGrp="1"/>
          </p:cNvSpPr>
          <p:nvPr>
            <p:ph type="sldNum" sz="quarter" idx="118"/>
          </p:nvPr>
        </p:nvSpPr>
        <p:spPr/>
        <p:txBody>
          <a:bodyPr/>
          <a:lstStyle/>
          <a:p>
            <a:pPr marL="12700"/>
            <a:fld id="{078C017C-E1B9-8443-B047-B08AAA027B45}" type="slidenum">
              <a:rPr lang="en-US" smtClean="0"/>
              <a:pPr marL="12700"/>
              <a:t>‹#›</a:t>
            </a:fld>
            <a:endParaRPr lang="en-US" dirty="0"/>
          </a:p>
        </p:txBody>
      </p:sp>
      <p:grpSp>
        <p:nvGrpSpPr>
          <p:cNvPr id="107" name="Group 106">
            <a:extLst>
              <a:ext uri="{FF2B5EF4-FFF2-40B4-BE49-F238E27FC236}">
                <a16:creationId xmlns:a16="http://schemas.microsoft.com/office/drawing/2014/main" id="{C83CDE6E-B074-0A42-80BB-4939BB56DB50}"/>
              </a:ext>
            </a:extLst>
          </p:cNvPr>
          <p:cNvGrpSpPr/>
          <p:nvPr userDrawn="1"/>
        </p:nvGrpSpPr>
        <p:grpSpPr>
          <a:xfrm>
            <a:off x="12532244" y="-1"/>
            <a:ext cx="3948953" cy="6989737"/>
            <a:chOff x="9399182" y="-1"/>
            <a:chExt cx="2961715" cy="6989737"/>
          </a:xfrm>
        </p:grpSpPr>
        <p:sp>
          <p:nvSpPr>
            <p:cNvPr id="108" name="Rectangle 107">
              <a:extLst>
                <a:ext uri="{FF2B5EF4-FFF2-40B4-BE49-F238E27FC236}">
                  <a16:creationId xmlns:a16="http://schemas.microsoft.com/office/drawing/2014/main" id="{4021C5A3-7B0D-1847-9EF9-A3705154127E}"/>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109" name="Picture 108">
              <a:extLst>
                <a:ext uri="{FF2B5EF4-FFF2-40B4-BE49-F238E27FC236}">
                  <a16:creationId xmlns:a16="http://schemas.microsoft.com/office/drawing/2014/main" id="{8379DC2B-3092-1142-97A8-452B83E9EEE5}"/>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10" name="Group 109">
              <a:extLst>
                <a:ext uri="{FF2B5EF4-FFF2-40B4-BE49-F238E27FC236}">
                  <a16:creationId xmlns:a16="http://schemas.microsoft.com/office/drawing/2014/main" id="{1013161E-A1C5-5749-9CE3-F720067C884E}"/>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6E6A25D8-1BC5-9B4C-8FA6-899B48E1D1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6" name="TextBox 135">
                <a:extLst>
                  <a:ext uri="{FF2B5EF4-FFF2-40B4-BE49-F238E27FC236}">
                    <a16:creationId xmlns:a16="http://schemas.microsoft.com/office/drawing/2014/main" id="{DE1EA92A-DBC7-B749-9767-E7B2D5BD99C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F3C81943-C1E3-344C-9C89-756433C45B2E}"/>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11" name="Group 110">
              <a:extLst>
                <a:ext uri="{FF2B5EF4-FFF2-40B4-BE49-F238E27FC236}">
                  <a16:creationId xmlns:a16="http://schemas.microsoft.com/office/drawing/2014/main" id="{15CE3F5C-AE46-334A-898C-C2B42488CBAF}"/>
                </a:ext>
              </a:extLst>
            </p:cNvPr>
            <p:cNvGrpSpPr/>
            <p:nvPr userDrawn="1"/>
          </p:nvGrpSpPr>
          <p:grpSpPr>
            <a:xfrm>
              <a:off x="9521833" y="5769065"/>
              <a:ext cx="2676002" cy="1074276"/>
              <a:chOff x="9521833" y="2036288"/>
              <a:chExt cx="2676002" cy="1074276"/>
            </a:xfrm>
          </p:grpSpPr>
          <p:sp>
            <p:nvSpPr>
              <p:cNvPr id="129" name="TextBox 128">
                <a:extLst>
                  <a:ext uri="{FF2B5EF4-FFF2-40B4-BE49-F238E27FC236}">
                    <a16:creationId xmlns:a16="http://schemas.microsoft.com/office/drawing/2014/main" id="{EA92E2AA-DFD9-5A4F-AB03-5A37B9AECDF8}"/>
                  </a:ext>
                </a:extLst>
              </p:cNvPr>
              <p:cNvSpPr txBox="1"/>
              <p:nvPr userDrawn="1"/>
            </p:nvSpPr>
            <p:spPr>
              <a:xfrm>
                <a:off x="9558507" y="2036288"/>
                <a:ext cx="99666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ADD A NEW CHART</a:t>
                </a:r>
              </a:p>
            </p:txBody>
          </p:sp>
          <p:cxnSp>
            <p:nvCxnSpPr>
              <p:cNvPr id="130" name="Straight Connector 129">
                <a:extLst>
                  <a:ext uri="{FF2B5EF4-FFF2-40B4-BE49-F238E27FC236}">
                    <a16:creationId xmlns:a16="http://schemas.microsoft.com/office/drawing/2014/main" id="{6DEBF951-684E-EF4C-AD44-7EE3A3D737A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B7170F64-401B-944F-BE85-D64B70491AD1}"/>
                  </a:ext>
                </a:extLst>
              </p:cNvPr>
              <p:cNvGrpSpPr/>
              <p:nvPr userDrawn="1"/>
            </p:nvGrpSpPr>
            <p:grpSpPr>
              <a:xfrm>
                <a:off x="9521833" y="2361408"/>
                <a:ext cx="2557391" cy="323165"/>
                <a:chOff x="12352022" y="513115"/>
                <a:chExt cx="2557391" cy="323165"/>
              </a:xfrm>
            </p:grpSpPr>
            <p:sp>
              <p:nvSpPr>
                <p:cNvPr id="133" name="TextBox 132">
                  <a:extLst>
                    <a:ext uri="{FF2B5EF4-FFF2-40B4-BE49-F238E27FC236}">
                      <a16:creationId xmlns:a16="http://schemas.microsoft.com/office/drawing/2014/main" id="{C6F193A3-7D39-1C40-9C0D-B981EB53025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4" name="TextBox 133">
                  <a:extLst>
                    <a:ext uri="{FF2B5EF4-FFF2-40B4-BE49-F238E27FC236}">
                      <a16:creationId xmlns:a16="http://schemas.microsoft.com/office/drawing/2014/main" id="{C7940ED9-915B-9248-BA2F-A342231D2934}"/>
                    </a:ext>
                  </a:extLst>
                </p:cNvPr>
                <p:cNvSpPr txBox="1"/>
                <p:nvPr userDrawn="1"/>
              </p:nvSpPr>
              <p:spPr>
                <a:xfrm>
                  <a:off x="12516615" y="513115"/>
                  <a:ext cx="2392798"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Open the </a:t>
                  </a:r>
                  <a:r>
                    <a:rPr lang="en-US" sz="1050" b="1" dirty="0"/>
                    <a:t>VEDP Template Assets file </a:t>
                  </a:r>
                  <a:r>
                    <a:rPr lang="en-US" sz="1050" dirty="0"/>
                    <a:t>and copy the desired chart type into your presentation.</a:t>
                  </a:r>
                </a:p>
              </p:txBody>
            </p:sp>
          </p:grpSp>
          <p:sp>
            <p:nvSpPr>
              <p:cNvPr id="132" name="TextBox 131">
                <a:extLst>
                  <a:ext uri="{FF2B5EF4-FFF2-40B4-BE49-F238E27FC236}">
                    <a16:creationId xmlns:a16="http://schemas.microsoft.com/office/drawing/2014/main" id="{A80FD326-85FF-264F-97DA-05F43B20FA05}"/>
                  </a:ext>
                </a:extLst>
              </p:cNvPr>
              <p:cNvSpPr txBox="1"/>
              <p:nvPr userDrawn="1"/>
            </p:nvSpPr>
            <p:spPr>
              <a:xfrm>
                <a:off x="9686426" y="2895120"/>
                <a:ext cx="2120429"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112" name="TextBox 111">
              <a:extLst>
                <a:ext uri="{FF2B5EF4-FFF2-40B4-BE49-F238E27FC236}">
                  <a16:creationId xmlns:a16="http://schemas.microsoft.com/office/drawing/2014/main" id="{643017B9-5EB5-3C43-964D-F8B34AE37A52}"/>
                </a:ext>
              </a:extLst>
            </p:cNvPr>
            <p:cNvSpPr txBox="1"/>
            <p:nvPr userDrawn="1"/>
          </p:nvSpPr>
          <p:spPr>
            <a:xfrm>
              <a:off x="9558507" y="2034287"/>
              <a:ext cx="15424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FORMAT AN EXISTING CHART</a:t>
              </a:r>
            </a:p>
          </p:txBody>
        </p:sp>
        <p:cxnSp>
          <p:nvCxnSpPr>
            <p:cNvPr id="113" name="Straight Connector 112">
              <a:extLst>
                <a:ext uri="{FF2B5EF4-FFF2-40B4-BE49-F238E27FC236}">
                  <a16:creationId xmlns:a16="http://schemas.microsoft.com/office/drawing/2014/main" id="{E5A28B81-D028-A442-A2BB-C885D0421BAF}"/>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BC6B2BDC-1C6B-FF49-886E-34C4A1F31A1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15" name="TextBox 114">
              <a:extLst>
                <a:ext uri="{FF2B5EF4-FFF2-40B4-BE49-F238E27FC236}">
                  <a16:creationId xmlns:a16="http://schemas.microsoft.com/office/drawing/2014/main" id="{386F9AE4-1003-E841-B986-2DFA8186BE2A}"/>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16" name="TextBox 115">
              <a:extLst>
                <a:ext uri="{FF2B5EF4-FFF2-40B4-BE49-F238E27FC236}">
                  <a16:creationId xmlns:a16="http://schemas.microsoft.com/office/drawing/2014/main" id="{81D4359D-396D-B047-8048-C51D25FF5FA9}"/>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the chart placeholder and then paste your existing chart.</a:t>
              </a:r>
            </a:p>
          </p:txBody>
        </p:sp>
        <p:sp>
          <p:nvSpPr>
            <p:cNvPr id="117" name="TextBox 116">
              <a:extLst>
                <a:ext uri="{FF2B5EF4-FFF2-40B4-BE49-F238E27FC236}">
                  <a16:creationId xmlns:a16="http://schemas.microsoft.com/office/drawing/2014/main" id="{F595C52D-E737-B648-97C4-D0EEE4002727}"/>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Right-click on the chart and choose “Change Chart Type…”</a:t>
              </a:r>
            </a:p>
          </p:txBody>
        </p:sp>
        <p:sp>
          <p:nvSpPr>
            <p:cNvPr id="118" name="TextBox 117">
              <a:extLst>
                <a:ext uri="{FF2B5EF4-FFF2-40B4-BE49-F238E27FC236}">
                  <a16:creationId xmlns:a16="http://schemas.microsoft.com/office/drawing/2014/main" id="{A9B4217E-F58C-E841-B458-5948479DD205}"/>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19" name="TextBox 118">
              <a:extLst>
                <a:ext uri="{FF2B5EF4-FFF2-40B4-BE49-F238E27FC236}">
                  <a16:creationId xmlns:a16="http://schemas.microsoft.com/office/drawing/2014/main" id="{BFF5E862-5288-9E4B-88AE-8C1A9F99201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Choose one of the VEDP chart styles from the ‘Templates’ category.</a:t>
              </a:r>
            </a:p>
          </p:txBody>
        </p:sp>
        <p:sp>
          <p:nvSpPr>
            <p:cNvPr id="120" name="TextBox 119">
              <a:extLst>
                <a:ext uri="{FF2B5EF4-FFF2-40B4-BE49-F238E27FC236}">
                  <a16:creationId xmlns:a16="http://schemas.microsoft.com/office/drawing/2014/main" id="{12A69AE4-A4C6-4F4C-A368-8510B3FA8B6B}"/>
                </a:ext>
              </a:extLst>
            </p:cNvPr>
            <p:cNvSpPr txBox="1"/>
            <p:nvPr userDrawn="1"/>
          </p:nvSpPr>
          <p:spPr>
            <a:xfrm>
              <a:off x="9674268" y="2722629"/>
              <a:ext cx="2297650"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121" name="Group 120">
              <a:extLst>
                <a:ext uri="{FF2B5EF4-FFF2-40B4-BE49-F238E27FC236}">
                  <a16:creationId xmlns:a16="http://schemas.microsoft.com/office/drawing/2014/main" id="{D3A6EECD-3549-904A-A40E-911DC97AF001}"/>
                </a:ext>
              </a:extLst>
            </p:cNvPr>
            <p:cNvGrpSpPr/>
            <p:nvPr userDrawn="1"/>
          </p:nvGrpSpPr>
          <p:grpSpPr>
            <a:xfrm>
              <a:off x="9558507" y="1119891"/>
              <a:ext cx="2639328" cy="202617"/>
              <a:chOff x="9303325" y="149270"/>
              <a:chExt cx="2639328" cy="202617"/>
            </a:xfrm>
          </p:grpSpPr>
          <p:sp>
            <p:nvSpPr>
              <p:cNvPr id="127" name="TextBox 126">
                <a:extLst>
                  <a:ext uri="{FF2B5EF4-FFF2-40B4-BE49-F238E27FC236}">
                    <a16:creationId xmlns:a16="http://schemas.microsoft.com/office/drawing/2014/main" id="{F72EE2BF-96DA-ED48-A29C-73A7C7A51107}"/>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128" name="Straight Connector 127">
                <a:extLst>
                  <a:ext uri="{FF2B5EF4-FFF2-40B4-BE49-F238E27FC236}">
                    <a16:creationId xmlns:a16="http://schemas.microsoft.com/office/drawing/2014/main" id="{D92BD20A-0C8C-E14A-BB7D-7F4DA53A033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2" name="Group 121">
              <a:extLst>
                <a:ext uri="{FF2B5EF4-FFF2-40B4-BE49-F238E27FC236}">
                  <a16:creationId xmlns:a16="http://schemas.microsoft.com/office/drawing/2014/main" id="{CB984C52-4124-AA4D-8458-190AC08BEB6E}"/>
                </a:ext>
              </a:extLst>
            </p:cNvPr>
            <p:cNvGrpSpPr/>
            <p:nvPr userDrawn="1"/>
          </p:nvGrpSpPr>
          <p:grpSpPr>
            <a:xfrm>
              <a:off x="9541497" y="4046193"/>
              <a:ext cx="2735151" cy="1533198"/>
              <a:chOff x="9296567" y="4910412"/>
              <a:chExt cx="2735151" cy="1533198"/>
            </a:xfrm>
          </p:grpSpPr>
          <p:sp>
            <p:nvSpPr>
              <p:cNvPr id="123" name="Rectangle 122">
                <a:extLst>
                  <a:ext uri="{FF2B5EF4-FFF2-40B4-BE49-F238E27FC236}">
                    <a16:creationId xmlns:a16="http://schemas.microsoft.com/office/drawing/2014/main" id="{18659A9D-C0B3-654D-927A-38F08EBCB65C}"/>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4" name="TextBox 123">
                <a:extLst>
                  <a:ext uri="{FF2B5EF4-FFF2-40B4-BE49-F238E27FC236}">
                    <a16:creationId xmlns:a16="http://schemas.microsoft.com/office/drawing/2014/main" id="{9935FD93-FA7C-9049-9D3B-CB3B8CD860B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125" name="Graphic 124">
                <a:extLst>
                  <a:ext uri="{FF2B5EF4-FFF2-40B4-BE49-F238E27FC236}">
                    <a16:creationId xmlns:a16="http://schemas.microsoft.com/office/drawing/2014/main" id="{69667A08-748B-D846-BF72-062D307D126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6" name="TextBox 125">
                <a:extLst>
                  <a:ext uri="{FF2B5EF4-FFF2-40B4-BE49-F238E27FC236}">
                    <a16:creationId xmlns:a16="http://schemas.microsoft.com/office/drawing/2014/main" id="{AF22BED9-0030-8546-AC2B-0DC1FA590F5F}"/>
                  </a:ext>
                </a:extLst>
              </p:cNvPr>
              <p:cNvSpPr txBox="1"/>
              <p:nvPr userDrawn="1"/>
            </p:nvSpPr>
            <p:spPr>
              <a:xfrm>
                <a:off x="9471805" y="5300350"/>
                <a:ext cx="2399065" cy="10207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dirty="0"/>
                  <a:t>In case of error, return legend entries, data labels, and/or chart formatting by re-applying the current VEDP chart style template.</a:t>
                </a:r>
              </a:p>
              <a:p>
                <a:pPr lvl="1"/>
                <a:r>
                  <a:rPr lang="en-US" sz="900" dirty="0"/>
                  <a:t>Right-click the chart and choose</a:t>
                </a:r>
                <a:br>
                  <a:rPr lang="en-US" sz="900" dirty="0"/>
                </a:br>
                <a:r>
                  <a:rPr lang="en-US" sz="900" dirty="0"/>
                  <a:t>“Change Chart Type”</a:t>
                </a:r>
              </a:p>
              <a:p>
                <a:pPr lvl="1"/>
                <a:r>
                  <a:rPr lang="en-US" sz="900" dirty="0"/>
                  <a:t>Then choose the matching VEDP chart style from the ‘Templates’ category.</a:t>
                </a:r>
              </a:p>
            </p:txBody>
          </p:sp>
        </p:grpSp>
      </p:grpSp>
    </p:spTree>
    <p:extLst>
      <p:ext uri="{BB962C8B-B14F-4D97-AF65-F5344CB8AC3E}">
        <p14:creationId xmlns:p14="http://schemas.microsoft.com/office/powerpoint/2010/main" val="229612750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wo Charts (Stacke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000" name="Footnotes Placeholder">
            <a:extLst>
              <a:ext uri="{FF2B5EF4-FFF2-40B4-BE49-F238E27FC236}">
                <a16:creationId xmlns:a16="http://schemas.microsoft.com/office/drawing/2014/main" id="{05CE940C-B9F2-AE42-819B-CF829A76DEFF}"/>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7" name="Date Placeholder 6">
            <a:extLst>
              <a:ext uri="{FF2B5EF4-FFF2-40B4-BE49-F238E27FC236}">
                <a16:creationId xmlns:a16="http://schemas.microsoft.com/office/drawing/2014/main" id="{19ACEBCC-F393-B646-82A5-B2CB75AA4689}"/>
              </a:ext>
            </a:extLst>
          </p:cNvPr>
          <p:cNvSpPr>
            <a:spLocks noGrp="1"/>
          </p:cNvSpPr>
          <p:nvPr>
            <p:ph type="dt" sz="half" idx="112"/>
          </p:nvPr>
        </p:nvSpPr>
        <p:spPr/>
        <p:txBody>
          <a:bodyPr/>
          <a:lstStyle/>
          <a:p>
            <a:endParaRPr lang="en-US" dirty="0"/>
          </a:p>
        </p:txBody>
      </p:sp>
      <p:sp>
        <p:nvSpPr>
          <p:cNvPr id="8" name="Footer Placeholder 7">
            <a:extLst>
              <a:ext uri="{FF2B5EF4-FFF2-40B4-BE49-F238E27FC236}">
                <a16:creationId xmlns:a16="http://schemas.microsoft.com/office/drawing/2014/main" id="{1129D6A6-E10B-9246-864B-9C137DCA8D15}"/>
              </a:ext>
            </a:extLst>
          </p:cNvPr>
          <p:cNvSpPr>
            <a:spLocks noGrp="1"/>
          </p:cNvSpPr>
          <p:nvPr>
            <p:ph type="ftr" sz="quarter" idx="113"/>
          </p:nvPr>
        </p:nvSpPr>
        <p:spPr/>
        <p:txBody>
          <a:bodyPr/>
          <a:lstStyle/>
          <a:p>
            <a:endParaRPr lang="en-US" dirty="0"/>
          </a:p>
        </p:txBody>
      </p:sp>
      <p:sp>
        <p:nvSpPr>
          <p:cNvPr id="12" name="Slide Number Placeholder 11">
            <a:extLst>
              <a:ext uri="{FF2B5EF4-FFF2-40B4-BE49-F238E27FC236}">
                <a16:creationId xmlns:a16="http://schemas.microsoft.com/office/drawing/2014/main" id="{07196862-C66B-EC4D-B2F4-A198A28BFE69}"/>
              </a:ext>
            </a:extLst>
          </p:cNvPr>
          <p:cNvSpPr>
            <a:spLocks noGrp="1"/>
          </p:cNvSpPr>
          <p:nvPr>
            <p:ph type="sldNum" sz="quarter" idx="114"/>
          </p:nvPr>
        </p:nvSpPr>
        <p:spPr/>
        <p:txBody>
          <a:bodyPr/>
          <a:lstStyle/>
          <a:p>
            <a:pPr marL="12700"/>
            <a:fld id="{078C017C-E1B9-8443-B047-B08AAA027B45}" type="slidenum">
              <a:rPr lang="en-US" smtClean="0"/>
              <a:pPr marL="12700"/>
              <a:t>‹#›</a:t>
            </a:fld>
            <a:endParaRPr lang="en-US" dirty="0"/>
          </a:p>
        </p:txBody>
      </p:sp>
      <p:sp>
        <p:nvSpPr>
          <p:cNvPr id="49" name="Chart Placeholder 2">
            <a:extLst>
              <a:ext uri="{FF2B5EF4-FFF2-40B4-BE49-F238E27FC236}">
                <a16:creationId xmlns:a16="http://schemas.microsoft.com/office/drawing/2014/main" id="{A9C63DCB-B05D-3A42-BAE8-C09F0F94245E}"/>
              </a:ext>
            </a:extLst>
          </p:cNvPr>
          <p:cNvSpPr>
            <a:spLocks noGrp="1"/>
          </p:cNvSpPr>
          <p:nvPr>
            <p:ph type="chart" sz="quarter" idx="115"/>
          </p:nvPr>
        </p:nvSpPr>
        <p:spPr>
          <a:xfrm>
            <a:off x="575733" y="1735138"/>
            <a:ext cx="11040532" cy="1903758"/>
          </a:xfrm>
        </p:spPr>
        <p:txBody>
          <a:bodyPr/>
          <a:lstStyle>
            <a:lvl1pPr>
              <a:defRPr b="0">
                <a:solidFill>
                  <a:schemeClr val="tx1">
                    <a:lumMod val="50000"/>
                    <a:lumOff val="50000"/>
                  </a:schemeClr>
                </a:solidFill>
              </a:defRPr>
            </a:lvl1pPr>
          </a:lstStyle>
          <a:p>
            <a:r>
              <a:rPr lang="en-US"/>
              <a:t>Click icon to add chart</a:t>
            </a:r>
            <a:endParaRPr lang="en-US" dirty="0"/>
          </a:p>
        </p:txBody>
      </p:sp>
      <p:sp>
        <p:nvSpPr>
          <p:cNvPr id="50" name="Text Placeholder 6">
            <a:extLst>
              <a:ext uri="{FF2B5EF4-FFF2-40B4-BE49-F238E27FC236}">
                <a16:creationId xmlns:a16="http://schemas.microsoft.com/office/drawing/2014/main" id="{22872042-8EC0-0742-9EC9-C351856408B1}"/>
              </a:ext>
            </a:extLst>
          </p:cNvPr>
          <p:cNvSpPr>
            <a:spLocks noGrp="1"/>
          </p:cNvSpPr>
          <p:nvPr>
            <p:ph type="body" sz="quarter" idx="108" hasCustomPrompt="1"/>
          </p:nvPr>
        </p:nvSpPr>
        <p:spPr>
          <a:xfrm>
            <a:off x="575734"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dirty="0"/>
              <a:t>Click to add chart title</a:t>
            </a:r>
          </a:p>
          <a:p>
            <a:pPr lvl="1"/>
            <a:r>
              <a:rPr lang="en-US" dirty="0"/>
              <a:t>Chart subtitle (second level)</a:t>
            </a:r>
          </a:p>
        </p:txBody>
      </p:sp>
      <p:sp>
        <p:nvSpPr>
          <p:cNvPr id="51" name="Chart Placeholder 2">
            <a:extLst>
              <a:ext uri="{FF2B5EF4-FFF2-40B4-BE49-F238E27FC236}">
                <a16:creationId xmlns:a16="http://schemas.microsoft.com/office/drawing/2014/main" id="{F07CF72C-8DD7-B04A-9188-E17B7FF52CC5}"/>
              </a:ext>
            </a:extLst>
          </p:cNvPr>
          <p:cNvSpPr>
            <a:spLocks noGrp="1"/>
          </p:cNvSpPr>
          <p:nvPr>
            <p:ph type="chart" sz="quarter" idx="116"/>
          </p:nvPr>
        </p:nvSpPr>
        <p:spPr>
          <a:xfrm>
            <a:off x="575733" y="4262092"/>
            <a:ext cx="11040532" cy="1903758"/>
          </a:xfrm>
        </p:spPr>
        <p:txBody>
          <a:bodyPr/>
          <a:lstStyle>
            <a:lvl1pPr>
              <a:defRPr b="0">
                <a:solidFill>
                  <a:schemeClr val="tx1">
                    <a:lumMod val="50000"/>
                    <a:lumOff val="50000"/>
                  </a:schemeClr>
                </a:solidFill>
              </a:defRPr>
            </a:lvl1pPr>
          </a:lstStyle>
          <a:p>
            <a:r>
              <a:rPr lang="en-US"/>
              <a:t>Click icon to add chart</a:t>
            </a:r>
            <a:endParaRPr lang="en-US" dirty="0"/>
          </a:p>
        </p:txBody>
      </p:sp>
      <p:sp>
        <p:nvSpPr>
          <p:cNvPr id="52" name="Text Placeholder 6">
            <a:extLst>
              <a:ext uri="{FF2B5EF4-FFF2-40B4-BE49-F238E27FC236}">
                <a16:creationId xmlns:a16="http://schemas.microsoft.com/office/drawing/2014/main" id="{7C154E4E-8AF7-F747-B52D-D450E0D64EE6}"/>
              </a:ext>
            </a:extLst>
          </p:cNvPr>
          <p:cNvSpPr>
            <a:spLocks noGrp="1"/>
          </p:cNvSpPr>
          <p:nvPr>
            <p:ph type="body" sz="quarter" idx="117" hasCustomPrompt="1"/>
          </p:nvPr>
        </p:nvSpPr>
        <p:spPr>
          <a:xfrm>
            <a:off x="575734" y="3751272"/>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dirty="0"/>
              <a:t>Click to add chart title</a:t>
            </a:r>
          </a:p>
          <a:p>
            <a:pPr lvl="1"/>
            <a:r>
              <a:rPr lang="en-US" dirty="0"/>
              <a:t>Chart subtitle (second level)</a:t>
            </a:r>
          </a:p>
        </p:txBody>
      </p:sp>
      <p:grpSp>
        <p:nvGrpSpPr>
          <p:cNvPr id="136" name="Group 135">
            <a:extLst>
              <a:ext uri="{FF2B5EF4-FFF2-40B4-BE49-F238E27FC236}">
                <a16:creationId xmlns:a16="http://schemas.microsoft.com/office/drawing/2014/main" id="{FF45F03E-B96D-DA46-93C2-135BEC126798}"/>
              </a:ext>
            </a:extLst>
          </p:cNvPr>
          <p:cNvGrpSpPr/>
          <p:nvPr userDrawn="1"/>
        </p:nvGrpSpPr>
        <p:grpSpPr>
          <a:xfrm>
            <a:off x="12532244" y="-1"/>
            <a:ext cx="3948953" cy="6989737"/>
            <a:chOff x="9399182" y="-1"/>
            <a:chExt cx="2961715" cy="6989737"/>
          </a:xfrm>
        </p:grpSpPr>
        <p:sp>
          <p:nvSpPr>
            <p:cNvPr id="137" name="Rectangle 136">
              <a:extLst>
                <a:ext uri="{FF2B5EF4-FFF2-40B4-BE49-F238E27FC236}">
                  <a16:creationId xmlns:a16="http://schemas.microsoft.com/office/drawing/2014/main" id="{F1AF54F3-DBB0-5A45-A53B-FDDFA3C6506A}"/>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138" name="Picture 137">
              <a:extLst>
                <a:ext uri="{FF2B5EF4-FFF2-40B4-BE49-F238E27FC236}">
                  <a16:creationId xmlns:a16="http://schemas.microsoft.com/office/drawing/2014/main" id="{504C2EE4-E1B1-A944-9395-2937A1F0585B}"/>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39" name="Group 138">
              <a:extLst>
                <a:ext uri="{FF2B5EF4-FFF2-40B4-BE49-F238E27FC236}">
                  <a16:creationId xmlns:a16="http://schemas.microsoft.com/office/drawing/2014/main" id="{891C199A-F431-4E48-87CD-C7E705D50D0A}"/>
                </a:ext>
              </a:extLst>
            </p:cNvPr>
            <p:cNvGrpSpPr/>
            <p:nvPr userDrawn="1"/>
          </p:nvGrpSpPr>
          <p:grpSpPr>
            <a:xfrm>
              <a:off x="9541497" y="162442"/>
              <a:ext cx="2819400" cy="814510"/>
              <a:chOff x="-3644733" y="165205"/>
              <a:chExt cx="2819400" cy="814510"/>
            </a:xfrm>
          </p:grpSpPr>
          <p:sp>
            <p:nvSpPr>
              <p:cNvPr id="164" name="Rectangle 163">
                <a:extLst>
                  <a:ext uri="{FF2B5EF4-FFF2-40B4-BE49-F238E27FC236}">
                    <a16:creationId xmlns:a16="http://schemas.microsoft.com/office/drawing/2014/main" id="{FD84C77A-8CD3-0944-9FF3-231D5B2738E5}"/>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5" name="TextBox 164">
                <a:extLst>
                  <a:ext uri="{FF2B5EF4-FFF2-40B4-BE49-F238E27FC236}">
                    <a16:creationId xmlns:a16="http://schemas.microsoft.com/office/drawing/2014/main" id="{96BD3459-C26E-DE41-81BE-87277B7FDDE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66" name="Picture 165">
                <a:extLst>
                  <a:ext uri="{FF2B5EF4-FFF2-40B4-BE49-F238E27FC236}">
                    <a16:creationId xmlns:a16="http://schemas.microsoft.com/office/drawing/2014/main" id="{202313DD-B5E9-E64C-BEE6-3CD600BBB16B}"/>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40" name="Group 139">
              <a:extLst>
                <a:ext uri="{FF2B5EF4-FFF2-40B4-BE49-F238E27FC236}">
                  <a16:creationId xmlns:a16="http://schemas.microsoft.com/office/drawing/2014/main" id="{063D59E6-CF04-E946-8759-26CCF7BDDA32}"/>
                </a:ext>
              </a:extLst>
            </p:cNvPr>
            <p:cNvGrpSpPr/>
            <p:nvPr userDrawn="1"/>
          </p:nvGrpSpPr>
          <p:grpSpPr>
            <a:xfrm>
              <a:off x="9521833" y="5769065"/>
              <a:ext cx="2676002" cy="1074276"/>
              <a:chOff x="9521833" y="2036288"/>
              <a:chExt cx="2676002" cy="1074276"/>
            </a:xfrm>
          </p:grpSpPr>
          <p:sp>
            <p:nvSpPr>
              <p:cNvPr id="158" name="TextBox 157">
                <a:extLst>
                  <a:ext uri="{FF2B5EF4-FFF2-40B4-BE49-F238E27FC236}">
                    <a16:creationId xmlns:a16="http://schemas.microsoft.com/office/drawing/2014/main" id="{77DEAB84-5DD6-A74D-A64B-E11CE07988F5}"/>
                  </a:ext>
                </a:extLst>
              </p:cNvPr>
              <p:cNvSpPr txBox="1"/>
              <p:nvPr userDrawn="1"/>
            </p:nvSpPr>
            <p:spPr>
              <a:xfrm>
                <a:off x="9558507" y="2036288"/>
                <a:ext cx="99666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ADD A NEW CHART</a:t>
                </a:r>
              </a:p>
            </p:txBody>
          </p:sp>
          <p:cxnSp>
            <p:nvCxnSpPr>
              <p:cNvPr id="159" name="Straight Connector 158">
                <a:extLst>
                  <a:ext uri="{FF2B5EF4-FFF2-40B4-BE49-F238E27FC236}">
                    <a16:creationId xmlns:a16="http://schemas.microsoft.com/office/drawing/2014/main" id="{412CE4C5-C331-484D-A266-9A6522ACED70}"/>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60" name="Group 159">
                <a:extLst>
                  <a:ext uri="{FF2B5EF4-FFF2-40B4-BE49-F238E27FC236}">
                    <a16:creationId xmlns:a16="http://schemas.microsoft.com/office/drawing/2014/main" id="{52A2B73E-C3A6-FD40-B1FA-0CDAC93E0949}"/>
                  </a:ext>
                </a:extLst>
              </p:cNvPr>
              <p:cNvGrpSpPr/>
              <p:nvPr userDrawn="1"/>
            </p:nvGrpSpPr>
            <p:grpSpPr>
              <a:xfrm>
                <a:off x="9521833" y="2361408"/>
                <a:ext cx="2557391" cy="323165"/>
                <a:chOff x="12352022" y="513115"/>
                <a:chExt cx="2557391" cy="323165"/>
              </a:xfrm>
            </p:grpSpPr>
            <p:sp>
              <p:nvSpPr>
                <p:cNvPr id="162" name="TextBox 161">
                  <a:extLst>
                    <a:ext uri="{FF2B5EF4-FFF2-40B4-BE49-F238E27FC236}">
                      <a16:creationId xmlns:a16="http://schemas.microsoft.com/office/drawing/2014/main" id="{619D7F15-706D-3F4C-A8B8-C12D59510822}"/>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63" name="TextBox 162">
                  <a:extLst>
                    <a:ext uri="{FF2B5EF4-FFF2-40B4-BE49-F238E27FC236}">
                      <a16:creationId xmlns:a16="http://schemas.microsoft.com/office/drawing/2014/main" id="{1C9CAA61-2E63-2243-9107-4A321356DB2A}"/>
                    </a:ext>
                  </a:extLst>
                </p:cNvPr>
                <p:cNvSpPr txBox="1"/>
                <p:nvPr userDrawn="1"/>
              </p:nvSpPr>
              <p:spPr>
                <a:xfrm>
                  <a:off x="12516615" y="513115"/>
                  <a:ext cx="2392798"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Open the </a:t>
                  </a:r>
                  <a:r>
                    <a:rPr lang="en-US" sz="1050" b="1" dirty="0"/>
                    <a:t>VEDP Template Assets file </a:t>
                  </a:r>
                  <a:r>
                    <a:rPr lang="en-US" sz="1050" dirty="0"/>
                    <a:t>and copy the desired chart type into your presentation.</a:t>
                  </a:r>
                </a:p>
              </p:txBody>
            </p:sp>
          </p:grpSp>
          <p:sp>
            <p:nvSpPr>
              <p:cNvPr id="161" name="TextBox 160">
                <a:extLst>
                  <a:ext uri="{FF2B5EF4-FFF2-40B4-BE49-F238E27FC236}">
                    <a16:creationId xmlns:a16="http://schemas.microsoft.com/office/drawing/2014/main" id="{431A03AF-2C30-0044-878E-EBA24FF0D060}"/>
                  </a:ext>
                </a:extLst>
              </p:cNvPr>
              <p:cNvSpPr txBox="1"/>
              <p:nvPr userDrawn="1"/>
            </p:nvSpPr>
            <p:spPr>
              <a:xfrm>
                <a:off x="9686426" y="2895120"/>
                <a:ext cx="2120429"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141" name="TextBox 140">
              <a:extLst>
                <a:ext uri="{FF2B5EF4-FFF2-40B4-BE49-F238E27FC236}">
                  <a16:creationId xmlns:a16="http://schemas.microsoft.com/office/drawing/2014/main" id="{9FD671FF-2D84-E843-A31C-B84F3E2677A1}"/>
                </a:ext>
              </a:extLst>
            </p:cNvPr>
            <p:cNvSpPr txBox="1"/>
            <p:nvPr userDrawn="1"/>
          </p:nvSpPr>
          <p:spPr>
            <a:xfrm>
              <a:off x="9558507" y="2034287"/>
              <a:ext cx="15424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FORMAT AN EXISTING CHART</a:t>
              </a:r>
            </a:p>
          </p:txBody>
        </p:sp>
        <p:cxnSp>
          <p:nvCxnSpPr>
            <p:cNvPr id="142" name="Straight Connector 141">
              <a:extLst>
                <a:ext uri="{FF2B5EF4-FFF2-40B4-BE49-F238E27FC236}">
                  <a16:creationId xmlns:a16="http://schemas.microsoft.com/office/drawing/2014/main" id="{321D4ECE-156C-684D-8E18-8D9C2BE4F5CA}"/>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3" name="TextBox 142">
              <a:extLst>
                <a:ext uri="{FF2B5EF4-FFF2-40B4-BE49-F238E27FC236}">
                  <a16:creationId xmlns:a16="http://schemas.microsoft.com/office/drawing/2014/main" id="{105D3A7E-0F58-B141-BD38-F6FD34EFE53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44" name="TextBox 143">
              <a:extLst>
                <a:ext uri="{FF2B5EF4-FFF2-40B4-BE49-F238E27FC236}">
                  <a16:creationId xmlns:a16="http://schemas.microsoft.com/office/drawing/2014/main" id="{EE872CBB-A7D5-1141-9462-389457166E9B}"/>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45" name="TextBox 144">
              <a:extLst>
                <a:ext uri="{FF2B5EF4-FFF2-40B4-BE49-F238E27FC236}">
                  <a16:creationId xmlns:a16="http://schemas.microsoft.com/office/drawing/2014/main" id="{379C53D1-7E7B-E646-A1F5-A3D9AFD81A13}"/>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the chart placeholder and then paste your existing chart.</a:t>
              </a:r>
            </a:p>
          </p:txBody>
        </p:sp>
        <p:sp>
          <p:nvSpPr>
            <p:cNvPr id="146" name="TextBox 145">
              <a:extLst>
                <a:ext uri="{FF2B5EF4-FFF2-40B4-BE49-F238E27FC236}">
                  <a16:creationId xmlns:a16="http://schemas.microsoft.com/office/drawing/2014/main" id="{0E1634FF-BFE8-CD4B-A29B-07EF0D0A4213}"/>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Right-click on the chart and choose “Change Chart Type…”</a:t>
              </a:r>
            </a:p>
          </p:txBody>
        </p:sp>
        <p:sp>
          <p:nvSpPr>
            <p:cNvPr id="147" name="TextBox 146">
              <a:extLst>
                <a:ext uri="{FF2B5EF4-FFF2-40B4-BE49-F238E27FC236}">
                  <a16:creationId xmlns:a16="http://schemas.microsoft.com/office/drawing/2014/main" id="{46E96A8E-58C8-284D-9D62-4C14D61A164F}"/>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48" name="TextBox 147">
              <a:extLst>
                <a:ext uri="{FF2B5EF4-FFF2-40B4-BE49-F238E27FC236}">
                  <a16:creationId xmlns:a16="http://schemas.microsoft.com/office/drawing/2014/main" id="{90BAAB41-F096-1446-AF97-DB0DF304E760}"/>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Choose one of the VEDP chart styles from the ‘Templates’ category.</a:t>
              </a:r>
            </a:p>
          </p:txBody>
        </p:sp>
        <p:sp>
          <p:nvSpPr>
            <p:cNvPr id="149" name="TextBox 148">
              <a:extLst>
                <a:ext uri="{FF2B5EF4-FFF2-40B4-BE49-F238E27FC236}">
                  <a16:creationId xmlns:a16="http://schemas.microsoft.com/office/drawing/2014/main" id="{70745A7D-E8B1-784F-89B5-D634636CCE13}"/>
                </a:ext>
              </a:extLst>
            </p:cNvPr>
            <p:cNvSpPr txBox="1"/>
            <p:nvPr userDrawn="1"/>
          </p:nvSpPr>
          <p:spPr>
            <a:xfrm>
              <a:off x="9674268" y="2722629"/>
              <a:ext cx="2297650"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150" name="Group 149">
              <a:extLst>
                <a:ext uri="{FF2B5EF4-FFF2-40B4-BE49-F238E27FC236}">
                  <a16:creationId xmlns:a16="http://schemas.microsoft.com/office/drawing/2014/main" id="{BC5E24AF-445C-6747-8C45-E7E1943A07EA}"/>
                </a:ext>
              </a:extLst>
            </p:cNvPr>
            <p:cNvGrpSpPr/>
            <p:nvPr userDrawn="1"/>
          </p:nvGrpSpPr>
          <p:grpSpPr>
            <a:xfrm>
              <a:off x="9558507" y="1119891"/>
              <a:ext cx="2639328" cy="202617"/>
              <a:chOff x="9303325" y="149270"/>
              <a:chExt cx="2639328" cy="202617"/>
            </a:xfrm>
          </p:grpSpPr>
          <p:sp>
            <p:nvSpPr>
              <p:cNvPr id="156" name="TextBox 155">
                <a:extLst>
                  <a:ext uri="{FF2B5EF4-FFF2-40B4-BE49-F238E27FC236}">
                    <a16:creationId xmlns:a16="http://schemas.microsoft.com/office/drawing/2014/main" id="{E294C049-81FF-734E-A604-56C73619EC6E}"/>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157" name="Straight Connector 156">
                <a:extLst>
                  <a:ext uri="{FF2B5EF4-FFF2-40B4-BE49-F238E27FC236}">
                    <a16:creationId xmlns:a16="http://schemas.microsoft.com/office/drawing/2014/main" id="{128F855E-A066-1E41-A899-00776F75A5FA}"/>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a16="http://schemas.microsoft.com/office/drawing/2014/main" id="{72FF89E0-A4B5-C342-9537-0A864A4B9675}"/>
                </a:ext>
              </a:extLst>
            </p:cNvPr>
            <p:cNvGrpSpPr/>
            <p:nvPr userDrawn="1"/>
          </p:nvGrpSpPr>
          <p:grpSpPr>
            <a:xfrm>
              <a:off x="9541497" y="4046193"/>
              <a:ext cx="2735151" cy="1533198"/>
              <a:chOff x="9296567" y="4910412"/>
              <a:chExt cx="2735151" cy="1533198"/>
            </a:xfrm>
          </p:grpSpPr>
          <p:sp>
            <p:nvSpPr>
              <p:cNvPr id="152" name="Rectangle 151">
                <a:extLst>
                  <a:ext uri="{FF2B5EF4-FFF2-40B4-BE49-F238E27FC236}">
                    <a16:creationId xmlns:a16="http://schemas.microsoft.com/office/drawing/2014/main" id="{E4358915-BE70-7943-8C4A-25F97B1814A3}"/>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3" name="TextBox 152">
                <a:extLst>
                  <a:ext uri="{FF2B5EF4-FFF2-40B4-BE49-F238E27FC236}">
                    <a16:creationId xmlns:a16="http://schemas.microsoft.com/office/drawing/2014/main" id="{81B4C365-355F-C643-99D7-B97298FDF7D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154" name="Graphic 153">
                <a:extLst>
                  <a:ext uri="{FF2B5EF4-FFF2-40B4-BE49-F238E27FC236}">
                    <a16:creationId xmlns:a16="http://schemas.microsoft.com/office/drawing/2014/main" id="{C6D16933-9F45-5F40-8D19-78EBF75E653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55" name="TextBox 154">
                <a:extLst>
                  <a:ext uri="{FF2B5EF4-FFF2-40B4-BE49-F238E27FC236}">
                    <a16:creationId xmlns:a16="http://schemas.microsoft.com/office/drawing/2014/main" id="{07CEA561-9614-6F48-8B85-62EE36EF46E2}"/>
                  </a:ext>
                </a:extLst>
              </p:cNvPr>
              <p:cNvSpPr txBox="1"/>
              <p:nvPr userDrawn="1"/>
            </p:nvSpPr>
            <p:spPr>
              <a:xfrm>
                <a:off x="9471805" y="5300350"/>
                <a:ext cx="2399065" cy="10207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dirty="0"/>
                  <a:t>In case of error, return legend entries, data labels, and/or chart formatting by re-applying the current VEDP chart style template.</a:t>
                </a:r>
              </a:p>
              <a:p>
                <a:pPr lvl="1"/>
                <a:r>
                  <a:rPr lang="en-US" sz="900" dirty="0"/>
                  <a:t>Right-click the chart and choose</a:t>
                </a:r>
                <a:br>
                  <a:rPr lang="en-US" sz="900" dirty="0"/>
                </a:br>
                <a:r>
                  <a:rPr lang="en-US" sz="900" dirty="0"/>
                  <a:t>“Change Chart Type”</a:t>
                </a:r>
              </a:p>
              <a:p>
                <a:pPr lvl="1"/>
                <a:r>
                  <a:rPr lang="en-US" sz="900" dirty="0"/>
                  <a:t>Then choose the matching VEDP chart style from the ‘Templates’ category.</a:t>
                </a:r>
              </a:p>
            </p:txBody>
          </p:sp>
        </p:grpSp>
      </p:grpSp>
    </p:spTree>
    <p:extLst>
      <p:ext uri="{BB962C8B-B14F-4D97-AF65-F5344CB8AC3E}">
        <p14:creationId xmlns:p14="http://schemas.microsoft.com/office/powerpoint/2010/main" val="56544744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575733" y="1735138"/>
            <a:ext cx="5344584" cy="4430712"/>
          </a:xfrm>
        </p:spPr>
        <p:txBody>
          <a:bodyPr/>
          <a:lstStyle>
            <a:lvl1pPr>
              <a:defRPr b="0">
                <a:solidFill>
                  <a:schemeClr val="tx1">
                    <a:lumMod val="50000"/>
                    <a:lumOff val="50000"/>
                  </a:schemeClr>
                </a:solidFill>
              </a:defRPr>
            </a:lvl1pPr>
          </a:lstStyle>
          <a:p>
            <a:r>
              <a:rPr lang="en-US"/>
              <a:t>Click icon to add chart</a:t>
            </a:r>
            <a:endParaRPr lang="en-US" dirty="0"/>
          </a:p>
        </p:txBody>
      </p:sp>
      <p:sp>
        <p:nvSpPr>
          <p:cNvPr id="1000" name="Footnotes Placeholder">
            <a:extLst>
              <a:ext uri="{FF2B5EF4-FFF2-40B4-BE49-F238E27FC236}">
                <a16:creationId xmlns:a16="http://schemas.microsoft.com/office/drawing/2014/main" id="{4A426F11-55A1-3946-8771-D8A379B5AD5E}"/>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43" name="Text Placeholder 6">
            <a:extLst>
              <a:ext uri="{FF2B5EF4-FFF2-40B4-BE49-F238E27FC236}">
                <a16:creationId xmlns:a16="http://schemas.microsoft.com/office/drawing/2014/main" id="{7892DA04-F4A9-2044-B9E5-08BCF7318160}"/>
              </a:ext>
            </a:extLst>
          </p:cNvPr>
          <p:cNvSpPr>
            <a:spLocks noGrp="1"/>
          </p:cNvSpPr>
          <p:nvPr>
            <p:ph type="body" sz="quarter" idx="108" hasCustomPrompt="1"/>
          </p:nvPr>
        </p:nvSpPr>
        <p:spPr>
          <a:xfrm>
            <a:off x="575734"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dirty="0"/>
              <a:t>Click to add chart title</a:t>
            </a:r>
          </a:p>
          <a:p>
            <a:pPr lvl="1"/>
            <a:r>
              <a:rPr lang="en-US" dirty="0"/>
              <a:t>Chart subtitle (second level)</a:t>
            </a:r>
          </a:p>
        </p:txBody>
      </p:sp>
      <p:sp>
        <p:nvSpPr>
          <p:cNvPr id="6" name="Date Placeholder 5">
            <a:extLst>
              <a:ext uri="{FF2B5EF4-FFF2-40B4-BE49-F238E27FC236}">
                <a16:creationId xmlns:a16="http://schemas.microsoft.com/office/drawing/2014/main" id="{F379AB29-F3FD-6B4D-AB9C-5B22D89A0EA3}"/>
              </a:ext>
            </a:extLst>
          </p:cNvPr>
          <p:cNvSpPr>
            <a:spLocks noGrp="1"/>
          </p:cNvSpPr>
          <p:nvPr>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998E7724-1686-F747-8D1B-1AB14F556771}"/>
              </a:ext>
            </a:extLst>
          </p:cNvPr>
          <p:cNvSpPr>
            <a:spLocks noGrp="1"/>
          </p:cNvSpPr>
          <p:nvPr>
            <p:ph type="ftr" sz="quarter" idx="117"/>
          </p:nvPr>
        </p:nvSpPr>
        <p:spPr/>
        <p:txBody>
          <a:bodyPr/>
          <a:lstStyle/>
          <a:p>
            <a:endParaRPr lang="en-US" dirty="0"/>
          </a:p>
        </p:txBody>
      </p:sp>
      <p:sp>
        <p:nvSpPr>
          <p:cNvPr id="8" name="Slide Number Placeholder 7">
            <a:extLst>
              <a:ext uri="{FF2B5EF4-FFF2-40B4-BE49-F238E27FC236}">
                <a16:creationId xmlns:a16="http://schemas.microsoft.com/office/drawing/2014/main" id="{67560BD8-BC0B-DB45-8951-391197B87781}"/>
              </a:ext>
            </a:extLst>
          </p:cNvPr>
          <p:cNvSpPr>
            <a:spLocks noGrp="1"/>
          </p:cNvSpPr>
          <p:nvPr>
            <p:ph type="sldNum" sz="quarter" idx="118"/>
          </p:nvPr>
        </p:nvSpPr>
        <p:spPr/>
        <p:txBody>
          <a:bodyPr/>
          <a:lstStyle/>
          <a:p>
            <a:pPr marL="12700"/>
            <a:fld id="{078C017C-E1B9-8443-B047-B08AAA027B45}" type="slidenum">
              <a:rPr lang="en-US" smtClean="0"/>
              <a:pPr marL="12700"/>
              <a:t>‹#›</a:t>
            </a:fld>
            <a:endParaRPr lang="en-US" dirty="0"/>
          </a:p>
        </p:txBody>
      </p:sp>
      <p:sp>
        <p:nvSpPr>
          <p:cNvPr id="4" name="Text Placeholder 3">
            <a:extLst>
              <a:ext uri="{FF2B5EF4-FFF2-40B4-BE49-F238E27FC236}">
                <a16:creationId xmlns:a16="http://schemas.microsoft.com/office/drawing/2014/main" id="{C0633058-F12A-3240-8E47-F68D49EC3AE2}"/>
              </a:ext>
            </a:extLst>
          </p:cNvPr>
          <p:cNvSpPr>
            <a:spLocks noGrp="1"/>
          </p:cNvSpPr>
          <p:nvPr userDrawn="1">
            <p:ph type="body" sz="quarter" idx="119"/>
          </p:nvPr>
        </p:nvSpPr>
        <p:spPr>
          <a:xfrm>
            <a:off x="6273867" y="1735138"/>
            <a:ext cx="5342400" cy="4430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0" name="Group 9">
            <a:extLst>
              <a:ext uri="{FF2B5EF4-FFF2-40B4-BE49-F238E27FC236}">
                <a16:creationId xmlns:a16="http://schemas.microsoft.com/office/drawing/2014/main" id="{B63747D6-BC82-9944-89EC-FD8DC796135D}"/>
              </a:ext>
            </a:extLst>
          </p:cNvPr>
          <p:cNvGrpSpPr/>
          <p:nvPr userDrawn="1"/>
        </p:nvGrpSpPr>
        <p:grpSpPr>
          <a:xfrm>
            <a:off x="12532243" y="-2"/>
            <a:ext cx="3965960" cy="9791695"/>
            <a:chOff x="9399182" y="-2"/>
            <a:chExt cx="2974470" cy="9791695"/>
          </a:xfrm>
        </p:grpSpPr>
        <p:sp>
          <p:nvSpPr>
            <p:cNvPr id="108" name="Rectangle 107">
              <a:extLst>
                <a:ext uri="{FF2B5EF4-FFF2-40B4-BE49-F238E27FC236}">
                  <a16:creationId xmlns:a16="http://schemas.microsoft.com/office/drawing/2014/main" id="{4021C5A3-7B0D-1847-9EF9-A3705154127E}"/>
                </a:ext>
              </a:extLst>
            </p:cNvPr>
            <p:cNvSpPr/>
            <p:nvPr userDrawn="1"/>
          </p:nvSpPr>
          <p:spPr>
            <a:xfrm>
              <a:off x="9399182" y="-2"/>
              <a:ext cx="2798651" cy="97916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109" name="Picture 108">
              <a:extLst>
                <a:ext uri="{FF2B5EF4-FFF2-40B4-BE49-F238E27FC236}">
                  <a16:creationId xmlns:a16="http://schemas.microsoft.com/office/drawing/2014/main" id="{8379DC2B-3092-1142-97A8-452B83E9EEE5}"/>
                </a:ext>
              </a:extLst>
            </p:cNvPr>
            <p:cNvPicPr>
              <a:picLocks noChangeAspect="1"/>
            </p:cNvPicPr>
            <p:nvPr userDrawn="1"/>
          </p:nvPicPr>
          <p:blipFill rotWithShape="1">
            <a:blip r:embed="rId3"/>
            <a:srcRect r="36104"/>
            <a:stretch/>
          </p:blipFill>
          <p:spPr>
            <a:xfrm>
              <a:off x="9558497" y="1619251"/>
              <a:ext cx="2639329" cy="522522"/>
            </a:xfrm>
            <a:prstGeom prst="rect">
              <a:avLst/>
            </a:prstGeom>
          </p:spPr>
        </p:pic>
        <p:grpSp>
          <p:nvGrpSpPr>
            <p:cNvPr id="110" name="Group 109">
              <a:extLst>
                <a:ext uri="{FF2B5EF4-FFF2-40B4-BE49-F238E27FC236}">
                  <a16:creationId xmlns:a16="http://schemas.microsoft.com/office/drawing/2014/main" id="{1013161E-A1C5-5749-9CE3-F720067C884E}"/>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6E6A25D8-1BC5-9B4C-8FA6-899B48E1D1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6" name="TextBox 135">
                <a:extLst>
                  <a:ext uri="{FF2B5EF4-FFF2-40B4-BE49-F238E27FC236}">
                    <a16:creationId xmlns:a16="http://schemas.microsoft.com/office/drawing/2014/main" id="{DE1EA92A-DBC7-B749-9767-E7B2D5BD99C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F3C81943-C1E3-344C-9C89-756433C45B2E}"/>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21" name="Group 120">
              <a:extLst>
                <a:ext uri="{FF2B5EF4-FFF2-40B4-BE49-F238E27FC236}">
                  <a16:creationId xmlns:a16="http://schemas.microsoft.com/office/drawing/2014/main" id="{D3A6EECD-3549-904A-A40E-911DC97AF001}"/>
                </a:ext>
              </a:extLst>
            </p:cNvPr>
            <p:cNvGrpSpPr/>
            <p:nvPr userDrawn="1"/>
          </p:nvGrpSpPr>
          <p:grpSpPr>
            <a:xfrm>
              <a:off x="9558507" y="1119891"/>
              <a:ext cx="2639328" cy="202617"/>
              <a:chOff x="9303325" y="149270"/>
              <a:chExt cx="2639328" cy="202617"/>
            </a:xfrm>
          </p:grpSpPr>
          <p:sp>
            <p:nvSpPr>
              <p:cNvPr id="127" name="TextBox 126">
                <a:extLst>
                  <a:ext uri="{FF2B5EF4-FFF2-40B4-BE49-F238E27FC236}">
                    <a16:creationId xmlns:a16="http://schemas.microsoft.com/office/drawing/2014/main" id="{F72EE2BF-96DA-ED48-A29C-73A7C7A51107}"/>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128" name="Straight Connector 127">
                <a:extLst>
                  <a:ext uri="{FF2B5EF4-FFF2-40B4-BE49-F238E27FC236}">
                    <a16:creationId xmlns:a16="http://schemas.microsoft.com/office/drawing/2014/main" id="{D92BD20A-0C8C-E14A-BB7D-7F4DA53A033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6ECFF6AF-6125-D947-8881-54BBFA9474F9}"/>
                </a:ext>
              </a:extLst>
            </p:cNvPr>
            <p:cNvGrpSpPr/>
            <p:nvPr userDrawn="1"/>
          </p:nvGrpSpPr>
          <p:grpSpPr>
            <a:xfrm>
              <a:off x="9521833" y="4842694"/>
              <a:ext cx="2754815" cy="4809054"/>
              <a:chOff x="9521833" y="2034287"/>
              <a:chExt cx="2754815" cy="4809054"/>
            </a:xfrm>
          </p:grpSpPr>
          <p:grpSp>
            <p:nvGrpSpPr>
              <p:cNvPr id="111" name="Group 110">
                <a:extLst>
                  <a:ext uri="{FF2B5EF4-FFF2-40B4-BE49-F238E27FC236}">
                    <a16:creationId xmlns:a16="http://schemas.microsoft.com/office/drawing/2014/main" id="{15CE3F5C-AE46-334A-898C-C2B42488CBAF}"/>
                  </a:ext>
                </a:extLst>
              </p:cNvPr>
              <p:cNvGrpSpPr/>
              <p:nvPr userDrawn="1"/>
            </p:nvGrpSpPr>
            <p:grpSpPr>
              <a:xfrm>
                <a:off x="9521833" y="5769065"/>
                <a:ext cx="2676002" cy="1074276"/>
                <a:chOff x="9521833" y="2036288"/>
                <a:chExt cx="2676002" cy="1074276"/>
              </a:xfrm>
            </p:grpSpPr>
            <p:sp>
              <p:nvSpPr>
                <p:cNvPr id="129" name="TextBox 128">
                  <a:extLst>
                    <a:ext uri="{FF2B5EF4-FFF2-40B4-BE49-F238E27FC236}">
                      <a16:creationId xmlns:a16="http://schemas.microsoft.com/office/drawing/2014/main" id="{EA92E2AA-DFD9-5A4F-AB03-5A37B9AECDF8}"/>
                    </a:ext>
                  </a:extLst>
                </p:cNvPr>
                <p:cNvSpPr txBox="1"/>
                <p:nvPr userDrawn="1"/>
              </p:nvSpPr>
              <p:spPr>
                <a:xfrm>
                  <a:off x="9558507" y="2036288"/>
                  <a:ext cx="99666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ADD A NEW CHART</a:t>
                  </a:r>
                </a:p>
              </p:txBody>
            </p:sp>
            <p:cxnSp>
              <p:nvCxnSpPr>
                <p:cNvPr id="130" name="Straight Connector 129">
                  <a:extLst>
                    <a:ext uri="{FF2B5EF4-FFF2-40B4-BE49-F238E27FC236}">
                      <a16:creationId xmlns:a16="http://schemas.microsoft.com/office/drawing/2014/main" id="{6DEBF951-684E-EF4C-AD44-7EE3A3D737A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B7170F64-401B-944F-BE85-D64B70491AD1}"/>
                    </a:ext>
                  </a:extLst>
                </p:cNvPr>
                <p:cNvGrpSpPr/>
                <p:nvPr userDrawn="1"/>
              </p:nvGrpSpPr>
              <p:grpSpPr>
                <a:xfrm>
                  <a:off x="9521833" y="2361408"/>
                  <a:ext cx="2557391" cy="323165"/>
                  <a:chOff x="12352022" y="513115"/>
                  <a:chExt cx="2557391" cy="323165"/>
                </a:xfrm>
              </p:grpSpPr>
              <p:sp>
                <p:nvSpPr>
                  <p:cNvPr id="133" name="TextBox 132">
                    <a:extLst>
                      <a:ext uri="{FF2B5EF4-FFF2-40B4-BE49-F238E27FC236}">
                        <a16:creationId xmlns:a16="http://schemas.microsoft.com/office/drawing/2014/main" id="{C6F193A3-7D39-1C40-9C0D-B981EB53025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4" name="TextBox 133">
                    <a:extLst>
                      <a:ext uri="{FF2B5EF4-FFF2-40B4-BE49-F238E27FC236}">
                        <a16:creationId xmlns:a16="http://schemas.microsoft.com/office/drawing/2014/main" id="{C7940ED9-915B-9248-BA2F-A342231D2934}"/>
                      </a:ext>
                    </a:extLst>
                  </p:cNvPr>
                  <p:cNvSpPr txBox="1"/>
                  <p:nvPr userDrawn="1"/>
                </p:nvSpPr>
                <p:spPr>
                  <a:xfrm>
                    <a:off x="12516615" y="513115"/>
                    <a:ext cx="2392798"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Open the </a:t>
                    </a:r>
                    <a:r>
                      <a:rPr lang="en-US" sz="1050" b="1" dirty="0"/>
                      <a:t>VEDP Template Assets file </a:t>
                    </a:r>
                    <a:r>
                      <a:rPr lang="en-US" sz="1050" dirty="0"/>
                      <a:t>and copy the desired chart type into your presentation.</a:t>
                    </a:r>
                  </a:p>
                </p:txBody>
              </p:sp>
            </p:grpSp>
            <p:sp>
              <p:nvSpPr>
                <p:cNvPr id="132" name="TextBox 131">
                  <a:extLst>
                    <a:ext uri="{FF2B5EF4-FFF2-40B4-BE49-F238E27FC236}">
                      <a16:creationId xmlns:a16="http://schemas.microsoft.com/office/drawing/2014/main" id="{A80FD326-85FF-264F-97DA-05F43B20FA05}"/>
                    </a:ext>
                  </a:extLst>
                </p:cNvPr>
                <p:cNvSpPr txBox="1"/>
                <p:nvPr userDrawn="1"/>
              </p:nvSpPr>
              <p:spPr>
                <a:xfrm>
                  <a:off x="9686426" y="2895120"/>
                  <a:ext cx="2120429"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112" name="TextBox 111">
                <a:extLst>
                  <a:ext uri="{FF2B5EF4-FFF2-40B4-BE49-F238E27FC236}">
                    <a16:creationId xmlns:a16="http://schemas.microsoft.com/office/drawing/2014/main" id="{643017B9-5EB5-3C43-964D-F8B34AE37A52}"/>
                  </a:ext>
                </a:extLst>
              </p:cNvPr>
              <p:cNvSpPr txBox="1"/>
              <p:nvPr userDrawn="1"/>
            </p:nvSpPr>
            <p:spPr>
              <a:xfrm>
                <a:off x="9558507" y="2034287"/>
                <a:ext cx="15424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FORMAT AN EXISTING CHART</a:t>
                </a:r>
              </a:p>
            </p:txBody>
          </p:sp>
          <p:cxnSp>
            <p:nvCxnSpPr>
              <p:cNvPr id="113" name="Straight Connector 112">
                <a:extLst>
                  <a:ext uri="{FF2B5EF4-FFF2-40B4-BE49-F238E27FC236}">
                    <a16:creationId xmlns:a16="http://schemas.microsoft.com/office/drawing/2014/main" id="{E5A28B81-D028-A442-A2BB-C885D0421BAF}"/>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BC6B2BDC-1C6B-FF49-886E-34C4A1F31A1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15" name="TextBox 114">
                <a:extLst>
                  <a:ext uri="{FF2B5EF4-FFF2-40B4-BE49-F238E27FC236}">
                    <a16:creationId xmlns:a16="http://schemas.microsoft.com/office/drawing/2014/main" id="{386F9AE4-1003-E841-B986-2DFA8186BE2A}"/>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16" name="TextBox 115">
                <a:extLst>
                  <a:ext uri="{FF2B5EF4-FFF2-40B4-BE49-F238E27FC236}">
                    <a16:creationId xmlns:a16="http://schemas.microsoft.com/office/drawing/2014/main" id="{81D4359D-396D-B047-8048-C51D25FF5FA9}"/>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the chart placeholder and then paste your existing chart.</a:t>
                </a:r>
              </a:p>
            </p:txBody>
          </p:sp>
          <p:sp>
            <p:nvSpPr>
              <p:cNvPr id="117" name="TextBox 116">
                <a:extLst>
                  <a:ext uri="{FF2B5EF4-FFF2-40B4-BE49-F238E27FC236}">
                    <a16:creationId xmlns:a16="http://schemas.microsoft.com/office/drawing/2014/main" id="{F595C52D-E737-B648-97C4-D0EEE4002727}"/>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Right-click on the chart and choose “Change Chart Type…”</a:t>
                </a:r>
              </a:p>
            </p:txBody>
          </p:sp>
          <p:sp>
            <p:nvSpPr>
              <p:cNvPr id="118" name="TextBox 117">
                <a:extLst>
                  <a:ext uri="{FF2B5EF4-FFF2-40B4-BE49-F238E27FC236}">
                    <a16:creationId xmlns:a16="http://schemas.microsoft.com/office/drawing/2014/main" id="{A9B4217E-F58C-E841-B458-5948479DD205}"/>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19" name="TextBox 118">
                <a:extLst>
                  <a:ext uri="{FF2B5EF4-FFF2-40B4-BE49-F238E27FC236}">
                    <a16:creationId xmlns:a16="http://schemas.microsoft.com/office/drawing/2014/main" id="{BFF5E862-5288-9E4B-88AE-8C1A9F99201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Choose one of the VEDP chart styles from the ‘Templates’ category.</a:t>
                </a:r>
              </a:p>
            </p:txBody>
          </p:sp>
          <p:sp>
            <p:nvSpPr>
              <p:cNvPr id="120" name="TextBox 119">
                <a:extLst>
                  <a:ext uri="{FF2B5EF4-FFF2-40B4-BE49-F238E27FC236}">
                    <a16:creationId xmlns:a16="http://schemas.microsoft.com/office/drawing/2014/main" id="{12A69AE4-A4C6-4F4C-A368-8510B3FA8B6B}"/>
                  </a:ext>
                </a:extLst>
              </p:cNvPr>
              <p:cNvSpPr txBox="1"/>
              <p:nvPr userDrawn="1"/>
            </p:nvSpPr>
            <p:spPr>
              <a:xfrm>
                <a:off x="9674268" y="2722629"/>
                <a:ext cx="2297650"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122" name="Group 121">
                <a:extLst>
                  <a:ext uri="{FF2B5EF4-FFF2-40B4-BE49-F238E27FC236}">
                    <a16:creationId xmlns:a16="http://schemas.microsoft.com/office/drawing/2014/main" id="{CB984C52-4124-AA4D-8458-190AC08BEB6E}"/>
                  </a:ext>
                </a:extLst>
              </p:cNvPr>
              <p:cNvGrpSpPr/>
              <p:nvPr userDrawn="1"/>
            </p:nvGrpSpPr>
            <p:grpSpPr>
              <a:xfrm>
                <a:off x="9541497" y="4046193"/>
                <a:ext cx="2735151" cy="1533198"/>
                <a:chOff x="9296567" y="4910412"/>
                <a:chExt cx="2735151" cy="1533198"/>
              </a:xfrm>
            </p:grpSpPr>
            <p:sp>
              <p:nvSpPr>
                <p:cNvPr id="123" name="Rectangle 122">
                  <a:extLst>
                    <a:ext uri="{FF2B5EF4-FFF2-40B4-BE49-F238E27FC236}">
                      <a16:creationId xmlns:a16="http://schemas.microsoft.com/office/drawing/2014/main" id="{18659A9D-C0B3-654D-927A-38F08EBCB65C}"/>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4" name="TextBox 123">
                  <a:extLst>
                    <a:ext uri="{FF2B5EF4-FFF2-40B4-BE49-F238E27FC236}">
                      <a16:creationId xmlns:a16="http://schemas.microsoft.com/office/drawing/2014/main" id="{9935FD93-FA7C-9049-9D3B-CB3B8CD860B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125" name="Graphic 124">
                  <a:extLst>
                    <a:ext uri="{FF2B5EF4-FFF2-40B4-BE49-F238E27FC236}">
                      <a16:creationId xmlns:a16="http://schemas.microsoft.com/office/drawing/2014/main" id="{69667A08-748B-D846-BF72-062D307D126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6" name="TextBox 125">
                  <a:extLst>
                    <a:ext uri="{FF2B5EF4-FFF2-40B4-BE49-F238E27FC236}">
                      <a16:creationId xmlns:a16="http://schemas.microsoft.com/office/drawing/2014/main" id="{AF22BED9-0030-8546-AC2B-0DC1FA590F5F}"/>
                    </a:ext>
                  </a:extLst>
                </p:cNvPr>
                <p:cNvSpPr txBox="1"/>
                <p:nvPr userDrawn="1"/>
              </p:nvSpPr>
              <p:spPr>
                <a:xfrm>
                  <a:off x="9471805" y="5300350"/>
                  <a:ext cx="2399065" cy="10207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dirty="0"/>
                    <a:t>In case of error, return legend entries, data labels, and/or chart formatting by re-applying the current VEDP chart style template.</a:t>
                  </a:r>
                </a:p>
                <a:p>
                  <a:pPr lvl="1"/>
                  <a:r>
                    <a:rPr lang="en-US" sz="900" dirty="0"/>
                    <a:t>Right-click the chart and choose</a:t>
                  </a:r>
                  <a:br>
                    <a:rPr lang="en-US" sz="900" dirty="0"/>
                  </a:br>
                  <a:r>
                    <a:rPr lang="en-US" sz="900" dirty="0"/>
                    <a:t>“Change Chart Type”</a:t>
                  </a:r>
                </a:p>
                <a:p>
                  <a:pPr lvl="1"/>
                  <a:r>
                    <a:rPr lang="en-US" sz="900" dirty="0"/>
                    <a:t>Then choose the matching VEDP chart style from the ‘Templates’ category.</a:t>
                  </a:r>
                </a:p>
              </p:txBody>
            </p:sp>
          </p:grpSp>
        </p:grpSp>
        <p:pic>
          <p:nvPicPr>
            <p:cNvPr id="42" name="Picture 41">
              <a:extLst>
                <a:ext uri="{FF2B5EF4-FFF2-40B4-BE49-F238E27FC236}">
                  <a16:creationId xmlns:a16="http://schemas.microsoft.com/office/drawing/2014/main" id="{CD6F2F4C-A392-B448-B641-E1F03F45D8ED}"/>
                </a:ext>
              </a:extLst>
            </p:cNvPr>
            <p:cNvPicPr>
              <a:picLocks noChangeAspect="1"/>
            </p:cNvPicPr>
            <p:nvPr userDrawn="1"/>
          </p:nvPicPr>
          <p:blipFill rotWithShape="1">
            <a:blip r:embed="rId7"/>
            <a:srcRect r="41694"/>
            <a:stretch/>
          </p:blipFill>
          <p:spPr>
            <a:xfrm>
              <a:off x="9558506" y="2465572"/>
              <a:ext cx="2639328" cy="995540"/>
            </a:xfrm>
            <a:prstGeom prst="rect">
              <a:avLst/>
            </a:prstGeom>
          </p:spPr>
        </p:pic>
        <p:grpSp>
          <p:nvGrpSpPr>
            <p:cNvPr id="48" name="Group 47">
              <a:extLst>
                <a:ext uri="{FF2B5EF4-FFF2-40B4-BE49-F238E27FC236}">
                  <a16:creationId xmlns:a16="http://schemas.microsoft.com/office/drawing/2014/main" id="{D6C89488-0DED-C34F-BA63-BB2306F07887}"/>
                </a:ext>
              </a:extLst>
            </p:cNvPr>
            <p:cNvGrpSpPr/>
            <p:nvPr userDrawn="1"/>
          </p:nvGrpSpPr>
          <p:grpSpPr>
            <a:xfrm>
              <a:off x="9521833" y="1389696"/>
              <a:ext cx="2617883" cy="161583"/>
              <a:chOff x="12352022" y="513115"/>
              <a:chExt cx="2617883" cy="161583"/>
            </a:xfrm>
          </p:grpSpPr>
          <p:sp>
            <p:nvSpPr>
              <p:cNvPr id="49" name="TextBox 48">
                <a:extLst>
                  <a:ext uri="{FF2B5EF4-FFF2-40B4-BE49-F238E27FC236}">
                    <a16:creationId xmlns:a16="http://schemas.microsoft.com/office/drawing/2014/main" id="{E89C6915-94F6-4D4B-8975-ED14DBCA833F}"/>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0" name="TextBox 49">
                <a:extLst>
                  <a:ext uri="{FF2B5EF4-FFF2-40B4-BE49-F238E27FC236}">
                    <a16:creationId xmlns:a16="http://schemas.microsoft.com/office/drawing/2014/main" id="{FE244EEE-8393-A640-A30E-410E64B399C3}"/>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Chart Title</a:t>
                </a:r>
              </a:p>
            </p:txBody>
          </p:sp>
        </p:grpSp>
        <p:grpSp>
          <p:nvGrpSpPr>
            <p:cNvPr id="51" name="Group 50">
              <a:extLst>
                <a:ext uri="{FF2B5EF4-FFF2-40B4-BE49-F238E27FC236}">
                  <a16:creationId xmlns:a16="http://schemas.microsoft.com/office/drawing/2014/main" id="{CD42217E-81A1-104F-955A-C09C77A38FBC}"/>
                </a:ext>
              </a:extLst>
            </p:cNvPr>
            <p:cNvGrpSpPr/>
            <p:nvPr userDrawn="1"/>
          </p:nvGrpSpPr>
          <p:grpSpPr>
            <a:xfrm>
              <a:off x="9521833" y="2233977"/>
              <a:ext cx="2617883" cy="161583"/>
              <a:chOff x="12352022" y="513115"/>
              <a:chExt cx="2617883" cy="161583"/>
            </a:xfrm>
          </p:grpSpPr>
          <p:sp>
            <p:nvSpPr>
              <p:cNvPr id="52" name="TextBox 51">
                <a:extLst>
                  <a:ext uri="{FF2B5EF4-FFF2-40B4-BE49-F238E27FC236}">
                    <a16:creationId xmlns:a16="http://schemas.microsoft.com/office/drawing/2014/main" id="{257BABD1-3C83-0B45-98DC-FCF22AD55A6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3" name="TextBox 52">
                <a:extLst>
                  <a:ext uri="{FF2B5EF4-FFF2-40B4-BE49-F238E27FC236}">
                    <a16:creationId xmlns:a16="http://schemas.microsoft.com/office/drawing/2014/main" id="{81EDE936-4FAD-0D4A-AC8B-538F26FFEA64}"/>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Text</a:t>
                </a:r>
              </a:p>
            </p:txBody>
          </p:sp>
        </p:grpSp>
        <p:grpSp>
          <p:nvGrpSpPr>
            <p:cNvPr id="54" name="Group 53">
              <a:extLst>
                <a:ext uri="{FF2B5EF4-FFF2-40B4-BE49-F238E27FC236}">
                  <a16:creationId xmlns:a16="http://schemas.microsoft.com/office/drawing/2014/main" id="{101CA2DD-38D7-7342-A3CE-110F68E2A092}"/>
                </a:ext>
              </a:extLst>
            </p:cNvPr>
            <p:cNvGrpSpPr/>
            <p:nvPr userDrawn="1"/>
          </p:nvGrpSpPr>
          <p:grpSpPr>
            <a:xfrm>
              <a:off x="9554253" y="3557439"/>
              <a:ext cx="2819399" cy="1181890"/>
              <a:chOff x="9541498" y="3352649"/>
              <a:chExt cx="2819399" cy="1181890"/>
            </a:xfrm>
          </p:grpSpPr>
          <p:grpSp>
            <p:nvGrpSpPr>
              <p:cNvPr id="55" name="Group 54">
                <a:extLst>
                  <a:ext uri="{FF2B5EF4-FFF2-40B4-BE49-F238E27FC236}">
                    <a16:creationId xmlns:a16="http://schemas.microsoft.com/office/drawing/2014/main" id="{90218002-4B02-564D-A2BF-0D09979B2947}"/>
                  </a:ext>
                </a:extLst>
              </p:cNvPr>
              <p:cNvGrpSpPr/>
              <p:nvPr userDrawn="1"/>
            </p:nvGrpSpPr>
            <p:grpSpPr>
              <a:xfrm>
                <a:off x="9541498" y="3352649"/>
                <a:ext cx="2735150" cy="1181890"/>
                <a:chOff x="9541498" y="3751132"/>
                <a:chExt cx="2735150" cy="1181890"/>
              </a:xfrm>
            </p:grpSpPr>
            <p:grpSp>
              <p:nvGrpSpPr>
                <p:cNvPr id="57" name="Group 56">
                  <a:extLst>
                    <a:ext uri="{FF2B5EF4-FFF2-40B4-BE49-F238E27FC236}">
                      <a16:creationId xmlns:a16="http://schemas.microsoft.com/office/drawing/2014/main" id="{CBF6E043-B29D-E249-8D60-765DDD87E278}"/>
                    </a:ext>
                  </a:extLst>
                </p:cNvPr>
                <p:cNvGrpSpPr/>
                <p:nvPr userDrawn="1"/>
              </p:nvGrpSpPr>
              <p:grpSpPr>
                <a:xfrm>
                  <a:off x="9541498" y="3751132"/>
                  <a:ext cx="2735150" cy="1181890"/>
                  <a:chOff x="9296568" y="4910411"/>
                  <a:chExt cx="2735150" cy="1181890"/>
                </a:xfrm>
              </p:grpSpPr>
              <p:sp>
                <p:nvSpPr>
                  <p:cNvPr id="59" name="Rectangle 58">
                    <a:extLst>
                      <a:ext uri="{FF2B5EF4-FFF2-40B4-BE49-F238E27FC236}">
                        <a16:creationId xmlns:a16="http://schemas.microsoft.com/office/drawing/2014/main" id="{8FADE130-D33A-2F46-9CD0-6AC4FFE5A97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0" name="TextBox 59">
                    <a:extLst>
                      <a:ext uri="{FF2B5EF4-FFF2-40B4-BE49-F238E27FC236}">
                        <a16:creationId xmlns:a16="http://schemas.microsoft.com/office/drawing/2014/main" id="{6EAF02B6-2D34-C642-BAC0-B2B8830ABC01}"/>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1" name="TextBox 60">
                    <a:extLst>
                      <a:ext uri="{FF2B5EF4-FFF2-40B4-BE49-F238E27FC236}">
                        <a16:creationId xmlns:a16="http://schemas.microsoft.com/office/drawing/2014/main" id="{C0F09278-9856-1E49-9DED-3BB87FE53943}"/>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58" name="Graphic 57">
                  <a:extLst>
                    <a:ext uri="{FF2B5EF4-FFF2-40B4-BE49-F238E27FC236}">
                      <a16:creationId xmlns:a16="http://schemas.microsoft.com/office/drawing/2014/main" id="{35768E32-3EEB-334C-B735-DDE79280446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56" name="Picture 55">
                <a:extLst>
                  <a:ext uri="{FF2B5EF4-FFF2-40B4-BE49-F238E27FC236}">
                    <a16:creationId xmlns:a16="http://schemas.microsoft.com/office/drawing/2014/main" id="{DA8E6F77-3696-DA42-BC1C-06A344FD999F}"/>
                  </a:ext>
                </a:extLst>
              </p:cNvPr>
              <p:cNvPicPr>
                <a:picLocks noChangeAspect="1"/>
              </p:cNvPicPr>
              <p:nvPr userDrawn="1"/>
            </p:nvPicPr>
            <p:blipFill rotWithShape="1">
              <a:blip r:embed="rId10"/>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96945547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Chart and Data Column">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575733" y="1735138"/>
            <a:ext cx="8711703" cy="4430712"/>
          </a:xfrm>
        </p:spPr>
        <p:txBody>
          <a:bodyPr/>
          <a:lstStyle>
            <a:lvl1pPr>
              <a:defRPr b="0">
                <a:solidFill>
                  <a:schemeClr val="tx1">
                    <a:lumMod val="50000"/>
                    <a:lumOff val="50000"/>
                  </a:schemeClr>
                </a:solidFill>
              </a:defRPr>
            </a:lvl1pPr>
          </a:lstStyle>
          <a:p>
            <a:r>
              <a:rPr lang="en-US"/>
              <a:t>Click icon to add chart</a:t>
            </a:r>
            <a:endParaRPr lang="en-US" dirty="0"/>
          </a:p>
        </p:txBody>
      </p:sp>
      <p:sp>
        <p:nvSpPr>
          <p:cNvPr id="8" name="Table Placeholder 7">
            <a:extLst>
              <a:ext uri="{FF2B5EF4-FFF2-40B4-BE49-F238E27FC236}">
                <a16:creationId xmlns:a16="http://schemas.microsoft.com/office/drawing/2014/main" id="{DF938284-2F1E-584D-9337-D7B87CBC5AA9}"/>
              </a:ext>
            </a:extLst>
          </p:cNvPr>
          <p:cNvSpPr>
            <a:spLocks noGrp="1"/>
          </p:cNvSpPr>
          <p:nvPr>
            <p:ph type="tbl" sz="quarter" idx="114"/>
          </p:nvPr>
        </p:nvSpPr>
        <p:spPr>
          <a:xfrm>
            <a:off x="9735671" y="1877126"/>
            <a:ext cx="1880596" cy="4142674"/>
          </a:xfrm>
        </p:spPr>
        <p:txBody>
          <a:bodyPr/>
          <a:lstStyle>
            <a:lvl1pPr>
              <a:defRPr b="0">
                <a:solidFill>
                  <a:schemeClr val="tx1">
                    <a:lumMod val="50000"/>
                    <a:lumOff val="50000"/>
                  </a:schemeClr>
                </a:solidFill>
              </a:defRPr>
            </a:lvl1pPr>
          </a:lstStyle>
          <a:p>
            <a:r>
              <a:rPr lang="en-US"/>
              <a:t>Click icon to add table</a:t>
            </a:r>
            <a:endParaRPr lang="en-US" dirty="0"/>
          </a:p>
        </p:txBody>
      </p:sp>
      <p:sp>
        <p:nvSpPr>
          <p:cNvPr id="1000" name="Footnotes Placeholder">
            <a:extLst>
              <a:ext uri="{FF2B5EF4-FFF2-40B4-BE49-F238E27FC236}">
                <a16:creationId xmlns:a16="http://schemas.microsoft.com/office/drawing/2014/main" id="{36A53150-D08D-9841-95BF-646666A13560}"/>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74" name="Text Placeholder 6">
            <a:extLst>
              <a:ext uri="{FF2B5EF4-FFF2-40B4-BE49-F238E27FC236}">
                <a16:creationId xmlns:a16="http://schemas.microsoft.com/office/drawing/2014/main" id="{0EEFD735-CCDF-DA48-8D5E-802BC215A699}"/>
              </a:ext>
            </a:extLst>
          </p:cNvPr>
          <p:cNvSpPr>
            <a:spLocks noGrp="1"/>
          </p:cNvSpPr>
          <p:nvPr>
            <p:ph type="body" sz="quarter" idx="108" hasCustomPrompt="1"/>
          </p:nvPr>
        </p:nvSpPr>
        <p:spPr>
          <a:xfrm>
            <a:off x="575734"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dirty="0"/>
              <a:t>Click to add chart title</a:t>
            </a:r>
          </a:p>
          <a:p>
            <a:pPr lvl="1"/>
            <a:r>
              <a:rPr lang="en-US" dirty="0"/>
              <a:t>Chart subtitle (second level)</a:t>
            </a:r>
          </a:p>
        </p:txBody>
      </p:sp>
      <p:sp>
        <p:nvSpPr>
          <p:cNvPr id="75" name="Text Placeholder 6">
            <a:extLst>
              <a:ext uri="{FF2B5EF4-FFF2-40B4-BE49-F238E27FC236}">
                <a16:creationId xmlns:a16="http://schemas.microsoft.com/office/drawing/2014/main" id="{F2931FB7-F796-0A4B-9B3B-8EBE98CF1E80}"/>
              </a:ext>
            </a:extLst>
          </p:cNvPr>
          <p:cNvSpPr>
            <a:spLocks noGrp="1"/>
          </p:cNvSpPr>
          <p:nvPr>
            <p:ph type="body" sz="quarter" idx="115" hasCustomPrompt="1"/>
          </p:nvPr>
        </p:nvSpPr>
        <p:spPr>
          <a:xfrm>
            <a:off x="9735671" y="1211494"/>
            <a:ext cx="1880596" cy="399750"/>
          </a:xfrm>
          <a:blipFill dpi="0" rotWithShape="1">
            <a:blip r:embed="rId2"/>
            <a:srcRect/>
            <a:tile tx="0" ty="0" sx="100000" sy="100000" flip="xy" algn="b"/>
          </a:blipFill>
          <a:effectLst/>
        </p:spPr>
        <p:txBody>
          <a:bodyPr wrap="square" bIns="54000" anchor="b">
            <a:spAutoFit/>
          </a:bodyPr>
          <a:lstStyle>
            <a:lvl1pPr marL="3175" indent="0" algn="ctr">
              <a:spcBef>
                <a:spcPts val="100"/>
              </a:spcBef>
              <a:spcAft>
                <a:spcPts val="0"/>
              </a:spcAft>
              <a:tabLst/>
              <a:defRPr sz="1200">
                <a:solidFill>
                  <a:schemeClr val="tx1"/>
                </a:solidFill>
              </a:defRPr>
            </a:lvl1pPr>
            <a:lvl2pPr marL="3175" indent="0" algn="ctr">
              <a:spcAft>
                <a:spcPts val="0"/>
              </a:spcAft>
              <a:buFont typeface="Arial" panose="020B0604020202020204" pitchFamily="34" charset="0"/>
              <a:buNone/>
              <a:tabLst/>
              <a:defRPr sz="1200">
                <a:solidFill>
                  <a:schemeClr val="tx1"/>
                </a:solidFill>
              </a:defRPr>
            </a:lvl2pPr>
            <a:lvl3pPr marL="3175" indent="0" algn="ctr">
              <a:buNone/>
              <a:tabLst/>
              <a:defRPr sz="1200">
                <a:solidFill>
                  <a:schemeClr val="tx1"/>
                </a:solidFill>
              </a:defRPr>
            </a:lvl3pPr>
            <a:lvl4pPr marL="3175" indent="0" algn="ctr">
              <a:spcAft>
                <a:spcPts val="0"/>
              </a:spcAft>
              <a:buNone/>
              <a:tabLst/>
              <a:defRPr sz="1200">
                <a:solidFill>
                  <a:schemeClr val="tx1"/>
                </a:solidFill>
              </a:defRPr>
            </a:lvl4pPr>
            <a:lvl5pPr marL="3175" indent="0" algn="ctr">
              <a:spcAft>
                <a:spcPts val="0"/>
              </a:spcAft>
              <a:buFont typeface="Arial" panose="020B0604020202020204" pitchFamily="34" charset="0"/>
              <a:buNone/>
              <a:tabLst/>
              <a:defRPr sz="1200">
                <a:solidFill>
                  <a:schemeClr val="tx1"/>
                </a:solidFill>
              </a:defRPr>
            </a:lvl5pPr>
            <a:lvl6pPr marL="3175" indent="0" algn="ctr">
              <a:spcAft>
                <a:spcPts val="0"/>
              </a:spcAft>
              <a:buNone/>
              <a:tabLst/>
              <a:defRPr sz="1200">
                <a:solidFill>
                  <a:schemeClr val="tx1"/>
                </a:solidFill>
              </a:defRPr>
            </a:lvl6pPr>
            <a:lvl7pPr marL="3175" indent="0" algn="ctr">
              <a:spcAft>
                <a:spcPts val="0"/>
              </a:spcAft>
              <a:buNone/>
              <a:tabLst/>
              <a:defRPr sz="1200">
                <a:solidFill>
                  <a:schemeClr val="tx1"/>
                </a:solidFill>
              </a:defRPr>
            </a:lvl7pPr>
            <a:lvl8pPr marL="3175" indent="0" algn="ctr">
              <a:spcAft>
                <a:spcPts val="0"/>
              </a:spcAft>
              <a:buNone/>
              <a:tabLst/>
              <a:defRPr sz="1200">
                <a:solidFill>
                  <a:schemeClr val="tx1"/>
                </a:solidFill>
              </a:defRPr>
            </a:lvl8pPr>
            <a:lvl9pPr marL="3175" indent="0" algn="ctr">
              <a:spcAft>
                <a:spcPts val="0"/>
              </a:spcAft>
              <a:buNone/>
              <a:tabLst/>
              <a:defRPr sz="1200">
                <a:solidFill>
                  <a:schemeClr val="tx1"/>
                </a:solidFill>
              </a:defRPr>
            </a:lvl9pPr>
          </a:lstStyle>
          <a:p>
            <a:pPr lvl="0"/>
            <a:r>
              <a:rPr lang="en-US" dirty="0"/>
              <a:t>Click to add topic</a:t>
            </a:r>
          </a:p>
          <a:p>
            <a:pPr lvl="1"/>
            <a:r>
              <a:rPr lang="en-US" dirty="0"/>
              <a:t>Subtitle</a:t>
            </a:r>
          </a:p>
        </p:txBody>
      </p:sp>
      <p:sp>
        <p:nvSpPr>
          <p:cNvPr id="6" name="Date Placeholder 5">
            <a:extLst>
              <a:ext uri="{FF2B5EF4-FFF2-40B4-BE49-F238E27FC236}">
                <a16:creationId xmlns:a16="http://schemas.microsoft.com/office/drawing/2014/main" id="{00E0EC71-9467-C940-A5C4-5AE2C2306E07}"/>
              </a:ext>
            </a:extLst>
          </p:cNvPr>
          <p:cNvSpPr>
            <a:spLocks noGrp="1"/>
          </p:cNvSpPr>
          <p:nvPr userDrawn="1">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71040711-9799-2949-9707-943424D7AC7C}"/>
              </a:ext>
            </a:extLst>
          </p:cNvPr>
          <p:cNvSpPr>
            <a:spLocks noGrp="1"/>
          </p:cNvSpPr>
          <p:nvPr userDrawn="1">
            <p:ph type="ftr" sz="quarter" idx="117"/>
          </p:nvPr>
        </p:nvSpPr>
        <p:spPr/>
        <p:txBody>
          <a:bodyPr/>
          <a:lstStyle/>
          <a:p>
            <a:endParaRPr lang="en-US" dirty="0"/>
          </a:p>
        </p:txBody>
      </p:sp>
      <p:sp>
        <p:nvSpPr>
          <p:cNvPr id="10" name="Slide Number Placeholder 9">
            <a:extLst>
              <a:ext uri="{FF2B5EF4-FFF2-40B4-BE49-F238E27FC236}">
                <a16:creationId xmlns:a16="http://schemas.microsoft.com/office/drawing/2014/main" id="{1CAA4B3A-4569-BE43-A665-117BBA2442D6}"/>
              </a:ext>
            </a:extLst>
          </p:cNvPr>
          <p:cNvSpPr>
            <a:spLocks noGrp="1"/>
          </p:cNvSpPr>
          <p:nvPr userDrawn="1">
            <p:ph type="sldNum" sz="quarter" idx="118"/>
          </p:nvPr>
        </p:nvSpPr>
        <p:spPr/>
        <p:txBody>
          <a:bodyPr/>
          <a:lstStyle/>
          <a:p>
            <a:pPr marL="12700"/>
            <a:fld id="{078C017C-E1B9-8443-B047-B08AAA027B45}" type="slidenum">
              <a:rPr lang="en-US" smtClean="0"/>
              <a:pPr marL="12700"/>
              <a:t>‹#›</a:t>
            </a:fld>
            <a:endParaRPr lang="en-US" dirty="0"/>
          </a:p>
        </p:txBody>
      </p:sp>
      <p:grpSp>
        <p:nvGrpSpPr>
          <p:cNvPr id="17" name="Group 16">
            <a:extLst>
              <a:ext uri="{FF2B5EF4-FFF2-40B4-BE49-F238E27FC236}">
                <a16:creationId xmlns:a16="http://schemas.microsoft.com/office/drawing/2014/main" id="{B864070E-A16B-8540-98EE-429756CFB812}"/>
              </a:ext>
            </a:extLst>
          </p:cNvPr>
          <p:cNvGrpSpPr/>
          <p:nvPr userDrawn="1"/>
        </p:nvGrpSpPr>
        <p:grpSpPr>
          <a:xfrm>
            <a:off x="12532244" y="-1"/>
            <a:ext cx="3948953" cy="9267987"/>
            <a:chOff x="9399182" y="-1"/>
            <a:chExt cx="2961715" cy="9267987"/>
          </a:xfrm>
        </p:grpSpPr>
        <p:sp>
          <p:nvSpPr>
            <p:cNvPr id="77" name="Rectangle 76">
              <a:extLst>
                <a:ext uri="{FF2B5EF4-FFF2-40B4-BE49-F238E27FC236}">
                  <a16:creationId xmlns:a16="http://schemas.microsoft.com/office/drawing/2014/main" id="{0603B78C-BC30-1640-816E-69DA7CE83E2F}"/>
                </a:ext>
              </a:extLst>
            </p:cNvPr>
            <p:cNvSpPr/>
            <p:nvPr userDrawn="1"/>
          </p:nvSpPr>
          <p:spPr>
            <a:xfrm>
              <a:off x="9399182" y="-1"/>
              <a:ext cx="2798651" cy="926798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56" name="Picture 55">
              <a:extLst>
                <a:ext uri="{FF2B5EF4-FFF2-40B4-BE49-F238E27FC236}">
                  <a16:creationId xmlns:a16="http://schemas.microsoft.com/office/drawing/2014/main" id="{9826FF71-3274-F14B-B6F7-E4981E065655}"/>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78" name="Group 77">
              <a:extLst>
                <a:ext uri="{FF2B5EF4-FFF2-40B4-BE49-F238E27FC236}">
                  <a16:creationId xmlns:a16="http://schemas.microsoft.com/office/drawing/2014/main" id="{98722430-68E5-C049-90EB-29339645DED9}"/>
                </a:ext>
              </a:extLst>
            </p:cNvPr>
            <p:cNvGrpSpPr/>
            <p:nvPr userDrawn="1"/>
          </p:nvGrpSpPr>
          <p:grpSpPr>
            <a:xfrm>
              <a:off x="9541497" y="162442"/>
              <a:ext cx="2819400" cy="814510"/>
              <a:chOff x="-3644733" y="165205"/>
              <a:chExt cx="2819400" cy="814510"/>
            </a:xfrm>
          </p:grpSpPr>
          <p:sp>
            <p:nvSpPr>
              <p:cNvPr id="104" name="Rectangle 103">
                <a:extLst>
                  <a:ext uri="{FF2B5EF4-FFF2-40B4-BE49-F238E27FC236}">
                    <a16:creationId xmlns:a16="http://schemas.microsoft.com/office/drawing/2014/main" id="{28459255-E604-9343-87B1-649A2191144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5" name="TextBox 104">
                <a:extLst>
                  <a:ext uri="{FF2B5EF4-FFF2-40B4-BE49-F238E27FC236}">
                    <a16:creationId xmlns:a16="http://schemas.microsoft.com/office/drawing/2014/main" id="{69499230-744A-E14B-9620-23F5B206215C}"/>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06" name="Picture 105">
                <a:extLst>
                  <a:ext uri="{FF2B5EF4-FFF2-40B4-BE49-F238E27FC236}">
                    <a16:creationId xmlns:a16="http://schemas.microsoft.com/office/drawing/2014/main" id="{8FC05E41-787F-E742-AC69-7912BA0ECCDD}"/>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sp>
          <p:nvSpPr>
            <p:cNvPr id="96" name="TextBox 95">
              <a:extLst>
                <a:ext uri="{FF2B5EF4-FFF2-40B4-BE49-F238E27FC236}">
                  <a16:creationId xmlns:a16="http://schemas.microsoft.com/office/drawing/2014/main" id="{70A88B44-6F55-9D4E-AAE3-48BC61C70445}"/>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97" name="Straight Connector 96">
              <a:extLst>
                <a:ext uri="{FF2B5EF4-FFF2-40B4-BE49-F238E27FC236}">
                  <a16:creationId xmlns:a16="http://schemas.microsoft.com/office/drawing/2014/main" id="{2EAF79B9-3FFF-124B-B1AD-B933F83802D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E91BEBAB-D308-674B-BF77-07962DFE1A2B}"/>
                </a:ext>
              </a:extLst>
            </p:cNvPr>
            <p:cNvGrpSpPr/>
            <p:nvPr userDrawn="1"/>
          </p:nvGrpSpPr>
          <p:grpSpPr>
            <a:xfrm>
              <a:off x="9521833" y="8003265"/>
              <a:ext cx="2676002" cy="1074276"/>
              <a:chOff x="9521833" y="2036288"/>
              <a:chExt cx="2676002" cy="1074276"/>
            </a:xfrm>
          </p:grpSpPr>
          <p:sp>
            <p:nvSpPr>
              <p:cNvPr id="98" name="TextBox 97">
                <a:extLst>
                  <a:ext uri="{FF2B5EF4-FFF2-40B4-BE49-F238E27FC236}">
                    <a16:creationId xmlns:a16="http://schemas.microsoft.com/office/drawing/2014/main" id="{8E29CC56-D7E0-A743-8545-C70D5769BB5C}"/>
                  </a:ext>
                </a:extLst>
              </p:cNvPr>
              <p:cNvSpPr txBox="1"/>
              <p:nvPr userDrawn="1"/>
            </p:nvSpPr>
            <p:spPr>
              <a:xfrm>
                <a:off x="9558507" y="2036288"/>
                <a:ext cx="99666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ADD A NEW CHART</a:t>
                </a:r>
              </a:p>
            </p:txBody>
          </p:sp>
          <p:cxnSp>
            <p:nvCxnSpPr>
              <p:cNvPr id="99" name="Straight Connector 98">
                <a:extLst>
                  <a:ext uri="{FF2B5EF4-FFF2-40B4-BE49-F238E27FC236}">
                    <a16:creationId xmlns:a16="http://schemas.microsoft.com/office/drawing/2014/main" id="{37B40757-D8C1-EC41-9432-9B3652E3815F}"/>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8B671BCA-8DB9-E644-88C5-5BC2E18F782D}"/>
                  </a:ext>
                </a:extLst>
              </p:cNvPr>
              <p:cNvGrpSpPr/>
              <p:nvPr userDrawn="1"/>
            </p:nvGrpSpPr>
            <p:grpSpPr>
              <a:xfrm>
                <a:off x="9521833" y="2361408"/>
                <a:ext cx="2557391" cy="323165"/>
                <a:chOff x="12352022" y="513115"/>
                <a:chExt cx="2557391" cy="323165"/>
              </a:xfrm>
            </p:grpSpPr>
            <p:sp>
              <p:nvSpPr>
                <p:cNvPr id="102" name="TextBox 101">
                  <a:extLst>
                    <a:ext uri="{FF2B5EF4-FFF2-40B4-BE49-F238E27FC236}">
                      <a16:creationId xmlns:a16="http://schemas.microsoft.com/office/drawing/2014/main" id="{BEB784B2-AE05-A243-8FAF-336308ECBC8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03" name="TextBox 102">
                  <a:extLst>
                    <a:ext uri="{FF2B5EF4-FFF2-40B4-BE49-F238E27FC236}">
                      <a16:creationId xmlns:a16="http://schemas.microsoft.com/office/drawing/2014/main" id="{D7E60B24-6CF0-D146-894F-6A8172D604DE}"/>
                    </a:ext>
                  </a:extLst>
                </p:cNvPr>
                <p:cNvSpPr txBox="1"/>
                <p:nvPr userDrawn="1"/>
              </p:nvSpPr>
              <p:spPr>
                <a:xfrm>
                  <a:off x="12516615" y="513115"/>
                  <a:ext cx="2392798"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Open the </a:t>
                  </a:r>
                  <a:r>
                    <a:rPr lang="en-US" sz="1050" b="1" dirty="0"/>
                    <a:t>VEDP Template Assets file </a:t>
                  </a:r>
                  <a:r>
                    <a:rPr lang="en-US" sz="1050" dirty="0"/>
                    <a:t>and copy the desired chart type into your presentation.</a:t>
                  </a:r>
                </a:p>
              </p:txBody>
            </p:sp>
          </p:grpSp>
          <p:sp>
            <p:nvSpPr>
              <p:cNvPr id="101" name="TextBox 100">
                <a:extLst>
                  <a:ext uri="{FF2B5EF4-FFF2-40B4-BE49-F238E27FC236}">
                    <a16:creationId xmlns:a16="http://schemas.microsoft.com/office/drawing/2014/main" id="{F035D1A9-98A9-1540-B091-D067CCAC007C}"/>
                  </a:ext>
                </a:extLst>
              </p:cNvPr>
              <p:cNvSpPr txBox="1"/>
              <p:nvPr userDrawn="1"/>
            </p:nvSpPr>
            <p:spPr>
              <a:xfrm>
                <a:off x="9686426" y="2895120"/>
                <a:ext cx="2120429"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80" name="TextBox 79">
              <a:extLst>
                <a:ext uri="{FF2B5EF4-FFF2-40B4-BE49-F238E27FC236}">
                  <a16:creationId xmlns:a16="http://schemas.microsoft.com/office/drawing/2014/main" id="{FFA433AB-7A83-FE46-B7D5-E3E9223C94FE}"/>
                </a:ext>
              </a:extLst>
            </p:cNvPr>
            <p:cNvSpPr txBox="1"/>
            <p:nvPr userDrawn="1"/>
          </p:nvSpPr>
          <p:spPr>
            <a:xfrm>
              <a:off x="9558507" y="4314602"/>
              <a:ext cx="15424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FORMAT AN EXISTING CHART</a:t>
              </a:r>
            </a:p>
          </p:txBody>
        </p:sp>
        <p:cxnSp>
          <p:nvCxnSpPr>
            <p:cNvPr id="81" name="Straight Connector 80">
              <a:extLst>
                <a:ext uri="{FF2B5EF4-FFF2-40B4-BE49-F238E27FC236}">
                  <a16:creationId xmlns:a16="http://schemas.microsoft.com/office/drawing/2014/main" id="{1B09943F-2379-404A-B5DA-E7E4342B6C86}"/>
                </a:ext>
              </a:extLst>
            </p:cNvPr>
            <p:cNvCxnSpPr>
              <a:cxnSpLocks/>
            </p:cNvCxnSpPr>
            <p:nvPr userDrawn="1"/>
          </p:nvCxnSpPr>
          <p:spPr>
            <a:xfrm>
              <a:off x="9558507" y="4517219"/>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BFB006C8-D07C-804E-A72A-C50DBCE312C1}"/>
                </a:ext>
              </a:extLst>
            </p:cNvPr>
            <p:cNvSpPr txBox="1">
              <a:spLocks noChangeAspect="1"/>
            </p:cNvSpPr>
            <p:nvPr userDrawn="1"/>
          </p:nvSpPr>
          <p:spPr>
            <a:xfrm>
              <a:off x="9521833" y="466474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3" name="TextBox 82">
              <a:extLst>
                <a:ext uri="{FF2B5EF4-FFF2-40B4-BE49-F238E27FC236}">
                  <a16:creationId xmlns:a16="http://schemas.microsoft.com/office/drawing/2014/main" id="{98FC336D-B4A7-4A4A-8AD2-1F9EF034E3AD}"/>
                </a:ext>
              </a:extLst>
            </p:cNvPr>
            <p:cNvSpPr txBox="1">
              <a:spLocks noChangeAspect="1"/>
            </p:cNvSpPr>
            <p:nvPr userDrawn="1"/>
          </p:nvSpPr>
          <p:spPr>
            <a:xfrm>
              <a:off x="9521833" y="539179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4" name="TextBox 83">
              <a:extLst>
                <a:ext uri="{FF2B5EF4-FFF2-40B4-BE49-F238E27FC236}">
                  <a16:creationId xmlns:a16="http://schemas.microsoft.com/office/drawing/2014/main" id="{84AF85FC-1918-5741-B46D-5BD00B98A8B4}"/>
                </a:ext>
              </a:extLst>
            </p:cNvPr>
            <p:cNvSpPr txBox="1"/>
            <p:nvPr userDrawn="1"/>
          </p:nvSpPr>
          <p:spPr>
            <a:xfrm>
              <a:off x="9686426" y="4639722"/>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the chart placeholder and then paste your existing chart.</a:t>
              </a:r>
            </a:p>
          </p:txBody>
        </p:sp>
        <p:sp>
          <p:nvSpPr>
            <p:cNvPr id="85" name="TextBox 84">
              <a:extLst>
                <a:ext uri="{FF2B5EF4-FFF2-40B4-BE49-F238E27FC236}">
                  <a16:creationId xmlns:a16="http://schemas.microsoft.com/office/drawing/2014/main" id="{D674EEFB-EF3C-2340-BE36-9233624B9308}"/>
                </a:ext>
              </a:extLst>
            </p:cNvPr>
            <p:cNvSpPr txBox="1"/>
            <p:nvPr userDrawn="1"/>
          </p:nvSpPr>
          <p:spPr>
            <a:xfrm>
              <a:off x="9686426" y="5368928"/>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Right-click on the chart and choose “Change Chart Type…”</a:t>
              </a:r>
            </a:p>
          </p:txBody>
        </p:sp>
        <p:sp>
          <p:nvSpPr>
            <p:cNvPr id="86" name="TextBox 85">
              <a:extLst>
                <a:ext uri="{FF2B5EF4-FFF2-40B4-BE49-F238E27FC236}">
                  <a16:creationId xmlns:a16="http://schemas.microsoft.com/office/drawing/2014/main" id="{C863F9D4-3950-0241-850A-C88B4A8B95D4}"/>
                </a:ext>
              </a:extLst>
            </p:cNvPr>
            <p:cNvSpPr txBox="1">
              <a:spLocks noChangeAspect="1"/>
            </p:cNvSpPr>
            <p:nvPr userDrawn="1"/>
          </p:nvSpPr>
          <p:spPr>
            <a:xfrm>
              <a:off x="9521833" y="585478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87" name="TextBox 86">
              <a:extLst>
                <a:ext uri="{FF2B5EF4-FFF2-40B4-BE49-F238E27FC236}">
                  <a16:creationId xmlns:a16="http://schemas.microsoft.com/office/drawing/2014/main" id="{157780A7-784A-CE4E-A107-6AD67C7614A3}"/>
                </a:ext>
              </a:extLst>
            </p:cNvPr>
            <p:cNvSpPr txBox="1"/>
            <p:nvPr userDrawn="1"/>
          </p:nvSpPr>
          <p:spPr>
            <a:xfrm>
              <a:off x="9686426" y="5831918"/>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Choose one of the VEDP chart styles from the ‘Templates’ category.</a:t>
              </a:r>
            </a:p>
          </p:txBody>
        </p:sp>
        <p:sp>
          <p:nvSpPr>
            <p:cNvPr id="88" name="TextBox 87">
              <a:extLst>
                <a:ext uri="{FF2B5EF4-FFF2-40B4-BE49-F238E27FC236}">
                  <a16:creationId xmlns:a16="http://schemas.microsoft.com/office/drawing/2014/main" id="{E018981E-3F1A-7146-9B4B-4485D3EC3895}"/>
                </a:ext>
              </a:extLst>
            </p:cNvPr>
            <p:cNvSpPr txBox="1"/>
            <p:nvPr userDrawn="1"/>
          </p:nvSpPr>
          <p:spPr>
            <a:xfrm>
              <a:off x="9674268" y="5002944"/>
              <a:ext cx="2297650"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91" name="Group 90">
              <a:extLst>
                <a:ext uri="{FF2B5EF4-FFF2-40B4-BE49-F238E27FC236}">
                  <a16:creationId xmlns:a16="http://schemas.microsoft.com/office/drawing/2014/main" id="{A9C1A1AE-A143-5B45-A93F-D2BC596FED56}"/>
                </a:ext>
              </a:extLst>
            </p:cNvPr>
            <p:cNvGrpSpPr/>
            <p:nvPr userDrawn="1"/>
          </p:nvGrpSpPr>
          <p:grpSpPr>
            <a:xfrm>
              <a:off x="9541497" y="6326507"/>
              <a:ext cx="2735151" cy="1475581"/>
              <a:chOff x="9296567" y="4910411"/>
              <a:chExt cx="2735151" cy="1475581"/>
            </a:xfrm>
          </p:grpSpPr>
          <p:sp>
            <p:nvSpPr>
              <p:cNvPr id="92" name="Rectangle 91">
                <a:extLst>
                  <a:ext uri="{FF2B5EF4-FFF2-40B4-BE49-F238E27FC236}">
                    <a16:creationId xmlns:a16="http://schemas.microsoft.com/office/drawing/2014/main" id="{205C3E47-B0FB-6D42-8FE4-533A345103DB}"/>
                  </a:ext>
                </a:extLst>
              </p:cNvPr>
              <p:cNvSpPr/>
              <p:nvPr userDrawn="1"/>
            </p:nvSpPr>
            <p:spPr>
              <a:xfrm>
                <a:off x="9296567" y="4910411"/>
                <a:ext cx="2735151" cy="1475581"/>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3" name="TextBox 92">
                <a:extLst>
                  <a:ext uri="{FF2B5EF4-FFF2-40B4-BE49-F238E27FC236}">
                    <a16:creationId xmlns:a16="http://schemas.microsoft.com/office/drawing/2014/main" id="{05B3AB36-11C1-B345-B1C6-7001A0937B3A}"/>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94" name="Graphic 93">
                <a:extLst>
                  <a:ext uri="{FF2B5EF4-FFF2-40B4-BE49-F238E27FC236}">
                    <a16:creationId xmlns:a16="http://schemas.microsoft.com/office/drawing/2014/main" id="{26163978-6874-234F-A1D2-D12DAC94998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5" name="TextBox 94">
                <a:extLst>
                  <a:ext uri="{FF2B5EF4-FFF2-40B4-BE49-F238E27FC236}">
                    <a16:creationId xmlns:a16="http://schemas.microsoft.com/office/drawing/2014/main" id="{69B7DBB9-0A63-934A-91F0-2514D4B24140}"/>
                  </a:ext>
                </a:extLst>
              </p:cNvPr>
              <p:cNvSpPr txBox="1"/>
              <p:nvPr userDrawn="1"/>
            </p:nvSpPr>
            <p:spPr>
              <a:xfrm>
                <a:off x="9471805" y="5300350"/>
                <a:ext cx="2399065" cy="10207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dirty="0"/>
                  <a:t>In case of error, return legend entries, data labels, and/or chart formatting by re-applying the current VEDP chart style template.</a:t>
                </a:r>
              </a:p>
              <a:p>
                <a:pPr lvl="1"/>
                <a:r>
                  <a:rPr lang="en-US" sz="900" dirty="0"/>
                  <a:t>Right-click the chart and choose</a:t>
                </a:r>
                <a:br>
                  <a:rPr lang="en-US" sz="900" dirty="0"/>
                </a:br>
                <a:r>
                  <a:rPr lang="en-US" sz="900" dirty="0"/>
                  <a:t>“Change Chart Type”</a:t>
                </a:r>
              </a:p>
              <a:p>
                <a:pPr lvl="1"/>
                <a:r>
                  <a:rPr lang="en-US" sz="900" dirty="0"/>
                  <a:t>Then choose the matching VEDP chart style from the ‘Templates’ category.</a:t>
                </a:r>
              </a:p>
            </p:txBody>
          </p:sp>
        </p:grpSp>
        <p:grpSp>
          <p:nvGrpSpPr>
            <p:cNvPr id="46" name="Group 45">
              <a:extLst>
                <a:ext uri="{FF2B5EF4-FFF2-40B4-BE49-F238E27FC236}">
                  <a16:creationId xmlns:a16="http://schemas.microsoft.com/office/drawing/2014/main" id="{EDC97BF0-6494-054B-BAC7-76B18D15D463}"/>
                </a:ext>
              </a:extLst>
            </p:cNvPr>
            <p:cNvGrpSpPr/>
            <p:nvPr userDrawn="1"/>
          </p:nvGrpSpPr>
          <p:grpSpPr>
            <a:xfrm>
              <a:off x="9541497" y="1990481"/>
              <a:ext cx="2735151" cy="2124319"/>
              <a:chOff x="9296567" y="4910411"/>
              <a:chExt cx="2735151" cy="2124319"/>
            </a:xfrm>
          </p:grpSpPr>
          <p:sp>
            <p:nvSpPr>
              <p:cNvPr id="47" name="Rectangle 46">
                <a:extLst>
                  <a:ext uri="{FF2B5EF4-FFF2-40B4-BE49-F238E27FC236}">
                    <a16:creationId xmlns:a16="http://schemas.microsoft.com/office/drawing/2014/main" id="{6EA5BD78-0CA6-1D44-AE20-16CD67196734}"/>
                  </a:ext>
                </a:extLst>
              </p:cNvPr>
              <p:cNvSpPr/>
              <p:nvPr userDrawn="1"/>
            </p:nvSpPr>
            <p:spPr>
              <a:xfrm>
                <a:off x="9296567" y="4910411"/>
                <a:ext cx="2735151" cy="2124319"/>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8" name="TextBox 47">
                <a:extLst>
                  <a:ext uri="{FF2B5EF4-FFF2-40B4-BE49-F238E27FC236}">
                    <a16:creationId xmlns:a16="http://schemas.microsoft.com/office/drawing/2014/main" id="{C9B44842-1EC0-ED4A-8AFC-859D10E283B5}"/>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se a table to add data column</a:t>
                </a:r>
              </a:p>
            </p:txBody>
          </p:sp>
          <p:pic>
            <p:nvPicPr>
              <p:cNvPr id="49" name="Graphic 48">
                <a:extLst>
                  <a:ext uri="{FF2B5EF4-FFF2-40B4-BE49-F238E27FC236}">
                    <a16:creationId xmlns:a16="http://schemas.microsoft.com/office/drawing/2014/main" id="{B936CAA9-65A1-FC4A-875A-7639F7F131D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50" name="TextBox 49">
                <a:extLst>
                  <a:ext uri="{FF2B5EF4-FFF2-40B4-BE49-F238E27FC236}">
                    <a16:creationId xmlns:a16="http://schemas.microsoft.com/office/drawing/2014/main" id="{101400F7-2DF9-9C4E-8B1C-7F2315B8FDAC}"/>
                  </a:ext>
                </a:extLst>
              </p:cNvPr>
              <p:cNvSpPr txBox="1"/>
              <p:nvPr userDrawn="1"/>
            </p:nvSpPr>
            <p:spPr>
              <a:xfrm>
                <a:off x="9471805" y="5300350"/>
                <a:ext cx="2399065" cy="718145"/>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pPr lvl="1"/>
                <a:r>
                  <a:rPr lang="en-US" sz="900" dirty="0"/>
                  <a:t>Click the table icon and insert a table with</a:t>
                </a:r>
                <a:br>
                  <a:rPr lang="en-US" sz="900" dirty="0"/>
                </a:br>
                <a:r>
                  <a:rPr lang="en-US" sz="900" dirty="0"/>
                  <a:t>1 column and the same number of rows as categories in your chart.</a:t>
                </a:r>
              </a:p>
              <a:p>
                <a:pPr lvl="1"/>
                <a:r>
                  <a:rPr lang="en-US" sz="900" dirty="0"/>
                  <a:t>In the Table Design tab, choose the</a:t>
                </a:r>
                <a:br>
                  <a:rPr lang="en-US" sz="900" dirty="0"/>
                </a:br>
                <a:r>
                  <a:rPr lang="en-US" sz="900" dirty="0"/>
                  <a:t>“No Style, No Grid” table style.</a:t>
                </a:r>
              </a:p>
            </p:txBody>
          </p:sp>
          <p:sp>
            <p:nvSpPr>
              <p:cNvPr id="55" name="TextBox 54">
                <a:extLst>
                  <a:ext uri="{FF2B5EF4-FFF2-40B4-BE49-F238E27FC236}">
                    <a16:creationId xmlns:a16="http://schemas.microsoft.com/office/drawing/2014/main" id="{3BF0B28D-ACDE-694B-AE6D-61241B43B83E}"/>
                  </a:ext>
                </a:extLst>
              </p:cNvPr>
              <p:cNvSpPr txBox="1"/>
              <p:nvPr userDrawn="1"/>
            </p:nvSpPr>
            <p:spPr>
              <a:xfrm>
                <a:off x="9471805" y="6471925"/>
                <a:ext cx="2284765" cy="302647"/>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pPr lvl="1"/>
                <a:r>
                  <a:rPr lang="en-US" sz="900" dirty="0"/>
                  <a:t>Change the text alignment to “Center”</a:t>
                </a:r>
              </a:p>
              <a:p>
                <a:pPr lvl="1"/>
                <a:r>
                  <a:rPr lang="en-US" sz="900" dirty="0"/>
                  <a:t>Change the vertical alignment of the cells to “Middle”</a:t>
                </a:r>
              </a:p>
            </p:txBody>
          </p:sp>
        </p:grpSp>
        <p:pic>
          <p:nvPicPr>
            <p:cNvPr id="14" name="Picture 13">
              <a:extLst>
                <a:ext uri="{FF2B5EF4-FFF2-40B4-BE49-F238E27FC236}">
                  <a16:creationId xmlns:a16="http://schemas.microsoft.com/office/drawing/2014/main" id="{59A68EBB-78D1-BF41-BBB4-FEEDFBED0038}"/>
                </a:ext>
              </a:extLst>
            </p:cNvPr>
            <p:cNvPicPr>
              <a:picLocks noChangeAspect="1"/>
            </p:cNvPicPr>
            <p:nvPr userDrawn="1"/>
          </p:nvPicPr>
          <p:blipFill>
            <a:blip r:embed="rId7"/>
            <a:stretch>
              <a:fillRect/>
            </a:stretch>
          </p:blipFill>
          <p:spPr>
            <a:xfrm>
              <a:off x="9779333" y="3076329"/>
              <a:ext cx="2265030" cy="324185"/>
            </a:xfrm>
            <a:prstGeom prst="rect">
              <a:avLst/>
            </a:prstGeom>
          </p:spPr>
        </p:pic>
        <p:pic>
          <p:nvPicPr>
            <p:cNvPr id="16" name="Picture 15">
              <a:extLst>
                <a:ext uri="{FF2B5EF4-FFF2-40B4-BE49-F238E27FC236}">
                  <a16:creationId xmlns:a16="http://schemas.microsoft.com/office/drawing/2014/main" id="{B9CE2B6D-A88E-BF47-88F9-0FD3CD4DD4D2}"/>
                </a:ext>
              </a:extLst>
            </p:cNvPr>
            <p:cNvPicPr>
              <a:picLocks noChangeAspect="1"/>
            </p:cNvPicPr>
            <p:nvPr userDrawn="1"/>
          </p:nvPicPr>
          <p:blipFill rotWithShape="1">
            <a:blip r:embed="rId8"/>
            <a:srcRect l="1073" t="3423" r="1434" b="3096"/>
            <a:stretch/>
          </p:blipFill>
          <p:spPr>
            <a:xfrm>
              <a:off x="10594975" y="3279775"/>
              <a:ext cx="739775" cy="184150"/>
            </a:xfrm>
            <a:prstGeom prst="rect">
              <a:avLst/>
            </a:prstGeom>
          </p:spPr>
        </p:pic>
      </p:grpSp>
    </p:spTree>
    <p:extLst>
      <p:ext uri="{BB962C8B-B14F-4D97-AF65-F5344CB8AC3E}">
        <p14:creationId xmlns:p14="http://schemas.microsoft.com/office/powerpoint/2010/main" val="260836207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Chart and Callout Box">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B99E022-6BD1-074D-A651-0F1D3CDA165E}"/>
              </a:ext>
            </a:extLst>
          </p:cNvPr>
          <p:cNvSpPr/>
          <p:nvPr userDrawn="1"/>
        </p:nvSpPr>
        <p:spPr>
          <a:xfrm>
            <a:off x="12532243" y="-1"/>
            <a:ext cx="3731535" cy="846557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70" name="Picture 69">
            <a:extLst>
              <a:ext uri="{FF2B5EF4-FFF2-40B4-BE49-F238E27FC236}">
                <a16:creationId xmlns:a16="http://schemas.microsoft.com/office/drawing/2014/main" id="{9C63083C-E80F-E145-8345-4B0E6010FB67}"/>
              </a:ext>
            </a:extLst>
          </p:cNvPr>
          <p:cNvPicPr>
            <a:picLocks noChangeAspect="1"/>
          </p:cNvPicPr>
          <p:nvPr userDrawn="1"/>
        </p:nvPicPr>
        <p:blipFill rotWithShape="1">
          <a:blip r:embed="rId2"/>
          <a:srcRect r="43480"/>
          <a:stretch/>
        </p:blipFill>
        <p:spPr>
          <a:xfrm>
            <a:off x="12744673" y="2429172"/>
            <a:ext cx="3519099" cy="935038"/>
          </a:xfrm>
          <a:prstGeom prst="rect">
            <a:avLst/>
          </a:prstGeom>
        </p:spPr>
      </p:pic>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6" name="Chart Placeholder 2">
            <a:extLst>
              <a:ext uri="{FF2B5EF4-FFF2-40B4-BE49-F238E27FC236}">
                <a16:creationId xmlns:a16="http://schemas.microsoft.com/office/drawing/2014/main" id="{A52282EC-86DC-8D43-96A4-DCB61C454A07}"/>
              </a:ext>
            </a:extLst>
          </p:cNvPr>
          <p:cNvSpPr>
            <a:spLocks noGrp="1"/>
          </p:cNvSpPr>
          <p:nvPr>
            <p:ph type="chart" sz="quarter" idx="113"/>
          </p:nvPr>
        </p:nvSpPr>
        <p:spPr>
          <a:xfrm>
            <a:off x="575732" y="1735138"/>
            <a:ext cx="7683365" cy="4430712"/>
          </a:xfrm>
        </p:spPr>
        <p:txBody>
          <a:bodyPr/>
          <a:lstStyle>
            <a:lvl1pPr>
              <a:defRPr b="0">
                <a:solidFill>
                  <a:schemeClr val="tx1">
                    <a:lumMod val="50000"/>
                    <a:lumOff val="50000"/>
                  </a:schemeClr>
                </a:solidFill>
              </a:defRPr>
            </a:lvl1pPr>
          </a:lstStyle>
          <a:p>
            <a:r>
              <a:rPr lang="en-US"/>
              <a:t>Click icon to add chart</a:t>
            </a:r>
            <a:endParaRPr lang="en-US" dirty="0"/>
          </a:p>
        </p:txBody>
      </p:sp>
      <p:sp>
        <p:nvSpPr>
          <p:cNvPr id="3" name="Text Placeholder 2">
            <a:extLst>
              <a:ext uri="{FF2B5EF4-FFF2-40B4-BE49-F238E27FC236}">
                <a16:creationId xmlns:a16="http://schemas.microsoft.com/office/drawing/2014/main" id="{B4047063-0C39-EB47-B9DB-09006681A5FA}"/>
              </a:ext>
            </a:extLst>
          </p:cNvPr>
          <p:cNvSpPr>
            <a:spLocks noGrp="1"/>
          </p:cNvSpPr>
          <p:nvPr>
            <p:ph type="body" sz="quarter" idx="114" hasCustomPrompt="1"/>
          </p:nvPr>
        </p:nvSpPr>
        <p:spPr>
          <a:xfrm>
            <a:off x="8711381" y="1735139"/>
            <a:ext cx="2904887" cy="4430712"/>
          </a:xfrm>
          <a:ln w="12700">
            <a:solidFill>
              <a:schemeClr val="accent1"/>
            </a:solidFill>
          </a:ln>
        </p:spPr>
        <p:txBody>
          <a:bodyPr lIns="216000" tIns="360000" rIns="216000" bIns="216000" anchor="t"/>
          <a:lst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lang="en-US" sz="3200"/>
            </a:lvl1pPr>
            <a:lvl2pPr>
              <a:defRPr lang="en-US" dirty="0"/>
            </a:lvl2pPr>
            <a:lvl3pPr marL="0" indent="0">
              <a:buFontTx/>
              <a:buNone/>
              <a:defRPr lang="en-US" dirty="0"/>
            </a:lvl3pPr>
            <a:lvl4pPr marL="0" indent="0">
              <a:buFontTx/>
              <a:buNone/>
              <a:defRPr lang="en-US" dirty="0"/>
            </a:lvl4pPr>
            <a:lvl5pPr marL="0" indent="0">
              <a:buFontTx/>
              <a:buNone/>
              <a:defRPr lang="en-US" dirty="0"/>
            </a:lvl5pPr>
            <a:lvl6pPr marL="0" indent="0">
              <a:buFontTx/>
              <a:buNone/>
              <a:defRPr/>
            </a:lvl6pPr>
            <a:lvl7pPr marL="0" indent="0">
              <a:buFontTx/>
              <a:buNone/>
              <a:defRPr/>
            </a:lvl7pPr>
            <a:lvl8pPr marL="0" indent="0">
              <a:buFontTx/>
              <a:buNone/>
              <a:defRPr/>
            </a:lvl8pPr>
            <a:lvl9pPr marL="0" indent="0">
              <a:buFontTx/>
              <a:buNone/>
              <a:defRPr/>
            </a:lvl9pPr>
          </a:lstStyle>
          <a:p>
            <a:pPr marL="0" marR="0" lvl="0" indent="0" algn="l" defTabSz="914400" rtl="0" eaLnBrk="1" fontAlgn="auto" latinLnBrk="0" hangingPunct="1">
              <a:lnSpc>
                <a:spcPct val="90000"/>
              </a:lnSpc>
              <a:spcBef>
                <a:spcPts val="600"/>
              </a:spcBef>
              <a:spcAft>
                <a:spcPts val="300"/>
              </a:spcAft>
              <a:buClrTx/>
              <a:buSzTx/>
              <a:buFont typeface="Wingdings" pitchFamily="2" charset="2"/>
              <a:buNone/>
              <a:tabLst/>
              <a:defRPr/>
            </a:pPr>
            <a:r>
              <a:rPr lang="en-US" dirty="0"/>
              <a:t>XX%</a:t>
            </a:r>
          </a:p>
          <a:p>
            <a:pPr lvl="1"/>
            <a:r>
              <a:rPr lang="en-US" dirty="0"/>
              <a:t>Body text (second level)</a:t>
            </a:r>
          </a:p>
        </p:txBody>
      </p:sp>
      <p:sp>
        <p:nvSpPr>
          <p:cNvPr id="14" name="Text Placeholder 6">
            <a:extLst>
              <a:ext uri="{FF2B5EF4-FFF2-40B4-BE49-F238E27FC236}">
                <a16:creationId xmlns:a16="http://schemas.microsoft.com/office/drawing/2014/main" id="{67041110-B28F-8541-8B72-CE723F208693}"/>
              </a:ext>
            </a:extLst>
          </p:cNvPr>
          <p:cNvSpPr>
            <a:spLocks noGrp="1"/>
          </p:cNvSpPr>
          <p:nvPr>
            <p:ph type="body" sz="quarter" idx="115" hasCustomPrompt="1"/>
          </p:nvPr>
        </p:nvSpPr>
        <p:spPr>
          <a:xfrm>
            <a:off x="9448321" y="1578357"/>
            <a:ext cx="1431015" cy="332399"/>
          </a:xfrm>
          <a:solidFill>
            <a:schemeClr val="bg1"/>
          </a:solidFill>
          <a:effectLst/>
        </p:spPr>
        <p:txBody>
          <a:bodyPr wrap="none" lIns="72000" tIns="0" rIns="72000" bIns="0" anchor="ctr">
            <a:spAutoFit/>
          </a:bodyPr>
          <a:lstStyle>
            <a:lvl1pPr algn="ctr">
              <a:spcBef>
                <a:spcPts val="100"/>
              </a:spcBef>
              <a:spcAft>
                <a:spcPts val="0"/>
              </a:spcAft>
              <a:defRPr sz="1200">
                <a:solidFill>
                  <a:schemeClr val="accent1"/>
                </a:solidFill>
              </a:defRPr>
            </a:lvl1pPr>
            <a:lvl2pPr marL="3175" indent="0" algn="ctr">
              <a:spcAft>
                <a:spcPts val="0"/>
              </a:spcAft>
              <a:buFont typeface="Arial" panose="020B0604020202020204" pitchFamily="34" charset="0"/>
              <a:buNone/>
              <a:tabLst/>
              <a:defRPr sz="1200">
                <a:solidFill>
                  <a:schemeClr val="accent1"/>
                </a:solidFill>
              </a:defRPr>
            </a:lvl2pPr>
            <a:lvl3pPr marL="9525" indent="0" algn="ctr">
              <a:buNone/>
              <a:tabLst/>
              <a:defRPr sz="1200">
                <a:solidFill>
                  <a:schemeClr val="accent1"/>
                </a:solidFill>
              </a:defRPr>
            </a:lvl3pPr>
            <a:lvl4pPr marL="9525" indent="0" algn="ctr">
              <a:buNone/>
              <a:tabLst/>
              <a:defRPr sz="1200">
                <a:solidFill>
                  <a:schemeClr val="accent1"/>
                </a:solidFill>
              </a:defRPr>
            </a:lvl4pPr>
            <a:lvl5pPr marL="9525" indent="0" algn="ctr">
              <a:buFont typeface="Arial" panose="020B0604020202020204" pitchFamily="34" charset="0"/>
              <a:buNone/>
              <a:tabLst/>
              <a:defRPr sz="1200">
                <a:solidFill>
                  <a:schemeClr val="accent1"/>
                </a:solidFill>
              </a:defRPr>
            </a:lvl5pPr>
            <a:lvl6pPr marL="9525" indent="0" algn="ctr">
              <a:buNone/>
              <a:tabLst/>
              <a:defRPr sz="1200">
                <a:solidFill>
                  <a:schemeClr val="accent1"/>
                </a:solidFill>
              </a:defRPr>
            </a:lvl6pPr>
            <a:lvl7pPr marL="9525" indent="0" algn="ctr">
              <a:buNone/>
              <a:tabLst/>
              <a:defRPr sz="1200">
                <a:solidFill>
                  <a:schemeClr val="accent1"/>
                </a:solidFill>
              </a:defRPr>
            </a:lvl7pPr>
            <a:lvl8pPr marL="9525" indent="0" algn="ctr">
              <a:buNone/>
              <a:tabLst/>
              <a:defRPr sz="1200">
                <a:solidFill>
                  <a:schemeClr val="accent1"/>
                </a:solidFill>
              </a:defRPr>
            </a:lvl8pPr>
            <a:lvl9pPr marL="9525" indent="0" algn="ctr">
              <a:buNone/>
              <a:tabLst/>
              <a:defRPr sz="1200">
                <a:solidFill>
                  <a:schemeClr val="accent1"/>
                </a:solidFill>
              </a:defRPr>
            </a:lvl9pPr>
          </a:lstStyle>
          <a:p>
            <a:pPr lvl="0"/>
            <a:r>
              <a:rPr lang="en-US" dirty="0"/>
              <a:t>Click to add topic</a:t>
            </a:r>
          </a:p>
          <a:p>
            <a:pPr lvl="1"/>
            <a:r>
              <a:rPr lang="en-US" dirty="0"/>
              <a:t>Subtopic</a:t>
            </a:r>
          </a:p>
        </p:txBody>
      </p:sp>
      <p:sp>
        <p:nvSpPr>
          <p:cNvPr id="1000" name="Footnotes Placeholder">
            <a:extLst>
              <a:ext uri="{FF2B5EF4-FFF2-40B4-BE49-F238E27FC236}">
                <a16:creationId xmlns:a16="http://schemas.microsoft.com/office/drawing/2014/main" id="{60CEA154-018A-D041-9D08-46D2C2864923}"/>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71" name="Text Placeholder 6">
            <a:extLst>
              <a:ext uri="{FF2B5EF4-FFF2-40B4-BE49-F238E27FC236}">
                <a16:creationId xmlns:a16="http://schemas.microsoft.com/office/drawing/2014/main" id="{5097C055-E96E-DC48-9B57-3C90E8692550}"/>
              </a:ext>
            </a:extLst>
          </p:cNvPr>
          <p:cNvSpPr>
            <a:spLocks noGrp="1"/>
          </p:cNvSpPr>
          <p:nvPr userDrawn="1">
            <p:ph type="body" sz="quarter" idx="108" hasCustomPrompt="1"/>
          </p:nvPr>
        </p:nvSpPr>
        <p:spPr>
          <a:xfrm>
            <a:off x="575734" y="1224318"/>
            <a:ext cx="1904367" cy="386926"/>
          </a:xfrm>
          <a:blipFill dpi="0" rotWithShape="1">
            <a:blip r:embed="rId3"/>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dirty="0"/>
              <a:t>Click to add chart title</a:t>
            </a:r>
          </a:p>
          <a:p>
            <a:pPr lvl="1"/>
            <a:r>
              <a:rPr lang="en-US" dirty="0"/>
              <a:t>Chart subtitle (second level)</a:t>
            </a:r>
          </a:p>
        </p:txBody>
      </p:sp>
      <p:grpSp>
        <p:nvGrpSpPr>
          <p:cNvPr id="20" name="Group 19">
            <a:extLst>
              <a:ext uri="{FF2B5EF4-FFF2-40B4-BE49-F238E27FC236}">
                <a16:creationId xmlns:a16="http://schemas.microsoft.com/office/drawing/2014/main" id="{1304FF1D-0CE8-E345-906B-4A0F37157528}"/>
              </a:ext>
            </a:extLst>
          </p:cNvPr>
          <p:cNvGrpSpPr/>
          <p:nvPr userDrawn="1"/>
        </p:nvGrpSpPr>
        <p:grpSpPr>
          <a:xfrm>
            <a:off x="12721996" y="162442"/>
            <a:ext cx="3759200" cy="814510"/>
            <a:chOff x="-3644733" y="165205"/>
            <a:chExt cx="2819400" cy="814510"/>
          </a:xfrm>
        </p:grpSpPr>
        <p:sp>
          <p:nvSpPr>
            <p:cNvPr id="48" name="Rectangle 47">
              <a:extLst>
                <a:ext uri="{FF2B5EF4-FFF2-40B4-BE49-F238E27FC236}">
                  <a16:creationId xmlns:a16="http://schemas.microsoft.com/office/drawing/2014/main" id="{A4CD39F0-34C6-E349-B508-223A8EC300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9" name="TextBox 48">
              <a:extLst>
                <a:ext uri="{FF2B5EF4-FFF2-40B4-BE49-F238E27FC236}">
                  <a16:creationId xmlns:a16="http://schemas.microsoft.com/office/drawing/2014/main" id="{ACF4FF2B-41D7-814F-ADC3-B8F4D688F688}"/>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0" name="Picture 49">
              <a:extLst>
                <a:ext uri="{FF2B5EF4-FFF2-40B4-BE49-F238E27FC236}">
                  <a16:creationId xmlns:a16="http://schemas.microsoft.com/office/drawing/2014/main" id="{26933AA9-32A1-AC4B-BE8F-5AD8531E5B21}"/>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29" name="Group 28">
            <a:extLst>
              <a:ext uri="{FF2B5EF4-FFF2-40B4-BE49-F238E27FC236}">
                <a16:creationId xmlns:a16="http://schemas.microsoft.com/office/drawing/2014/main" id="{5B92A826-7A09-9E44-916B-E29522B6D922}"/>
              </a:ext>
            </a:extLst>
          </p:cNvPr>
          <p:cNvGrpSpPr/>
          <p:nvPr userDrawn="1"/>
        </p:nvGrpSpPr>
        <p:grpSpPr>
          <a:xfrm>
            <a:off x="12744676" y="1119892"/>
            <a:ext cx="3519104" cy="202617"/>
            <a:chOff x="9303325" y="149270"/>
            <a:chExt cx="2639328" cy="202617"/>
          </a:xfrm>
        </p:grpSpPr>
        <p:sp>
          <p:nvSpPr>
            <p:cNvPr id="30" name="TextBox 29">
              <a:extLst>
                <a:ext uri="{FF2B5EF4-FFF2-40B4-BE49-F238E27FC236}">
                  <a16:creationId xmlns:a16="http://schemas.microsoft.com/office/drawing/2014/main" id="{E88FFA9C-3A10-3948-84B4-9B1DF715F79D}"/>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31" name="Straight Connector 30">
              <a:extLst>
                <a:ext uri="{FF2B5EF4-FFF2-40B4-BE49-F238E27FC236}">
                  <a16:creationId xmlns:a16="http://schemas.microsoft.com/office/drawing/2014/main" id="{EC121F51-5A96-A745-9B63-72CEF196AD68}"/>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5AC2D6C2-0BE1-AA4F-AB14-C27A2EB40593}"/>
              </a:ext>
            </a:extLst>
          </p:cNvPr>
          <p:cNvGrpSpPr/>
          <p:nvPr userDrawn="1"/>
        </p:nvGrpSpPr>
        <p:grpSpPr>
          <a:xfrm>
            <a:off x="12695778" y="1389697"/>
            <a:ext cx="3490511" cy="161583"/>
            <a:chOff x="12352022" y="513115"/>
            <a:chExt cx="2617883" cy="161583"/>
          </a:xfrm>
        </p:grpSpPr>
        <p:sp>
          <p:nvSpPr>
            <p:cNvPr id="63" name="TextBox 62">
              <a:extLst>
                <a:ext uri="{FF2B5EF4-FFF2-40B4-BE49-F238E27FC236}">
                  <a16:creationId xmlns:a16="http://schemas.microsoft.com/office/drawing/2014/main" id="{7BC9D9FD-67BD-FB47-8182-C2E4CCB01CA9}"/>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5" name="TextBox 64">
              <a:extLst>
                <a:ext uri="{FF2B5EF4-FFF2-40B4-BE49-F238E27FC236}">
                  <a16:creationId xmlns:a16="http://schemas.microsoft.com/office/drawing/2014/main" id="{5C58E318-D8E3-D542-BEA7-9E8EF8674240}"/>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Chart Title</a:t>
              </a:r>
            </a:p>
          </p:txBody>
        </p:sp>
      </p:grpSp>
      <p:grpSp>
        <p:nvGrpSpPr>
          <p:cNvPr id="66" name="Group 65">
            <a:extLst>
              <a:ext uri="{FF2B5EF4-FFF2-40B4-BE49-F238E27FC236}">
                <a16:creationId xmlns:a16="http://schemas.microsoft.com/office/drawing/2014/main" id="{5616D80C-A2C8-7A41-97B1-0131E7C240B3}"/>
              </a:ext>
            </a:extLst>
          </p:cNvPr>
          <p:cNvGrpSpPr/>
          <p:nvPr userDrawn="1"/>
        </p:nvGrpSpPr>
        <p:grpSpPr>
          <a:xfrm>
            <a:off x="12695778" y="2233978"/>
            <a:ext cx="3490511" cy="161583"/>
            <a:chOff x="12352022" y="513115"/>
            <a:chExt cx="2617883" cy="161583"/>
          </a:xfrm>
        </p:grpSpPr>
        <p:sp>
          <p:nvSpPr>
            <p:cNvPr id="67" name="TextBox 66">
              <a:extLst>
                <a:ext uri="{FF2B5EF4-FFF2-40B4-BE49-F238E27FC236}">
                  <a16:creationId xmlns:a16="http://schemas.microsoft.com/office/drawing/2014/main" id="{F96FB928-F772-BE46-A91F-588D2B103C8E}"/>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68" name="TextBox 67">
              <a:extLst>
                <a:ext uri="{FF2B5EF4-FFF2-40B4-BE49-F238E27FC236}">
                  <a16:creationId xmlns:a16="http://schemas.microsoft.com/office/drawing/2014/main" id="{57CCCD1E-0E8A-7F4E-8102-CB018E6B6E8F}"/>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Callout Box</a:t>
              </a:r>
            </a:p>
          </p:txBody>
        </p:sp>
      </p:grpSp>
      <p:grpSp>
        <p:nvGrpSpPr>
          <p:cNvPr id="19" name="Group 18">
            <a:extLst>
              <a:ext uri="{FF2B5EF4-FFF2-40B4-BE49-F238E27FC236}">
                <a16:creationId xmlns:a16="http://schemas.microsoft.com/office/drawing/2014/main" id="{330AAE65-D135-5F4E-A8FA-538A1821D4A0}"/>
              </a:ext>
            </a:extLst>
          </p:cNvPr>
          <p:cNvGrpSpPr/>
          <p:nvPr userDrawn="1"/>
        </p:nvGrpSpPr>
        <p:grpSpPr>
          <a:xfrm>
            <a:off x="12695778" y="3502224"/>
            <a:ext cx="3673087" cy="4823005"/>
            <a:chOff x="9521833" y="3656659"/>
            <a:chExt cx="2754815" cy="4823005"/>
          </a:xfrm>
        </p:grpSpPr>
        <p:grpSp>
          <p:nvGrpSpPr>
            <p:cNvPr id="75" name="Group 74">
              <a:extLst>
                <a:ext uri="{FF2B5EF4-FFF2-40B4-BE49-F238E27FC236}">
                  <a16:creationId xmlns:a16="http://schemas.microsoft.com/office/drawing/2014/main" id="{FF00C3E3-3773-C749-A347-050E2BBEB510}"/>
                </a:ext>
              </a:extLst>
            </p:cNvPr>
            <p:cNvGrpSpPr/>
            <p:nvPr userDrawn="1"/>
          </p:nvGrpSpPr>
          <p:grpSpPr>
            <a:xfrm>
              <a:off x="9521833" y="7405388"/>
              <a:ext cx="2676002" cy="1074276"/>
              <a:chOff x="9521833" y="2036288"/>
              <a:chExt cx="2676002" cy="1074276"/>
            </a:xfrm>
          </p:grpSpPr>
          <p:sp>
            <p:nvSpPr>
              <p:cNvPr id="94" name="TextBox 93">
                <a:extLst>
                  <a:ext uri="{FF2B5EF4-FFF2-40B4-BE49-F238E27FC236}">
                    <a16:creationId xmlns:a16="http://schemas.microsoft.com/office/drawing/2014/main" id="{82CAC38A-6253-2D46-A9C1-302180EED363}"/>
                  </a:ext>
                </a:extLst>
              </p:cNvPr>
              <p:cNvSpPr txBox="1"/>
              <p:nvPr userDrawn="1"/>
            </p:nvSpPr>
            <p:spPr>
              <a:xfrm>
                <a:off x="9558507" y="2036288"/>
                <a:ext cx="99666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ADD A NEW CHART</a:t>
                </a:r>
              </a:p>
            </p:txBody>
          </p:sp>
          <p:cxnSp>
            <p:nvCxnSpPr>
              <p:cNvPr id="95" name="Straight Connector 94">
                <a:extLst>
                  <a:ext uri="{FF2B5EF4-FFF2-40B4-BE49-F238E27FC236}">
                    <a16:creationId xmlns:a16="http://schemas.microsoft.com/office/drawing/2014/main" id="{AD2B3722-E54B-F241-BF5C-4E06D9858DE0}"/>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DE6DD331-B8FF-724A-88A0-EDAB740240BC}"/>
                  </a:ext>
                </a:extLst>
              </p:cNvPr>
              <p:cNvGrpSpPr/>
              <p:nvPr userDrawn="1"/>
            </p:nvGrpSpPr>
            <p:grpSpPr>
              <a:xfrm>
                <a:off x="9521833" y="2361408"/>
                <a:ext cx="2557391" cy="323165"/>
                <a:chOff x="12352022" y="513115"/>
                <a:chExt cx="2557391" cy="323165"/>
              </a:xfrm>
            </p:grpSpPr>
            <p:sp>
              <p:nvSpPr>
                <p:cNvPr id="98" name="TextBox 97">
                  <a:extLst>
                    <a:ext uri="{FF2B5EF4-FFF2-40B4-BE49-F238E27FC236}">
                      <a16:creationId xmlns:a16="http://schemas.microsoft.com/office/drawing/2014/main" id="{01BD870A-BDFF-AD42-9F9F-680AB538E99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9" name="TextBox 98">
                  <a:extLst>
                    <a:ext uri="{FF2B5EF4-FFF2-40B4-BE49-F238E27FC236}">
                      <a16:creationId xmlns:a16="http://schemas.microsoft.com/office/drawing/2014/main" id="{D46E1157-8158-3D41-83D2-9C0A0041030B}"/>
                    </a:ext>
                  </a:extLst>
                </p:cNvPr>
                <p:cNvSpPr txBox="1"/>
                <p:nvPr userDrawn="1"/>
              </p:nvSpPr>
              <p:spPr>
                <a:xfrm>
                  <a:off x="12516615" y="513115"/>
                  <a:ext cx="2392798"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Open the </a:t>
                  </a:r>
                  <a:r>
                    <a:rPr lang="en-US" sz="1050" b="1" dirty="0"/>
                    <a:t>VEDP Template Assets file </a:t>
                  </a:r>
                  <a:r>
                    <a:rPr lang="en-US" sz="1050" dirty="0"/>
                    <a:t>and copy the desired chart type into your presentation.</a:t>
                  </a:r>
                </a:p>
              </p:txBody>
            </p:sp>
          </p:grpSp>
          <p:sp>
            <p:nvSpPr>
              <p:cNvPr id="97" name="TextBox 96">
                <a:extLst>
                  <a:ext uri="{FF2B5EF4-FFF2-40B4-BE49-F238E27FC236}">
                    <a16:creationId xmlns:a16="http://schemas.microsoft.com/office/drawing/2014/main" id="{C12B8CA1-E11D-D840-A89D-9BDC9316EDA6}"/>
                  </a:ext>
                </a:extLst>
              </p:cNvPr>
              <p:cNvSpPr txBox="1"/>
              <p:nvPr userDrawn="1"/>
            </p:nvSpPr>
            <p:spPr>
              <a:xfrm>
                <a:off x="9686426" y="2895120"/>
                <a:ext cx="2120429"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76" name="TextBox 75">
              <a:extLst>
                <a:ext uri="{FF2B5EF4-FFF2-40B4-BE49-F238E27FC236}">
                  <a16:creationId xmlns:a16="http://schemas.microsoft.com/office/drawing/2014/main" id="{19F3EA98-82D3-ED4F-B900-49458C4A36FA}"/>
                </a:ext>
              </a:extLst>
            </p:cNvPr>
            <p:cNvSpPr txBox="1"/>
            <p:nvPr userDrawn="1"/>
          </p:nvSpPr>
          <p:spPr>
            <a:xfrm>
              <a:off x="9558507" y="3656659"/>
              <a:ext cx="15424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FORMAT AN EXISTING CHART</a:t>
              </a:r>
            </a:p>
          </p:txBody>
        </p:sp>
        <p:cxnSp>
          <p:nvCxnSpPr>
            <p:cNvPr id="77" name="Straight Connector 76">
              <a:extLst>
                <a:ext uri="{FF2B5EF4-FFF2-40B4-BE49-F238E27FC236}">
                  <a16:creationId xmlns:a16="http://schemas.microsoft.com/office/drawing/2014/main" id="{30A1EA8F-07DE-014F-AA10-6C9333AAD7A8}"/>
                </a:ext>
              </a:extLst>
            </p:cNvPr>
            <p:cNvCxnSpPr>
              <a:cxnSpLocks/>
            </p:cNvCxnSpPr>
            <p:nvPr userDrawn="1"/>
          </p:nvCxnSpPr>
          <p:spPr>
            <a:xfrm>
              <a:off x="9558507" y="385927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1807A3DB-B170-C543-827E-1797D79B35BD}"/>
                </a:ext>
              </a:extLst>
            </p:cNvPr>
            <p:cNvSpPr txBox="1">
              <a:spLocks noChangeAspect="1"/>
            </p:cNvSpPr>
            <p:nvPr/>
          </p:nvSpPr>
          <p:spPr>
            <a:xfrm>
              <a:off x="9521833" y="400680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9" name="TextBox 78">
              <a:extLst>
                <a:ext uri="{FF2B5EF4-FFF2-40B4-BE49-F238E27FC236}">
                  <a16:creationId xmlns:a16="http://schemas.microsoft.com/office/drawing/2014/main" id="{21F6557E-4825-E045-B871-0D127A0BFF5B}"/>
                </a:ext>
              </a:extLst>
            </p:cNvPr>
            <p:cNvSpPr txBox="1">
              <a:spLocks noChangeAspect="1"/>
            </p:cNvSpPr>
            <p:nvPr/>
          </p:nvSpPr>
          <p:spPr>
            <a:xfrm>
              <a:off x="9521833" y="473385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0" name="TextBox 79">
              <a:extLst>
                <a:ext uri="{FF2B5EF4-FFF2-40B4-BE49-F238E27FC236}">
                  <a16:creationId xmlns:a16="http://schemas.microsoft.com/office/drawing/2014/main" id="{A11A289F-F032-6D42-A3A4-E7A6C9F596ED}"/>
                </a:ext>
              </a:extLst>
            </p:cNvPr>
            <p:cNvSpPr txBox="1"/>
            <p:nvPr userDrawn="1"/>
          </p:nvSpPr>
          <p:spPr>
            <a:xfrm>
              <a:off x="9686426" y="3981779"/>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the chart placeholder and then paste your existing chart.</a:t>
              </a:r>
            </a:p>
          </p:txBody>
        </p:sp>
        <p:sp>
          <p:nvSpPr>
            <p:cNvPr id="81" name="TextBox 80">
              <a:extLst>
                <a:ext uri="{FF2B5EF4-FFF2-40B4-BE49-F238E27FC236}">
                  <a16:creationId xmlns:a16="http://schemas.microsoft.com/office/drawing/2014/main" id="{56CC7998-FBBA-984A-B3BB-B8422CBF5A84}"/>
                </a:ext>
              </a:extLst>
            </p:cNvPr>
            <p:cNvSpPr txBox="1"/>
            <p:nvPr userDrawn="1"/>
          </p:nvSpPr>
          <p:spPr>
            <a:xfrm>
              <a:off x="9686426" y="4710985"/>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Right-click on the chart and choose “Change Chart Type…”</a:t>
              </a:r>
            </a:p>
          </p:txBody>
        </p:sp>
        <p:sp>
          <p:nvSpPr>
            <p:cNvPr id="82" name="TextBox 81">
              <a:extLst>
                <a:ext uri="{FF2B5EF4-FFF2-40B4-BE49-F238E27FC236}">
                  <a16:creationId xmlns:a16="http://schemas.microsoft.com/office/drawing/2014/main" id="{18527B35-9EDF-3247-A18C-B5CEAF526738}"/>
                </a:ext>
              </a:extLst>
            </p:cNvPr>
            <p:cNvSpPr txBox="1">
              <a:spLocks noChangeAspect="1"/>
            </p:cNvSpPr>
            <p:nvPr userDrawn="1"/>
          </p:nvSpPr>
          <p:spPr>
            <a:xfrm>
              <a:off x="9521833" y="519684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83" name="TextBox 82">
              <a:extLst>
                <a:ext uri="{FF2B5EF4-FFF2-40B4-BE49-F238E27FC236}">
                  <a16:creationId xmlns:a16="http://schemas.microsoft.com/office/drawing/2014/main" id="{26539DAF-BEC6-744B-B400-8FA0A0079295}"/>
                </a:ext>
              </a:extLst>
            </p:cNvPr>
            <p:cNvSpPr txBox="1"/>
            <p:nvPr userDrawn="1"/>
          </p:nvSpPr>
          <p:spPr>
            <a:xfrm>
              <a:off x="9686426" y="5173975"/>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Choose one of the VEDP chart styles from the ‘Templates’ category.</a:t>
              </a:r>
            </a:p>
          </p:txBody>
        </p:sp>
        <p:sp>
          <p:nvSpPr>
            <p:cNvPr id="84" name="TextBox 83">
              <a:extLst>
                <a:ext uri="{FF2B5EF4-FFF2-40B4-BE49-F238E27FC236}">
                  <a16:creationId xmlns:a16="http://schemas.microsoft.com/office/drawing/2014/main" id="{85DB54E3-20CB-F84D-BA87-AE6461071775}"/>
                </a:ext>
              </a:extLst>
            </p:cNvPr>
            <p:cNvSpPr txBox="1"/>
            <p:nvPr userDrawn="1"/>
          </p:nvSpPr>
          <p:spPr>
            <a:xfrm>
              <a:off x="9674268" y="4345001"/>
              <a:ext cx="2297650"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87" name="Group 86">
              <a:extLst>
                <a:ext uri="{FF2B5EF4-FFF2-40B4-BE49-F238E27FC236}">
                  <a16:creationId xmlns:a16="http://schemas.microsoft.com/office/drawing/2014/main" id="{FF601E2C-20C4-8448-BDCB-09817050A9EF}"/>
                </a:ext>
              </a:extLst>
            </p:cNvPr>
            <p:cNvGrpSpPr/>
            <p:nvPr userDrawn="1"/>
          </p:nvGrpSpPr>
          <p:grpSpPr>
            <a:xfrm>
              <a:off x="9541497" y="5668564"/>
              <a:ext cx="2735151" cy="1538827"/>
              <a:chOff x="9296567" y="4910411"/>
              <a:chExt cx="2735151" cy="1538827"/>
            </a:xfrm>
          </p:grpSpPr>
          <p:sp>
            <p:nvSpPr>
              <p:cNvPr id="88" name="Rectangle 87">
                <a:extLst>
                  <a:ext uri="{FF2B5EF4-FFF2-40B4-BE49-F238E27FC236}">
                    <a16:creationId xmlns:a16="http://schemas.microsoft.com/office/drawing/2014/main" id="{10D997EE-0253-9948-A6ED-E7D0D161D2C0}"/>
                  </a:ext>
                </a:extLst>
              </p:cNvPr>
              <p:cNvSpPr/>
              <p:nvPr userDrawn="1"/>
            </p:nvSpPr>
            <p:spPr>
              <a:xfrm>
                <a:off x="9296567" y="4910411"/>
                <a:ext cx="2735151" cy="1538827"/>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9" name="TextBox 88">
                <a:extLst>
                  <a:ext uri="{FF2B5EF4-FFF2-40B4-BE49-F238E27FC236}">
                    <a16:creationId xmlns:a16="http://schemas.microsoft.com/office/drawing/2014/main" id="{697CF5BD-F20F-DE4A-92B5-C2CEBD4ED53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90" name="Graphic 89">
                <a:extLst>
                  <a:ext uri="{FF2B5EF4-FFF2-40B4-BE49-F238E27FC236}">
                    <a16:creationId xmlns:a16="http://schemas.microsoft.com/office/drawing/2014/main" id="{8F021B2D-63E0-7348-9C34-06C74EB29FA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1" name="TextBox 90">
                <a:extLst>
                  <a:ext uri="{FF2B5EF4-FFF2-40B4-BE49-F238E27FC236}">
                    <a16:creationId xmlns:a16="http://schemas.microsoft.com/office/drawing/2014/main" id="{547D6D74-E159-4349-960D-F7C54F8A34D8}"/>
                  </a:ext>
                </a:extLst>
              </p:cNvPr>
              <p:cNvSpPr txBox="1"/>
              <p:nvPr userDrawn="1"/>
            </p:nvSpPr>
            <p:spPr>
              <a:xfrm>
                <a:off x="9471805" y="5300350"/>
                <a:ext cx="2399065" cy="10207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dirty="0"/>
                  <a:t>In case of error, return legend entries, data labels, and/or chart formatting by re-applying the current VEDP chart style template.</a:t>
                </a:r>
              </a:p>
              <a:p>
                <a:pPr lvl="1"/>
                <a:r>
                  <a:rPr lang="en-US" sz="900" dirty="0"/>
                  <a:t>Right-click the chart and choose</a:t>
                </a:r>
                <a:br>
                  <a:rPr lang="en-US" sz="900" dirty="0"/>
                </a:br>
                <a:r>
                  <a:rPr lang="en-US" sz="900" dirty="0"/>
                  <a:t>“Change Chart Type”</a:t>
                </a:r>
              </a:p>
              <a:p>
                <a:pPr lvl="1"/>
                <a:r>
                  <a:rPr lang="en-US" sz="900" dirty="0"/>
                  <a:t>Then choose the matching VEDP chart style from the ‘Templates’ category.</a:t>
                </a:r>
              </a:p>
            </p:txBody>
          </p:sp>
        </p:grpSp>
      </p:grpSp>
      <p:sp>
        <p:nvSpPr>
          <p:cNvPr id="13" name="Date Placeholder 12">
            <a:extLst>
              <a:ext uri="{FF2B5EF4-FFF2-40B4-BE49-F238E27FC236}">
                <a16:creationId xmlns:a16="http://schemas.microsoft.com/office/drawing/2014/main" id="{C9A997CF-9195-6143-A783-C6007CE38DB9}"/>
              </a:ext>
            </a:extLst>
          </p:cNvPr>
          <p:cNvSpPr>
            <a:spLocks noGrp="1"/>
          </p:cNvSpPr>
          <p:nvPr>
            <p:ph type="dt" sz="half" idx="116"/>
          </p:nvPr>
        </p:nvSpPr>
        <p:spPr/>
        <p:txBody>
          <a:bodyPr/>
          <a:lstStyle/>
          <a:p>
            <a:endParaRPr lang="en-US" dirty="0"/>
          </a:p>
        </p:txBody>
      </p:sp>
      <p:sp>
        <p:nvSpPr>
          <p:cNvPr id="17" name="Footer Placeholder 16">
            <a:extLst>
              <a:ext uri="{FF2B5EF4-FFF2-40B4-BE49-F238E27FC236}">
                <a16:creationId xmlns:a16="http://schemas.microsoft.com/office/drawing/2014/main" id="{7816C2B4-6EA9-7D40-A112-32D7F9DB85D9}"/>
              </a:ext>
            </a:extLst>
          </p:cNvPr>
          <p:cNvSpPr>
            <a:spLocks noGrp="1"/>
          </p:cNvSpPr>
          <p:nvPr>
            <p:ph type="ftr" sz="quarter" idx="117"/>
          </p:nvPr>
        </p:nvSpPr>
        <p:spPr/>
        <p:txBody>
          <a:bodyPr/>
          <a:lstStyle/>
          <a:p>
            <a:endParaRPr lang="en-US" dirty="0"/>
          </a:p>
        </p:txBody>
      </p:sp>
      <p:sp>
        <p:nvSpPr>
          <p:cNvPr id="18" name="Slide Number Placeholder 17">
            <a:extLst>
              <a:ext uri="{FF2B5EF4-FFF2-40B4-BE49-F238E27FC236}">
                <a16:creationId xmlns:a16="http://schemas.microsoft.com/office/drawing/2014/main" id="{6C8A9A10-E846-7A4E-B2F3-E64EB163031D}"/>
              </a:ext>
            </a:extLst>
          </p:cNvPr>
          <p:cNvSpPr>
            <a:spLocks noGrp="1"/>
          </p:cNvSpPr>
          <p:nvPr>
            <p:ph type="sldNum" sz="quarter" idx="118"/>
          </p:nvPr>
        </p:nvSpPr>
        <p:spPr/>
        <p:txBody>
          <a:bodyPr/>
          <a:lstStyle/>
          <a:p>
            <a:pPr marL="12700"/>
            <a:fld id="{078C017C-E1B9-8443-B047-B08AAA027B45}" type="slidenum">
              <a:rPr lang="en-US" smtClean="0"/>
              <a:pPr marL="12700"/>
              <a:t>‹#›</a:t>
            </a:fld>
            <a:endParaRPr lang="en-US" dirty="0"/>
          </a:p>
        </p:txBody>
      </p:sp>
      <p:pic>
        <p:nvPicPr>
          <p:cNvPr id="104" name="Picture 103">
            <a:extLst>
              <a:ext uri="{FF2B5EF4-FFF2-40B4-BE49-F238E27FC236}">
                <a16:creationId xmlns:a16="http://schemas.microsoft.com/office/drawing/2014/main" id="{E76FC806-1745-034B-9D8A-1CAFCD9FE3BC}"/>
              </a:ext>
            </a:extLst>
          </p:cNvPr>
          <p:cNvPicPr>
            <a:picLocks noChangeAspect="1"/>
          </p:cNvPicPr>
          <p:nvPr userDrawn="1"/>
        </p:nvPicPr>
        <p:blipFill rotWithShape="1">
          <a:blip r:embed="rId7"/>
          <a:srcRect r="36104"/>
          <a:stretch/>
        </p:blipFill>
        <p:spPr>
          <a:xfrm>
            <a:off x="12744664" y="1610212"/>
            <a:ext cx="3519105" cy="522522"/>
          </a:xfrm>
          <a:prstGeom prst="rect">
            <a:avLst/>
          </a:prstGeom>
        </p:spPr>
      </p:pic>
    </p:spTree>
    <p:extLst>
      <p:ext uri="{BB962C8B-B14F-4D97-AF65-F5344CB8AC3E}">
        <p14:creationId xmlns:p14="http://schemas.microsoft.com/office/powerpoint/2010/main" val="317440850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 Photos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1" name="Picture Placeholder 7">
            <a:extLst>
              <a:ext uri="{FF2B5EF4-FFF2-40B4-BE49-F238E27FC236}">
                <a16:creationId xmlns:a16="http://schemas.microsoft.com/office/drawing/2014/main" id="{F7232953-10D7-9346-B58D-EA3D767D05C8}"/>
              </a:ext>
            </a:extLst>
          </p:cNvPr>
          <p:cNvSpPr>
            <a:spLocks noGrp="1"/>
          </p:cNvSpPr>
          <p:nvPr>
            <p:ph type="pic" sz="quarter" idx="13" hasCustomPrompt="1"/>
          </p:nvPr>
        </p:nvSpPr>
        <p:spPr>
          <a:xfrm>
            <a:off x="575711" y="1233641"/>
            <a:ext cx="5255999" cy="2134716"/>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br>
              <a:rPr lang="en-US" dirty="0"/>
            </a:br>
            <a:endParaRPr lang="en-US" dirty="0"/>
          </a:p>
        </p:txBody>
      </p:sp>
      <p:sp>
        <p:nvSpPr>
          <p:cNvPr id="12" name="Picture Placeholder 7">
            <a:extLst>
              <a:ext uri="{FF2B5EF4-FFF2-40B4-BE49-F238E27FC236}">
                <a16:creationId xmlns:a16="http://schemas.microsoft.com/office/drawing/2014/main" id="{5852B5E0-86AD-3749-B882-594E0C761812}"/>
              </a:ext>
            </a:extLst>
          </p:cNvPr>
          <p:cNvSpPr>
            <a:spLocks noGrp="1"/>
          </p:cNvSpPr>
          <p:nvPr>
            <p:ph type="pic" sz="quarter" idx="14" hasCustomPrompt="1"/>
          </p:nvPr>
        </p:nvSpPr>
        <p:spPr>
          <a:xfrm>
            <a:off x="6361038" y="1233488"/>
            <a:ext cx="5255229" cy="2134938"/>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br>
              <a:rPr lang="en-US" dirty="0"/>
            </a:br>
            <a:endParaRPr lang="en-US" dirty="0"/>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a:off x="6096000" y="1233488"/>
            <a:ext cx="0" cy="4932363"/>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00" name="Caption">
            <a:extLst>
              <a:ext uri="{FF2B5EF4-FFF2-40B4-BE49-F238E27FC236}">
                <a16:creationId xmlns:a16="http://schemas.microsoft.com/office/drawing/2014/main" id="{CF4AE758-84F6-C54D-A7DE-052D01982D22}"/>
              </a:ext>
            </a:extLst>
          </p:cNvPr>
          <p:cNvSpPr>
            <a:spLocks noGrp="1"/>
          </p:cNvSpPr>
          <p:nvPr>
            <p:ph type="body" sz="quarter" idx="500" hasCustomPrompt="1"/>
          </p:nvPr>
        </p:nvSpPr>
        <p:spPr>
          <a:xfrm>
            <a:off x="574967" y="2634840"/>
            <a:ext cx="5255997" cy="733587"/>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502" name="Caption 2">
            <a:extLst>
              <a:ext uri="{FF2B5EF4-FFF2-40B4-BE49-F238E27FC236}">
                <a16:creationId xmlns:a16="http://schemas.microsoft.com/office/drawing/2014/main" id="{AC269ED5-A2B1-6A4F-BE9E-2525E65191C5}"/>
              </a:ext>
            </a:extLst>
          </p:cNvPr>
          <p:cNvSpPr>
            <a:spLocks noGrp="1"/>
          </p:cNvSpPr>
          <p:nvPr>
            <p:ph type="body" sz="quarter" idx="502" hasCustomPrompt="1"/>
          </p:nvPr>
        </p:nvSpPr>
        <p:spPr>
          <a:xfrm>
            <a:off x="6360270" y="2634840"/>
            <a:ext cx="5255997" cy="733587"/>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499" name="Text Placeholder 1">
            <a:extLst>
              <a:ext uri="{FF2B5EF4-FFF2-40B4-BE49-F238E27FC236}">
                <a16:creationId xmlns:a16="http://schemas.microsoft.com/office/drawing/2014/main" id="{41B64066-3F3A-DB41-BCF0-E80DA5C45921}"/>
              </a:ext>
            </a:extLst>
          </p:cNvPr>
          <p:cNvSpPr>
            <a:spLocks noGrp="1"/>
          </p:cNvSpPr>
          <p:nvPr>
            <p:ph type="body" sz="quarter" idx="499"/>
          </p:nvPr>
        </p:nvSpPr>
        <p:spPr>
          <a:xfrm>
            <a:off x="575734" y="3535516"/>
            <a:ext cx="5255684" cy="26303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01" name="Text Placeholder 2">
            <a:extLst>
              <a:ext uri="{FF2B5EF4-FFF2-40B4-BE49-F238E27FC236}">
                <a16:creationId xmlns:a16="http://schemas.microsoft.com/office/drawing/2014/main" id="{260EFF75-E658-614B-A491-3B51B67CB5AB}"/>
              </a:ext>
            </a:extLst>
          </p:cNvPr>
          <p:cNvSpPr>
            <a:spLocks noGrp="1"/>
          </p:cNvSpPr>
          <p:nvPr>
            <p:ph type="body" sz="quarter" idx="501"/>
          </p:nvPr>
        </p:nvSpPr>
        <p:spPr>
          <a:xfrm>
            <a:off x="6360583" y="3535516"/>
            <a:ext cx="5255684" cy="26303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00" name="Footnotes Placeholder">
            <a:extLst>
              <a:ext uri="{FF2B5EF4-FFF2-40B4-BE49-F238E27FC236}">
                <a16:creationId xmlns:a16="http://schemas.microsoft.com/office/drawing/2014/main" id="{C2462BB1-A914-C04A-8D72-3148BA19C440}"/>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5" name="Date Placeholder 4">
            <a:extLst>
              <a:ext uri="{FF2B5EF4-FFF2-40B4-BE49-F238E27FC236}">
                <a16:creationId xmlns:a16="http://schemas.microsoft.com/office/drawing/2014/main" id="{260B3C8A-5655-8B44-8713-F8E0DC8EB268}"/>
              </a:ext>
            </a:extLst>
          </p:cNvPr>
          <p:cNvSpPr>
            <a:spLocks noGrp="1"/>
          </p:cNvSpPr>
          <p:nvPr userDrawn="1">
            <p:ph type="dt" sz="half" idx="112"/>
          </p:nvPr>
        </p:nvSpPr>
        <p:spPr/>
        <p:txBody>
          <a:bodyPr/>
          <a:lstStyle/>
          <a:p>
            <a:endParaRPr lang="en-US" dirty="0"/>
          </a:p>
        </p:txBody>
      </p:sp>
      <p:sp>
        <p:nvSpPr>
          <p:cNvPr id="6" name="Footer Placeholder 5">
            <a:extLst>
              <a:ext uri="{FF2B5EF4-FFF2-40B4-BE49-F238E27FC236}">
                <a16:creationId xmlns:a16="http://schemas.microsoft.com/office/drawing/2014/main" id="{BA55FF92-D07E-284C-BB1E-EFB0F62B0728}"/>
              </a:ext>
            </a:extLst>
          </p:cNvPr>
          <p:cNvSpPr>
            <a:spLocks noGrp="1"/>
          </p:cNvSpPr>
          <p:nvPr userDrawn="1">
            <p:ph type="ftr" sz="quarter" idx="113"/>
          </p:nvPr>
        </p:nvSpPr>
        <p:spPr/>
        <p:txBody>
          <a:bodyPr/>
          <a:lstStyle/>
          <a:p>
            <a:endParaRPr lang="en-US" dirty="0"/>
          </a:p>
        </p:txBody>
      </p:sp>
      <p:sp>
        <p:nvSpPr>
          <p:cNvPr id="7" name="Slide Number Placeholder 6">
            <a:extLst>
              <a:ext uri="{FF2B5EF4-FFF2-40B4-BE49-F238E27FC236}">
                <a16:creationId xmlns:a16="http://schemas.microsoft.com/office/drawing/2014/main" id="{125CB6C4-3F83-8C46-9B51-1523B5214FBC}"/>
              </a:ext>
            </a:extLst>
          </p:cNvPr>
          <p:cNvSpPr>
            <a:spLocks noGrp="1"/>
          </p:cNvSpPr>
          <p:nvPr userDrawn="1">
            <p:ph type="sldNum" sz="quarter" idx="114"/>
          </p:nvPr>
        </p:nvSpPr>
        <p:spPr/>
        <p:txBody>
          <a:bodyPr/>
          <a:lstStyle/>
          <a:p>
            <a:pPr marL="12700"/>
            <a:fld id="{078C017C-E1B9-8443-B047-B08AAA027B45}" type="slidenum">
              <a:rPr lang="en-US" smtClean="0"/>
              <a:pPr marL="12700"/>
              <a:t>‹#›</a:t>
            </a:fld>
            <a:endParaRPr lang="en-US" dirty="0"/>
          </a:p>
        </p:txBody>
      </p:sp>
      <p:grpSp>
        <p:nvGrpSpPr>
          <p:cNvPr id="3" name="Group 2">
            <a:extLst>
              <a:ext uri="{FF2B5EF4-FFF2-40B4-BE49-F238E27FC236}">
                <a16:creationId xmlns:a16="http://schemas.microsoft.com/office/drawing/2014/main" id="{B5DD4673-07D8-2F47-AE16-41FB7DB1F691}"/>
              </a:ext>
            </a:extLst>
          </p:cNvPr>
          <p:cNvGrpSpPr/>
          <p:nvPr userDrawn="1"/>
        </p:nvGrpSpPr>
        <p:grpSpPr>
          <a:xfrm>
            <a:off x="12532243" y="-2"/>
            <a:ext cx="3965960" cy="9769405"/>
            <a:chOff x="9399182" y="-2"/>
            <a:chExt cx="2974470" cy="9769405"/>
          </a:xfrm>
        </p:grpSpPr>
        <p:sp>
          <p:nvSpPr>
            <p:cNvPr id="57" name="Rectangle 56">
              <a:extLst>
                <a:ext uri="{FF2B5EF4-FFF2-40B4-BE49-F238E27FC236}">
                  <a16:creationId xmlns:a16="http://schemas.microsoft.com/office/drawing/2014/main" id="{1EB07126-E360-1041-9164-DD8BA167A8AB}"/>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58" name="Picture 57">
              <a:extLst>
                <a:ext uri="{FF2B5EF4-FFF2-40B4-BE49-F238E27FC236}">
                  <a16:creationId xmlns:a16="http://schemas.microsoft.com/office/drawing/2014/main" id="{6821E402-D350-E444-8856-CC46A758A65E}"/>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9" name="Group 58">
              <a:extLst>
                <a:ext uri="{FF2B5EF4-FFF2-40B4-BE49-F238E27FC236}">
                  <a16:creationId xmlns:a16="http://schemas.microsoft.com/office/drawing/2014/main" id="{66715B48-D70E-A34F-8B62-E282410AAC7D}"/>
                </a:ext>
              </a:extLst>
            </p:cNvPr>
            <p:cNvGrpSpPr/>
            <p:nvPr userDrawn="1"/>
          </p:nvGrpSpPr>
          <p:grpSpPr>
            <a:xfrm>
              <a:off x="9541497" y="162442"/>
              <a:ext cx="2819400" cy="814510"/>
              <a:chOff x="-3644733" y="165205"/>
              <a:chExt cx="2819400" cy="814510"/>
            </a:xfrm>
          </p:grpSpPr>
          <p:sp>
            <p:nvSpPr>
              <p:cNvPr id="87" name="Rectangle 86">
                <a:extLst>
                  <a:ext uri="{FF2B5EF4-FFF2-40B4-BE49-F238E27FC236}">
                    <a16:creationId xmlns:a16="http://schemas.microsoft.com/office/drawing/2014/main" id="{258C8417-A50B-8A40-AAC7-69B29D878C1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8" name="TextBox 87">
                <a:extLst>
                  <a:ext uri="{FF2B5EF4-FFF2-40B4-BE49-F238E27FC236}">
                    <a16:creationId xmlns:a16="http://schemas.microsoft.com/office/drawing/2014/main" id="{D5350C49-A777-6241-98F9-3A4F555D085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89" name="Picture 88">
                <a:extLst>
                  <a:ext uri="{FF2B5EF4-FFF2-40B4-BE49-F238E27FC236}">
                    <a16:creationId xmlns:a16="http://schemas.microsoft.com/office/drawing/2014/main" id="{6602266A-7721-2749-BEF8-F0041AD01BC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0" name="Group 59">
              <a:extLst>
                <a:ext uri="{FF2B5EF4-FFF2-40B4-BE49-F238E27FC236}">
                  <a16:creationId xmlns:a16="http://schemas.microsoft.com/office/drawing/2014/main" id="{CA2A2AE4-DD6D-8844-B557-F45A9D1F1E5E}"/>
                </a:ext>
              </a:extLst>
            </p:cNvPr>
            <p:cNvGrpSpPr/>
            <p:nvPr userDrawn="1"/>
          </p:nvGrpSpPr>
          <p:grpSpPr>
            <a:xfrm>
              <a:off x="9521833" y="3755578"/>
              <a:ext cx="2754815" cy="6013825"/>
              <a:chOff x="9521833" y="2566288"/>
              <a:chExt cx="2754815" cy="6013825"/>
            </a:xfrm>
          </p:grpSpPr>
          <p:sp>
            <p:nvSpPr>
              <p:cNvPr id="63" name="TextBox 62">
                <a:extLst>
                  <a:ext uri="{FF2B5EF4-FFF2-40B4-BE49-F238E27FC236}">
                    <a16:creationId xmlns:a16="http://schemas.microsoft.com/office/drawing/2014/main" id="{399905FA-4468-DE44-8356-F030E128DE0E}"/>
                  </a:ext>
                </a:extLst>
              </p:cNvPr>
              <p:cNvSpPr txBox="1"/>
              <p:nvPr userDrawn="1"/>
            </p:nvSpPr>
            <p:spPr>
              <a:xfrm>
                <a:off x="9558507" y="256628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64" name="Straight Connector 63">
                <a:extLst>
                  <a:ext uri="{FF2B5EF4-FFF2-40B4-BE49-F238E27FC236}">
                    <a16:creationId xmlns:a16="http://schemas.microsoft.com/office/drawing/2014/main" id="{EEB7F7FC-6FB7-6B48-A4C7-1784FFA3B477}"/>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CFB53592-0368-5E42-BA03-98211B0977AE}"/>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6" name="Group 65">
                <a:extLst>
                  <a:ext uri="{FF2B5EF4-FFF2-40B4-BE49-F238E27FC236}">
                    <a16:creationId xmlns:a16="http://schemas.microsoft.com/office/drawing/2014/main" id="{70D6C76B-0CBD-8541-947F-B20A36C671CF}"/>
                  </a:ext>
                </a:extLst>
              </p:cNvPr>
              <p:cNvGrpSpPr/>
              <p:nvPr userDrawn="1"/>
            </p:nvGrpSpPr>
            <p:grpSpPr>
              <a:xfrm>
                <a:off x="9541497" y="7168798"/>
                <a:ext cx="2735151" cy="1411315"/>
                <a:chOff x="9296567" y="4910411"/>
                <a:chExt cx="2735151" cy="1411315"/>
              </a:xfrm>
            </p:grpSpPr>
            <p:sp>
              <p:nvSpPr>
                <p:cNvPr id="81" name="Rectangle 80">
                  <a:extLst>
                    <a:ext uri="{FF2B5EF4-FFF2-40B4-BE49-F238E27FC236}">
                      <a16:creationId xmlns:a16="http://schemas.microsoft.com/office/drawing/2014/main" id="{7B060E3F-3460-1340-A955-A0E0058CA96A}"/>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2" name="TextBox 81">
                  <a:extLst>
                    <a:ext uri="{FF2B5EF4-FFF2-40B4-BE49-F238E27FC236}">
                      <a16:creationId xmlns:a16="http://schemas.microsoft.com/office/drawing/2014/main" id="{CF89F7B0-F650-8844-A28B-9665EB78F56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3" name="Graphic 82">
                  <a:extLst>
                    <a:ext uri="{FF2B5EF4-FFF2-40B4-BE49-F238E27FC236}">
                      <a16:creationId xmlns:a16="http://schemas.microsoft.com/office/drawing/2014/main" id="{AC2297FF-4363-464B-AD47-EFF94E8CC13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4" name="TextBox 83">
                  <a:extLst>
                    <a:ext uri="{FF2B5EF4-FFF2-40B4-BE49-F238E27FC236}">
                      <a16:creationId xmlns:a16="http://schemas.microsoft.com/office/drawing/2014/main" id="{ECD7ABCD-E747-9145-B364-C6EE6679ED8D}"/>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5" name="TextBox 84">
                  <a:extLst>
                    <a:ext uri="{FF2B5EF4-FFF2-40B4-BE49-F238E27FC236}">
                      <a16:creationId xmlns:a16="http://schemas.microsoft.com/office/drawing/2014/main" id="{9D2EDEA1-AFD7-8144-9BFE-E95C524E5D8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6" name="TextBox 85">
                  <a:extLst>
                    <a:ext uri="{FF2B5EF4-FFF2-40B4-BE49-F238E27FC236}">
                      <a16:creationId xmlns:a16="http://schemas.microsoft.com/office/drawing/2014/main" id="{5D7D6192-8EC2-3147-944F-C9990998399D}"/>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67" name="Group 66">
                <a:extLst>
                  <a:ext uri="{FF2B5EF4-FFF2-40B4-BE49-F238E27FC236}">
                    <a16:creationId xmlns:a16="http://schemas.microsoft.com/office/drawing/2014/main" id="{07C54234-03B7-ED4C-95A6-74560FB7E24D}"/>
                  </a:ext>
                </a:extLst>
              </p:cNvPr>
              <p:cNvGrpSpPr/>
              <p:nvPr userDrawn="1"/>
            </p:nvGrpSpPr>
            <p:grpSpPr>
              <a:xfrm>
                <a:off x="9541497" y="5812142"/>
                <a:ext cx="2735151" cy="1280928"/>
                <a:chOff x="9286315" y="6976989"/>
                <a:chExt cx="2735151" cy="1280928"/>
              </a:xfrm>
            </p:grpSpPr>
            <p:sp>
              <p:nvSpPr>
                <p:cNvPr id="76" name="Rectangle 75">
                  <a:extLst>
                    <a:ext uri="{FF2B5EF4-FFF2-40B4-BE49-F238E27FC236}">
                      <a16:creationId xmlns:a16="http://schemas.microsoft.com/office/drawing/2014/main" id="{F53BB598-EA50-564F-ACB0-AF0849D9E4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7" name="TextBox 76">
                  <a:extLst>
                    <a:ext uri="{FF2B5EF4-FFF2-40B4-BE49-F238E27FC236}">
                      <a16:creationId xmlns:a16="http://schemas.microsoft.com/office/drawing/2014/main" id="{5709B753-3BAD-BA41-9041-2E20667632BC}"/>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8" name="Graphic 77">
                  <a:extLst>
                    <a:ext uri="{FF2B5EF4-FFF2-40B4-BE49-F238E27FC236}">
                      <a16:creationId xmlns:a16="http://schemas.microsoft.com/office/drawing/2014/main" id="{506AF462-47AB-2D41-9BC3-AFB0E9F9D82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79" name="TextBox 78">
                  <a:extLst>
                    <a:ext uri="{FF2B5EF4-FFF2-40B4-BE49-F238E27FC236}">
                      <a16:creationId xmlns:a16="http://schemas.microsoft.com/office/drawing/2014/main" id="{9A627AE6-C7F3-334D-A34F-2BC4E58C2E95}"/>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0" name="Picture 79">
                  <a:extLst>
                    <a:ext uri="{FF2B5EF4-FFF2-40B4-BE49-F238E27FC236}">
                      <a16:creationId xmlns:a16="http://schemas.microsoft.com/office/drawing/2014/main" id="{BA46C26C-A1B1-3143-B061-C7CB9671CDE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8" name="Group 67">
                <a:extLst>
                  <a:ext uri="{FF2B5EF4-FFF2-40B4-BE49-F238E27FC236}">
                    <a16:creationId xmlns:a16="http://schemas.microsoft.com/office/drawing/2014/main" id="{B638C602-8F7A-FF4F-9436-99BFF634F80A}"/>
                  </a:ext>
                </a:extLst>
              </p:cNvPr>
              <p:cNvGrpSpPr/>
              <p:nvPr userDrawn="1"/>
            </p:nvGrpSpPr>
            <p:grpSpPr>
              <a:xfrm>
                <a:off x="9521833" y="2891408"/>
                <a:ext cx="2617883" cy="651460"/>
                <a:chOff x="12352022" y="513115"/>
                <a:chExt cx="2617883" cy="651460"/>
              </a:xfrm>
            </p:grpSpPr>
            <p:sp>
              <p:nvSpPr>
                <p:cNvPr id="73" name="TextBox 72">
                  <a:extLst>
                    <a:ext uri="{FF2B5EF4-FFF2-40B4-BE49-F238E27FC236}">
                      <a16:creationId xmlns:a16="http://schemas.microsoft.com/office/drawing/2014/main" id="{F5E8575C-58DF-6F4D-846B-64E64AEAD4B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4" name="TextBox 73">
                  <a:extLst>
                    <a:ext uri="{FF2B5EF4-FFF2-40B4-BE49-F238E27FC236}">
                      <a16:creationId xmlns:a16="http://schemas.microsoft.com/office/drawing/2014/main" id="{7F689E54-3DDE-9146-9E71-0F9EF77EB584}"/>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75" name="TextBox 74">
                  <a:extLst>
                    <a:ext uri="{FF2B5EF4-FFF2-40B4-BE49-F238E27FC236}">
                      <a16:creationId xmlns:a16="http://schemas.microsoft.com/office/drawing/2014/main" id="{E200D3D3-053D-F342-9A67-0E660D73F76B}"/>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69" name="TextBox 68">
                <a:extLst>
                  <a:ext uri="{FF2B5EF4-FFF2-40B4-BE49-F238E27FC236}">
                    <a16:creationId xmlns:a16="http://schemas.microsoft.com/office/drawing/2014/main" id="{7C8EB52F-15EB-7449-9FC6-CFECD8E81D6C}"/>
                  </a:ext>
                </a:extLst>
              </p:cNvPr>
              <p:cNvSpPr txBox="1"/>
              <p:nvPr userDrawn="1"/>
            </p:nvSpPr>
            <p:spPr>
              <a:xfrm>
                <a:off x="9674267" y="391052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0" name="TextBox 69">
                <a:extLst>
                  <a:ext uri="{FF2B5EF4-FFF2-40B4-BE49-F238E27FC236}">
                    <a16:creationId xmlns:a16="http://schemas.microsoft.com/office/drawing/2014/main" id="{56C11956-D135-0244-8935-77ECF9139C68}"/>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71" name="TextBox 70">
                <a:extLst>
                  <a:ext uri="{FF2B5EF4-FFF2-40B4-BE49-F238E27FC236}">
                    <a16:creationId xmlns:a16="http://schemas.microsoft.com/office/drawing/2014/main" id="{841BDB28-CB56-C346-9DF5-E30F5ADD0CB7}"/>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72" name="TextBox 71">
                <a:extLst>
                  <a:ext uri="{FF2B5EF4-FFF2-40B4-BE49-F238E27FC236}">
                    <a16:creationId xmlns:a16="http://schemas.microsoft.com/office/drawing/2014/main" id="{7841BCCC-4BF1-1644-8598-448D5C40EC05}"/>
                  </a:ext>
                </a:extLst>
              </p:cNvPr>
              <p:cNvSpPr txBox="1"/>
              <p:nvPr userDrawn="1"/>
            </p:nvSpPr>
            <p:spPr>
              <a:xfrm>
                <a:off x="9674267" y="5476430"/>
                <a:ext cx="2374733"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61" name="TextBox 60">
              <a:extLst>
                <a:ext uri="{FF2B5EF4-FFF2-40B4-BE49-F238E27FC236}">
                  <a16:creationId xmlns:a16="http://schemas.microsoft.com/office/drawing/2014/main" id="{A0C7E1FE-3DCE-F245-ADBB-D7351343D700}"/>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62" name="Straight Connector 61">
              <a:extLst>
                <a:ext uri="{FF2B5EF4-FFF2-40B4-BE49-F238E27FC236}">
                  <a16:creationId xmlns:a16="http://schemas.microsoft.com/office/drawing/2014/main" id="{47B69573-680F-C847-8FB3-E97B96F0087B}"/>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156E90A0-F5F3-7D4A-BCA0-0B455A043EC4}"/>
                </a:ext>
              </a:extLst>
            </p:cNvPr>
            <p:cNvGrpSpPr/>
            <p:nvPr userDrawn="1"/>
          </p:nvGrpSpPr>
          <p:grpSpPr>
            <a:xfrm>
              <a:off x="9554253" y="2414886"/>
              <a:ext cx="2819399" cy="1181890"/>
              <a:chOff x="9541498" y="3352649"/>
              <a:chExt cx="2819399" cy="1181890"/>
            </a:xfrm>
          </p:grpSpPr>
          <p:grpSp>
            <p:nvGrpSpPr>
              <p:cNvPr id="53" name="Group 52">
                <a:extLst>
                  <a:ext uri="{FF2B5EF4-FFF2-40B4-BE49-F238E27FC236}">
                    <a16:creationId xmlns:a16="http://schemas.microsoft.com/office/drawing/2014/main" id="{E3B8AD0A-9353-E743-98CA-44AFA4D7C166}"/>
                  </a:ext>
                </a:extLst>
              </p:cNvPr>
              <p:cNvGrpSpPr/>
              <p:nvPr userDrawn="1"/>
            </p:nvGrpSpPr>
            <p:grpSpPr>
              <a:xfrm>
                <a:off x="9541498" y="3352649"/>
                <a:ext cx="2735150" cy="1181890"/>
                <a:chOff x="9541498" y="3751132"/>
                <a:chExt cx="2735150" cy="1181890"/>
              </a:xfrm>
            </p:grpSpPr>
            <p:grpSp>
              <p:nvGrpSpPr>
                <p:cNvPr id="55" name="Group 54">
                  <a:extLst>
                    <a:ext uri="{FF2B5EF4-FFF2-40B4-BE49-F238E27FC236}">
                      <a16:creationId xmlns:a16="http://schemas.microsoft.com/office/drawing/2014/main" id="{B0E8F800-E1AB-E746-8851-BE07C9573DF5}"/>
                    </a:ext>
                  </a:extLst>
                </p:cNvPr>
                <p:cNvGrpSpPr/>
                <p:nvPr userDrawn="1"/>
              </p:nvGrpSpPr>
              <p:grpSpPr>
                <a:xfrm>
                  <a:off x="9541498" y="3751132"/>
                  <a:ext cx="2735150" cy="1181890"/>
                  <a:chOff x="9296568" y="4910411"/>
                  <a:chExt cx="2735150" cy="1181890"/>
                </a:xfrm>
              </p:grpSpPr>
              <p:sp>
                <p:nvSpPr>
                  <p:cNvPr id="90" name="Rectangle 89">
                    <a:extLst>
                      <a:ext uri="{FF2B5EF4-FFF2-40B4-BE49-F238E27FC236}">
                        <a16:creationId xmlns:a16="http://schemas.microsoft.com/office/drawing/2014/main" id="{F0341023-B297-EE44-B1E7-3A1B988C0D34}"/>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1" name="TextBox 90">
                    <a:extLst>
                      <a:ext uri="{FF2B5EF4-FFF2-40B4-BE49-F238E27FC236}">
                        <a16:creationId xmlns:a16="http://schemas.microsoft.com/office/drawing/2014/main" id="{004FF57D-84DA-054C-BAE1-86A84ADB8BFA}"/>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92" name="TextBox 91">
                    <a:extLst>
                      <a:ext uri="{FF2B5EF4-FFF2-40B4-BE49-F238E27FC236}">
                        <a16:creationId xmlns:a16="http://schemas.microsoft.com/office/drawing/2014/main" id="{14A089B3-40F5-BA48-9C89-18CED644A608}"/>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56" name="Graphic 55">
                  <a:extLst>
                    <a:ext uri="{FF2B5EF4-FFF2-40B4-BE49-F238E27FC236}">
                      <a16:creationId xmlns:a16="http://schemas.microsoft.com/office/drawing/2014/main" id="{0F683FF8-BB88-8D4C-AFF7-96AC3276CB7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54" name="Picture 53">
                <a:extLst>
                  <a:ext uri="{FF2B5EF4-FFF2-40B4-BE49-F238E27FC236}">
                    <a16:creationId xmlns:a16="http://schemas.microsoft.com/office/drawing/2014/main" id="{CF48C183-4FC2-8B43-8812-4E977634650E}"/>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67682197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3 Photos and Text (Vertical)">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1" name="Picture Placeholder 7">
            <a:extLst>
              <a:ext uri="{FF2B5EF4-FFF2-40B4-BE49-F238E27FC236}">
                <a16:creationId xmlns:a16="http://schemas.microsoft.com/office/drawing/2014/main" id="{F7232953-10D7-9346-B58D-EA3D767D05C8}"/>
              </a:ext>
            </a:extLst>
          </p:cNvPr>
          <p:cNvSpPr>
            <a:spLocks noGrp="1"/>
          </p:cNvSpPr>
          <p:nvPr>
            <p:ph type="pic" sz="quarter" idx="13" hasCustomPrompt="1"/>
          </p:nvPr>
        </p:nvSpPr>
        <p:spPr>
          <a:xfrm>
            <a:off x="576481" y="1233642"/>
            <a:ext cx="3289905"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12" name="Picture Placeholder 7">
            <a:extLst>
              <a:ext uri="{FF2B5EF4-FFF2-40B4-BE49-F238E27FC236}">
                <a16:creationId xmlns:a16="http://schemas.microsoft.com/office/drawing/2014/main" id="{5852B5E0-86AD-3749-B882-594E0C761812}"/>
              </a:ext>
            </a:extLst>
          </p:cNvPr>
          <p:cNvSpPr>
            <a:spLocks noGrp="1"/>
          </p:cNvSpPr>
          <p:nvPr>
            <p:ph type="pic" sz="quarter" idx="14" hasCustomPrompt="1"/>
          </p:nvPr>
        </p:nvSpPr>
        <p:spPr>
          <a:xfrm>
            <a:off x="4451900" y="1233488"/>
            <a:ext cx="3289424" cy="1466229"/>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0" name="Caption">
            <a:extLst>
              <a:ext uri="{FF2B5EF4-FFF2-40B4-BE49-F238E27FC236}">
                <a16:creationId xmlns:a16="http://schemas.microsoft.com/office/drawing/2014/main" id="{CF4AE758-84F6-C54D-A7DE-052D01982D22}"/>
              </a:ext>
            </a:extLst>
          </p:cNvPr>
          <p:cNvSpPr>
            <a:spLocks noGrp="1"/>
          </p:cNvSpPr>
          <p:nvPr>
            <p:ph type="body" sz="quarter" idx="500" hasCustomPrompt="1"/>
          </p:nvPr>
        </p:nvSpPr>
        <p:spPr>
          <a:xfrm>
            <a:off x="575734" y="2147777"/>
            <a:ext cx="328990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502" name="Caption 2">
            <a:extLst>
              <a:ext uri="{FF2B5EF4-FFF2-40B4-BE49-F238E27FC236}">
                <a16:creationId xmlns:a16="http://schemas.microsoft.com/office/drawing/2014/main" id="{AC269ED5-A2B1-6A4F-BE9E-2525E65191C5}"/>
              </a:ext>
            </a:extLst>
          </p:cNvPr>
          <p:cNvSpPr>
            <a:spLocks noGrp="1"/>
          </p:cNvSpPr>
          <p:nvPr>
            <p:ph type="body" sz="quarter" idx="502" hasCustomPrompt="1"/>
          </p:nvPr>
        </p:nvSpPr>
        <p:spPr>
          <a:xfrm>
            <a:off x="4451042" y="2147777"/>
            <a:ext cx="328990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100" name="Photo">
            <a:extLst>
              <a:ext uri="{FF2B5EF4-FFF2-40B4-BE49-F238E27FC236}">
                <a16:creationId xmlns:a16="http://schemas.microsoft.com/office/drawing/2014/main" id="{A5A98BB7-3BBC-BF47-A9BC-1EE83DF5EEF5}"/>
              </a:ext>
            </a:extLst>
          </p:cNvPr>
          <p:cNvSpPr>
            <a:spLocks noGrp="1"/>
          </p:cNvSpPr>
          <p:nvPr>
            <p:ph type="pic" sz="quarter" idx="100" hasCustomPrompt="1"/>
          </p:nvPr>
        </p:nvSpPr>
        <p:spPr>
          <a:xfrm>
            <a:off x="8326839" y="1233488"/>
            <a:ext cx="3289424" cy="1466229"/>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grpSp>
        <p:nvGrpSpPr>
          <p:cNvPr id="2" name="Group 1">
            <a:extLst>
              <a:ext uri="{FF2B5EF4-FFF2-40B4-BE49-F238E27FC236}">
                <a16:creationId xmlns:a16="http://schemas.microsoft.com/office/drawing/2014/main" id="{88F1C867-7832-304B-B6CD-BF0427937307}"/>
              </a:ext>
            </a:extLst>
          </p:cNvPr>
          <p:cNvGrpSpPr/>
          <p:nvPr userDrawn="1"/>
        </p:nvGrpSpPr>
        <p:grpSpPr>
          <a:xfrm>
            <a:off x="4159142" y="1233488"/>
            <a:ext cx="3874939" cy="4932363"/>
            <a:chOff x="3119357" y="1233487"/>
            <a:chExt cx="2906204" cy="4861079"/>
          </a:xfrm>
        </p:grpSpPr>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a:off x="3119357" y="1233487"/>
              <a:ext cx="0" cy="4861079"/>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a:off x="6025561" y="1233487"/>
              <a:ext cx="0" cy="4861079"/>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
        <p:nvSpPr>
          <p:cNvPr id="504" name="Caption 3">
            <a:extLst>
              <a:ext uri="{FF2B5EF4-FFF2-40B4-BE49-F238E27FC236}">
                <a16:creationId xmlns:a16="http://schemas.microsoft.com/office/drawing/2014/main" id="{42868E29-E783-A54C-A4B5-63DAB28D5BEF}"/>
              </a:ext>
            </a:extLst>
          </p:cNvPr>
          <p:cNvSpPr>
            <a:spLocks noGrp="1"/>
          </p:cNvSpPr>
          <p:nvPr>
            <p:ph type="body" sz="quarter" idx="504" hasCustomPrompt="1"/>
          </p:nvPr>
        </p:nvSpPr>
        <p:spPr>
          <a:xfrm>
            <a:off x="8326357" y="2147777"/>
            <a:ext cx="328990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499" name="Text Placeholder 1">
            <a:extLst>
              <a:ext uri="{FF2B5EF4-FFF2-40B4-BE49-F238E27FC236}">
                <a16:creationId xmlns:a16="http://schemas.microsoft.com/office/drawing/2014/main" id="{092CA0F9-EE9F-8C4F-9A14-8B88D9656C37}"/>
              </a:ext>
            </a:extLst>
          </p:cNvPr>
          <p:cNvSpPr>
            <a:spLocks noGrp="1"/>
          </p:cNvSpPr>
          <p:nvPr>
            <p:ph type="body" sz="quarter" idx="499"/>
          </p:nvPr>
        </p:nvSpPr>
        <p:spPr>
          <a:xfrm>
            <a:off x="575735" y="2866844"/>
            <a:ext cx="3289904"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01" name="Text Placeholder 2">
            <a:extLst>
              <a:ext uri="{FF2B5EF4-FFF2-40B4-BE49-F238E27FC236}">
                <a16:creationId xmlns:a16="http://schemas.microsoft.com/office/drawing/2014/main" id="{781EEB42-430C-9948-97C1-B9A99786D432}"/>
              </a:ext>
            </a:extLst>
          </p:cNvPr>
          <p:cNvSpPr>
            <a:spLocks noGrp="1"/>
          </p:cNvSpPr>
          <p:nvPr>
            <p:ph type="body" sz="quarter" idx="501"/>
          </p:nvPr>
        </p:nvSpPr>
        <p:spPr>
          <a:xfrm>
            <a:off x="4451041" y="2866844"/>
            <a:ext cx="3289904"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03" name="Text Placeholder 3">
            <a:extLst>
              <a:ext uri="{FF2B5EF4-FFF2-40B4-BE49-F238E27FC236}">
                <a16:creationId xmlns:a16="http://schemas.microsoft.com/office/drawing/2014/main" id="{8C3607B2-9D2D-5E49-86D7-3D3FC05F0012}"/>
              </a:ext>
            </a:extLst>
          </p:cNvPr>
          <p:cNvSpPr>
            <a:spLocks noGrp="1"/>
          </p:cNvSpPr>
          <p:nvPr>
            <p:ph type="body" sz="quarter" idx="503"/>
          </p:nvPr>
        </p:nvSpPr>
        <p:spPr>
          <a:xfrm>
            <a:off x="8326357" y="2866844"/>
            <a:ext cx="3289904"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00" name="Footnotes Placeholder">
            <a:extLst>
              <a:ext uri="{FF2B5EF4-FFF2-40B4-BE49-F238E27FC236}">
                <a16:creationId xmlns:a16="http://schemas.microsoft.com/office/drawing/2014/main" id="{0EF6CB6B-94CC-654E-AE09-4DED2D6EA769}"/>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6" name="Date Placeholder 5">
            <a:extLst>
              <a:ext uri="{FF2B5EF4-FFF2-40B4-BE49-F238E27FC236}">
                <a16:creationId xmlns:a16="http://schemas.microsoft.com/office/drawing/2014/main" id="{D895EACF-4F1C-3842-A7FF-4AC5A2D2E696}"/>
              </a:ext>
            </a:extLst>
          </p:cNvPr>
          <p:cNvSpPr>
            <a:spLocks noGrp="1"/>
          </p:cNvSpPr>
          <p:nvPr>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56214F30-9FE6-D845-91CA-9835E0CF8D52}"/>
              </a:ext>
            </a:extLst>
          </p:cNvPr>
          <p:cNvSpPr>
            <a:spLocks noGrp="1"/>
          </p:cNvSpPr>
          <p:nvPr>
            <p:ph type="ftr" sz="quarter" idx="117"/>
          </p:nvPr>
        </p:nvSpPr>
        <p:spPr/>
        <p:txBody>
          <a:bodyPr/>
          <a:lstStyle/>
          <a:p>
            <a:endParaRPr lang="en-US" dirty="0"/>
          </a:p>
        </p:txBody>
      </p:sp>
      <p:sp>
        <p:nvSpPr>
          <p:cNvPr id="8" name="Slide Number Placeholder 7">
            <a:extLst>
              <a:ext uri="{FF2B5EF4-FFF2-40B4-BE49-F238E27FC236}">
                <a16:creationId xmlns:a16="http://schemas.microsoft.com/office/drawing/2014/main" id="{93172460-2E71-5943-A56D-3D902E900BD0}"/>
              </a:ext>
            </a:extLst>
          </p:cNvPr>
          <p:cNvSpPr>
            <a:spLocks noGrp="1"/>
          </p:cNvSpPr>
          <p:nvPr>
            <p:ph type="sldNum" sz="quarter" idx="118"/>
          </p:nvPr>
        </p:nvSpPr>
        <p:spPr/>
        <p:txBody>
          <a:bodyPr/>
          <a:lstStyle/>
          <a:p>
            <a:pPr marL="12700"/>
            <a:fld id="{078C017C-E1B9-8443-B047-B08AAA027B45}" type="slidenum">
              <a:rPr lang="en-US" smtClean="0"/>
              <a:pPr marL="12700"/>
              <a:t>‹#›</a:t>
            </a:fld>
            <a:endParaRPr lang="en-US" dirty="0"/>
          </a:p>
        </p:txBody>
      </p:sp>
      <p:grpSp>
        <p:nvGrpSpPr>
          <p:cNvPr id="57" name="Group 56">
            <a:extLst>
              <a:ext uri="{FF2B5EF4-FFF2-40B4-BE49-F238E27FC236}">
                <a16:creationId xmlns:a16="http://schemas.microsoft.com/office/drawing/2014/main" id="{9B420A68-79DB-DB41-B02A-F2E31E6651C4}"/>
              </a:ext>
            </a:extLst>
          </p:cNvPr>
          <p:cNvGrpSpPr/>
          <p:nvPr userDrawn="1"/>
        </p:nvGrpSpPr>
        <p:grpSpPr>
          <a:xfrm>
            <a:off x="12532243" y="-2"/>
            <a:ext cx="3965960" cy="9769405"/>
            <a:chOff x="9399182" y="-2"/>
            <a:chExt cx="2974470" cy="9769405"/>
          </a:xfrm>
        </p:grpSpPr>
        <p:sp>
          <p:nvSpPr>
            <p:cNvPr id="58" name="Rectangle 57">
              <a:extLst>
                <a:ext uri="{FF2B5EF4-FFF2-40B4-BE49-F238E27FC236}">
                  <a16:creationId xmlns:a16="http://schemas.microsoft.com/office/drawing/2014/main" id="{1FD61CBE-4EF4-9744-9738-8709C50F1AFF}"/>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59" name="Picture 58">
              <a:extLst>
                <a:ext uri="{FF2B5EF4-FFF2-40B4-BE49-F238E27FC236}">
                  <a16:creationId xmlns:a16="http://schemas.microsoft.com/office/drawing/2014/main" id="{A3D0F9C7-1B58-504B-9BB8-DB9D4FABA977}"/>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0" name="Group 59">
              <a:extLst>
                <a:ext uri="{FF2B5EF4-FFF2-40B4-BE49-F238E27FC236}">
                  <a16:creationId xmlns:a16="http://schemas.microsoft.com/office/drawing/2014/main" id="{35358C56-D8B9-2D44-A534-272FE4FBDFFA}"/>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95659F2A-19A0-4447-8057-CFEE8FF56B2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6" name="TextBox 135">
                <a:extLst>
                  <a:ext uri="{FF2B5EF4-FFF2-40B4-BE49-F238E27FC236}">
                    <a16:creationId xmlns:a16="http://schemas.microsoft.com/office/drawing/2014/main" id="{B67C9E65-EC19-3442-B39D-EF200814B68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323C1721-626E-314E-A318-8CD718694A2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95" name="Group 94">
              <a:extLst>
                <a:ext uri="{FF2B5EF4-FFF2-40B4-BE49-F238E27FC236}">
                  <a16:creationId xmlns:a16="http://schemas.microsoft.com/office/drawing/2014/main" id="{B17DCDDF-F1BE-DE4A-A470-27619CEB4EA1}"/>
                </a:ext>
              </a:extLst>
            </p:cNvPr>
            <p:cNvGrpSpPr/>
            <p:nvPr userDrawn="1"/>
          </p:nvGrpSpPr>
          <p:grpSpPr>
            <a:xfrm>
              <a:off x="9521833" y="3755578"/>
              <a:ext cx="2754815" cy="6013825"/>
              <a:chOff x="9521833" y="2566288"/>
              <a:chExt cx="2754815" cy="6013825"/>
            </a:xfrm>
          </p:grpSpPr>
          <p:sp>
            <p:nvSpPr>
              <p:cNvPr id="107" name="TextBox 106">
                <a:extLst>
                  <a:ext uri="{FF2B5EF4-FFF2-40B4-BE49-F238E27FC236}">
                    <a16:creationId xmlns:a16="http://schemas.microsoft.com/office/drawing/2014/main" id="{E6F2A99C-3FE4-AD45-B484-C0BE917FD294}"/>
                  </a:ext>
                </a:extLst>
              </p:cNvPr>
              <p:cNvSpPr txBox="1"/>
              <p:nvPr userDrawn="1"/>
            </p:nvSpPr>
            <p:spPr>
              <a:xfrm>
                <a:off x="9558507" y="256628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108" name="Straight Connector 107">
                <a:extLst>
                  <a:ext uri="{FF2B5EF4-FFF2-40B4-BE49-F238E27FC236}">
                    <a16:creationId xmlns:a16="http://schemas.microsoft.com/office/drawing/2014/main" id="{FB66869C-518A-4E44-A5D8-215292EBADF3}"/>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1E6E8BDE-A518-5A4C-8679-EEE8B59A8496}"/>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10" name="Group 109">
                <a:extLst>
                  <a:ext uri="{FF2B5EF4-FFF2-40B4-BE49-F238E27FC236}">
                    <a16:creationId xmlns:a16="http://schemas.microsoft.com/office/drawing/2014/main" id="{856B91D7-AFB6-D14D-9C1A-039849E808D4}"/>
                  </a:ext>
                </a:extLst>
              </p:cNvPr>
              <p:cNvGrpSpPr/>
              <p:nvPr userDrawn="1"/>
            </p:nvGrpSpPr>
            <p:grpSpPr>
              <a:xfrm>
                <a:off x="9541497" y="7168798"/>
                <a:ext cx="2735151" cy="1411315"/>
                <a:chOff x="9296567" y="4910411"/>
                <a:chExt cx="2735151" cy="1411315"/>
              </a:xfrm>
            </p:grpSpPr>
            <p:sp>
              <p:nvSpPr>
                <p:cNvPr id="129" name="Rectangle 128">
                  <a:extLst>
                    <a:ext uri="{FF2B5EF4-FFF2-40B4-BE49-F238E27FC236}">
                      <a16:creationId xmlns:a16="http://schemas.microsoft.com/office/drawing/2014/main" id="{FD2AE5C6-3677-724F-92E6-5538D45B8D48}"/>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0" name="TextBox 129">
                  <a:extLst>
                    <a:ext uri="{FF2B5EF4-FFF2-40B4-BE49-F238E27FC236}">
                      <a16:creationId xmlns:a16="http://schemas.microsoft.com/office/drawing/2014/main" id="{FA964FC1-48D0-784E-9777-5823D5FA266D}"/>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31" name="Graphic 130">
                  <a:extLst>
                    <a:ext uri="{FF2B5EF4-FFF2-40B4-BE49-F238E27FC236}">
                      <a16:creationId xmlns:a16="http://schemas.microsoft.com/office/drawing/2014/main" id="{9A1BCB32-2903-F44E-8F4D-87C1D9ADEAA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2" name="TextBox 131">
                  <a:extLst>
                    <a:ext uri="{FF2B5EF4-FFF2-40B4-BE49-F238E27FC236}">
                      <a16:creationId xmlns:a16="http://schemas.microsoft.com/office/drawing/2014/main" id="{55BE347B-59DF-6947-A01C-B5DC935B7398}"/>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3" name="TextBox 132">
                  <a:extLst>
                    <a:ext uri="{FF2B5EF4-FFF2-40B4-BE49-F238E27FC236}">
                      <a16:creationId xmlns:a16="http://schemas.microsoft.com/office/drawing/2014/main" id="{31AE7AC1-83E2-C248-979E-EF4CCB978969}"/>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34" name="TextBox 133">
                  <a:extLst>
                    <a:ext uri="{FF2B5EF4-FFF2-40B4-BE49-F238E27FC236}">
                      <a16:creationId xmlns:a16="http://schemas.microsoft.com/office/drawing/2014/main" id="{34ED295B-81B0-9948-AC39-03FB2489D319}"/>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11" name="Group 110">
                <a:extLst>
                  <a:ext uri="{FF2B5EF4-FFF2-40B4-BE49-F238E27FC236}">
                    <a16:creationId xmlns:a16="http://schemas.microsoft.com/office/drawing/2014/main" id="{FA21885C-5903-6E41-AC43-23C29B0342C1}"/>
                  </a:ext>
                </a:extLst>
              </p:cNvPr>
              <p:cNvGrpSpPr/>
              <p:nvPr userDrawn="1"/>
            </p:nvGrpSpPr>
            <p:grpSpPr>
              <a:xfrm>
                <a:off x="9541497" y="5812142"/>
                <a:ext cx="2735151" cy="1280928"/>
                <a:chOff x="9286315" y="6976989"/>
                <a:chExt cx="2735151" cy="1280928"/>
              </a:xfrm>
            </p:grpSpPr>
            <p:sp>
              <p:nvSpPr>
                <p:cNvPr id="120" name="Rectangle 119">
                  <a:extLst>
                    <a:ext uri="{FF2B5EF4-FFF2-40B4-BE49-F238E27FC236}">
                      <a16:creationId xmlns:a16="http://schemas.microsoft.com/office/drawing/2014/main" id="{0CBDA1BF-3DF5-AF4A-A75B-16654E5BBE0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1" name="TextBox 120">
                  <a:extLst>
                    <a:ext uri="{FF2B5EF4-FFF2-40B4-BE49-F238E27FC236}">
                      <a16:creationId xmlns:a16="http://schemas.microsoft.com/office/drawing/2014/main" id="{FB9070B7-F38E-B145-B116-93DD07A0ED7F}"/>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26" name="Graphic 125">
                  <a:extLst>
                    <a:ext uri="{FF2B5EF4-FFF2-40B4-BE49-F238E27FC236}">
                      <a16:creationId xmlns:a16="http://schemas.microsoft.com/office/drawing/2014/main" id="{05297A0C-0DFC-3F40-AA58-4B1BF710AC1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27" name="TextBox 126">
                  <a:extLst>
                    <a:ext uri="{FF2B5EF4-FFF2-40B4-BE49-F238E27FC236}">
                      <a16:creationId xmlns:a16="http://schemas.microsoft.com/office/drawing/2014/main" id="{B2923AFA-67A9-EE4B-A5F0-0027855F0D74}"/>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28" name="Picture 127">
                  <a:extLst>
                    <a:ext uri="{FF2B5EF4-FFF2-40B4-BE49-F238E27FC236}">
                      <a16:creationId xmlns:a16="http://schemas.microsoft.com/office/drawing/2014/main" id="{140F5F94-D2B2-394D-8B07-BF813910FA3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12" name="Group 111">
                <a:extLst>
                  <a:ext uri="{FF2B5EF4-FFF2-40B4-BE49-F238E27FC236}">
                    <a16:creationId xmlns:a16="http://schemas.microsoft.com/office/drawing/2014/main" id="{F33273B7-FF85-EB44-BD0E-E50B420269F5}"/>
                  </a:ext>
                </a:extLst>
              </p:cNvPr>
              <p:cNvGrpSpPr/>
              <p:nvPr userDrawn="1"/>
            </p:nvGrpSpPr>
            <p:grpSpPr>
              <a:xfrm>
                <a:off x="9521833" y="2891408"/>
                <a:ext cx="2617883" cy="651460"/>
                <a:chOff x="12352022" y="513115"/>
                <a:chExt cx="2617883" cy="651460"/>
              </a:xfrm>
            </p:grpSpPr>
            <p:sp>
              <p:nvSpPr>
                <p:cNvPr id="117" name="TextBox 116">
                  <a:extLst>
                    <a:ext uri="{FF2B5EF4-FFF2-40B4-BE49-F238E27FC236}">
                      <a16:creationId xmlns:a16="http://schemas.microsoft.com/office/drawing/2014/main" id="{842D6F5C-1CCA-7743-AA36-CF22419CFF39}"/>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18" name="TextBox 117">
                  <a:extLst>
                    <a:ext uri="{FF2B5EF4-FFF2-40B4-BE49-F238E27FC236}">
                      <a16:creationId xmlns:a16="http://schemas.microsoft.com/office/drawing/2014/main" id="{3B5E7011-3C06-A54E-BC42-0AC71F269195}"/>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19" name="TextBox 118">
                  <a:extLst>
                    <a:ext uri="{FF2B5EF4-FFF2-40B4-BE49-F238E27FC236}">
                      <a16:creationId xmlns:a16="http://schemas.microsoft.com/office/drawing/2014/main" id="{8BABC65A-2E00-2C47-8534-CC7BF92B8C44}"/>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113" name="TextBox 112">
                <a:extLst>
                  <a:ext uri="{FF2B5EF4-FFF2-40B4-BE49-F238E27FC236}">
                    <a16:creationId xmlns:a16="http://schemas.microsoft.com/office/drawing/2014/main" id="{1200E688-1FCE-BE4D-ADD7-CEC6FCA2EEFD}"/>
                  </a:ext>
                </a:extLst>
              </p:cNvPr>
              <p:cNvSpPr txBox="1"/>
              <p:nvPr userDrawn="1"/>
            </p:nvSpPr>
            <p:spPr>
              <a:xfrm>
                <a:off x="9674267" y="391052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14" name="TextBox 113">
                <a:extLst>
                  <a:ext uri="{FF2B5EF4-FFF2-40B4-BE49-F238E27FC236}">
                    <a16:creationId xmlns:a16="http://schemas.microsoft.com/office/drawing/2014/main" id="{7785D546-828D-3146-ACAC-55A0A0A07D3C}"/>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15" name="TextBox 114">
                <a:extLst>
                  <a:ext uri="{FF2B5EF4-FFF2-40B4-BE49-F238E27FC236}">
                    <a16:creationId xmlns:a16="http://schemas.microsoft.com/office/drawing/2014/main" id="{3BD9DF96-0C2D-4240-A433-266ED2D6EDFD}"/>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16" name="TextBox 115">
                <a:extLst>
                  <a:ext uri="{FF2B5EF4-FFF2-40B4-BE49-F238E27FC236}">
                    <a16:creationId xmlns:a16="http://schemas.microsoft.com/office/drawing/2014/main" id="{E6D29337-01D2-6545-ADD5-AB53F0139F0B}"/>
                  </a:ext>
                </a:extLst>
              </p:cNvPr>
              <p:cNvSpPr txBox="1"/>
              <p:nvPr userDrawn="1"/>
            </p:nvSpPr>
            <p:spPr>
              <a:xfrm>
                <a:off x="9674267" y="5476430"/>
                <a:ext cx="2374733"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96" name="TextBox 95">
              <a:extLst>
                <a:ext uri="{FF2B5EF4-FFF2-40B4-BE49-F238E27FC236}">
                  <a16:creationId xmlns:a16="http://schemas.microsoft.com/office/drawing/2014/main" id="{A6874E17-02C1-C946-A42C-55A813E95DDC}"/>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97" name="Straight Connector 96">
              <a:extLst>
                <a:ext uri="{FF2B5EF4-FFF2-40B4-BE49-F238E27FC236}">
                  <a16:creationId xmlns:a16="http://schemas.microsoft.com/office/drawing/2014/main" id="{E676D275-6C7A-794E-B3A4-9C0D2F01BA21}"/>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9E39727D-7666-D944-A279-9C6F9F522EAA}"/>
                </a:ext>
              </a:extLst>
            </p:cNvPr>
            <p:cNvGrpSpPr/>
            <p:nvPr userDrawn="1"/>
          </p:nvGrpSpPr>
          <p:grpSpPr>
            <a:xfrm>
              <a:off x="9554253" y="2414886"/>
              <a:ext cx="2819399" cy="1181890"/>
              <a:chOff x="9541498" y="3352649"/>
              <a:chExt cx="2819399" cy="1181890"/>
            </a:xfrm>
          </p:grpSpPr>
          <p:grpSp>
            <p:nvGrpSpPr>
              <p:cNvPr id="99" name="Group 98">
                <a:extLst>
                  <a:ext uri="{FF2B5EF4-FFF2-40B4-BE49-F238E27FC236}">
                    <a16:creationId xmlns:a16="http://schemas.microsoft.com/office/drawing/2014/main" id="{D43C113E-CE1B-0E46-8157-A4043B1705E1}"/>
                  </a:ext>
                </a:extLst>
              </p:cNvPr>
              <p:cNvGrpSpPr/>
              <p:nvPr userDrawn="1"/>
            </p:nvGrpSpPr>
            <p:grpSpPr>
              <a:xfrm>
                <a:off x="9541498" y="3352649"/>
                <a:ext cx="2735150" cy="1181890"/>
                <a:chOff x="9541498" y="3751132"/>
                <a:chExt cx="2735150" cy="1181890"/>
              </a:xfrm>
            </p:grpSpPr>
            <p:grpSp>
              <p:nvGrpSpPr>
                <p:cNvPr id="102" name="Group 101">
                  <a:extLst>
                    <a:ext uri="{FF2B5EF4-FFF2-40B4-BE49-F238E27FC236}">
                      <a16:creationId xmlns:a16="http://schemas.microsoft.com/office/drawing/2014/main" id="{2F7911CF-19AC-2E45-BF56-1473CD99BDBB}"/>
                    </a:ext>
                  </a:extLst>
                </p:cNvPr>
                <p:cNvGrpSpPr/>
                <p:nvPr userDrawn="1"/>
              </p:nvGrpSpPr>
              <p:grpSpPr>
                <a:xfrm>
                  <a:off x="9541498" y="3751132"/>
                  <a:ext cx="2735150" cy="1181890"/>
                  <a:chOff x="9296568" y="4910411"/>
                  <a:chExt cx="2735150" cy="1181890"/>
                </a:xfrm>
              </p:grpSpPr>
              <p:sp>
                <p:nvSpPr>
                  <p:cNvPr id="104" name="Rectangle 103">
                    <a:extLst>
                      <a:ext uri="{FF2B5EF4-FFF2-40B4-BE49-F238E27FC236}">
                        <a16:creationId xmlns:a16="http://schemas.microsoft.com/office/drawing/2014/main" id="{21935321-67DF-0942-B103-5EBEA1A11C6D}"/>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5" name="TextBox 104">
                    <a:extLst>
                      <a:ext uri="{FF2B5EF4-FFF2-40B4-BE49-F238E27FC236}">
                        <a16:creationId xmlns:a16="http://schemas.microsoft.com/office/drawing/2014/main" id="{5084153E-429E-984E-9780-BCE1637F49BF}"/>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06" name="TextBox 105">
                    <a:extLst>
                      <a:ext uri="{FF2B5EF4-FFF2-40B4-BE49-F238E27FC236}">
                        <a16:creationId xmlns:a16="http://schemas.microsoft.com/office/drawing/2014/main" id="{FD4E6000-FEEF-524E-88BD-FDBE78CDD820}"/>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03" name="Graphic 102">
                  <a:extLst>
                    <a:ext uri="{FF2B5EF4-FFF2-40B4-BE49-F238E27FC236}">
                      <a16:creationId xmlns:a16="http://schemas.microsoft.com/office/drawing/2014/main" id="{A25C8F3C-F2C1-8A40-AD08-DDCA82F39ED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01" name="Picture 100">
                <a:extLst>
                  <a:ext uri="{FF2B5EF4-FFF2-40B4-BE49-F238E27FC236}">
                    <a16:creationId xmlns:a16="http://schemas.microsoft.com/office/drawing/2014/main" id="{BC4EC8E7-BEED-1048-9857-E678954434A6}"/>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219175323"/>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3 Photos and Text (Horizontal)">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rot="5400000">
            <a:off x="6082599" y="-2675693"/>
            <a:ext cx="0" cy="1101378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rot="5400000">
            <a:off x="6082599" y="-946202"/>
            <a:ext cx="0" cy="1101378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499" name="Text Placeholder 1">
            <a:extLst>
              <a:ext uri="{FF2B5EF4-FFF2-40B4-BE49-F238E27FC236}">
                <a16:creationId xmlns:a16="http://schemas.microsoft.com/office/drawing/2014/main" id="{EA8D8CC5-DDED-9445-8A9A-D06B2B9A91DE}"/>
              </a:ext>
            </a:extLst>
          </p:cNvPr>
          <p:cNvSpPr>
            <a:spLocks noGrp="1"/>
          </p:cNvSpPr>
          <p:nvPr>
            <p:ph type="body" sz="quarter" idx="499"/>
          </p:nvPr>
        </p:nvSpPr>
        <p:spPr>
          <a:xfrm>
            <a:off x="3805768" y="1233488"/>
            <a:ext cx="7809985"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01" name="Text Placeholder 2">
            <a:extLst>
              <a:ext uri="{FF2B5EF4-FFF2-40B4-BE49-F238E27FC236}">
                <a16:creationId xmlns:a16="http://schemas.microsoft.com/office/drawing/2014/main" id="{65A45B82-A28A-C541-9948-969822196900}"/>
              </a:ext>
            </a:extLst>
          </p:cNvPr>
          <p:cNvSpPr>
            <a:spLocks noGrp="1"/>
          </p:cNvSpPr>
          <p:nvPr>
            <p:ph type="body" sz="quarter" idx="501"/>
          </p:nvPr>
        </p:nvSpPr>
        <p:spPr>
          <a:xfrm>
            <a:off x="3805768" y="2962517"/>
            <a:ext cx="7809985"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03" name="Text Placeholder 3">
            <a:extLst>
              <a:ext uri="{FF2B5EF4-FFF2-40B4-BE49-F238E27FC236}">
                <a16:creationId xmlns:a16="http://schemas.microsoft.com/office/drawing/2014/main" id="{8B46136D-9E6B-7348-A230-0C0B61F4043F}"/>
              </a:ext>
            </a:extLst>
          </p:cNvPr>
          <p:cNvSpPr>
            <a:spLocks noGrp="1"/>
          </p:cNvSpPr>
          <p:nvPr>
            <p:ph type="body" sz="quarter" idx="503"/>
          </p:nvPr>
        </p:nvSpPr>
        <p:spPr>
          <a:xfrm>
            <a:off x="3805768" y="4691546"/>
            <a:ext cx="7809985"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00" name="Footnotes Placeholder">
            <a:extLst>
              <a:ext uri="{FF2B5EF4-FFF2-40B4-BE49-F238E27FC236}">
                <a16:creationId xmlns:a16="http://schemas.microsoft.com/office/drawing/2014/main" id="{A9BB490B-C309-B748-9B19-AF93AAACA3CF}"/>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58" name="Picture Placeholder 7">
            <a:extLst>
              <a:ext uri="{FF2B5EF4-FFF2-40B4-BE49-F238E27FC236}">
                <a16:creationId xmlns:a16="http://schemas.microsoft.com/office/drawing/2014/main" id="{6F749DAD-56A6-D649-9F35-5B56FF579CB0}"/>
              </a:ext>
            </a:extLst>
          </p:cNvPr>
          <p:cNvSpPr>
            <a:spLocks noGrp="1"/>
          </p:cNvSpPr>
          <p:nvPr userDrawn="1">
            <p:ph type="pic" sz="quarter" idx="13" hasCustomPrompt="1"/>
          </p:nvPr>
        </p:nvSpPr>
        <p:spPr>
          <a:xfrm>
            <a:off x="576481" y="1233642"/>
            <a:ext cx="2896393"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0" name="Caption">
            <a:extLst>
              <a:ext uri="{FF2B5EF4-FFF2-40B4-BE49-F238E27FC236}">
                <a16:creationId xmlns:a16="http://schemas.microsoft.com/office/drawing/2014/main" id="{D94C6D6D-4FAA-B44F-ACF0-6E5AB0A38656}"/>
              </a:ext>
            </a:extLst>
          </p:cNvPr>
          <p:cNvSpPr>
            <a:spLocks noGrp="1"/>
          </p:cNvSpPr>
          <p:nvPr userDrawn="1">
            <p:ph type="body" sz="quarter" idx="500" hasCustomPrompt="1"/>
          </p:nvPr>
        </p:nvSpPr>
        <p:spPr>
          <a:xfrm>
            <a:off x="575734" y="2147777"/>
            <a:ext cx="2896393"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60" name="Picture Placeholder 7">
            <a:extLst>
              <a:ext uri="{FF2B5EF4-FFF2-40B4-BE49-F238E27FC236}">
                <a16:creationId xmlns:a16="http://schemas.microsoft.com/office/drawing/2014/main" id="{2D1E164C-A44E-6C43-B08A-9A9E7394EE60}"/>
              </a:ext>
            </a:extLst>
          </p:cNvPr>
          <p:cNvSpPr>
            <a:spLocks noGrp="1"/>
          </p:cNvSpPr>
          <p:nvPr userDrawn="1">
            <p:ph type="pic" sz="quarter" idx="121" hasCustomPrompt="1"/>
          </p:nvPr>
        </p:nvSpPr>
        <p:spPr>
          <a:xfrm>
            <a:off x="576481" y="2962056"/>
            <a:ext cx="2896393"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2" name="Caption 2">
            <a:extLst>
              <a:ext uri="{FF2B5EF4-FFF2-40B4-BE49-F238E27FC236}">
                <a16:creationId xmlns:a16="http://schemas.microsoft.com/office/drawing/2014/main" id="{72DD6B82-4027-214C-907A-917585DE52E2}"/>
              </a:ext>
            </a:extLst>
          </p:cNvPr>
          <p:cNvSpPr>
            <a:spLocks noGrp="1"/>
          </p:cNvSpPr>
          <p:nvPr userDrawn="1">
            <p:ph type="body" sz="quarter" idx="502" hasCustomPrompt="1"/>
          </p:nvPr>
        </p:nvSpPr>
        <p:spPr>
          <a:xfrm>
            <a:off x="575734" y="3876191"/>
            <a:ext cx="2896393"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62" name="Picture Placeholder 7">
            <a:extLst>
              <a:ext uri="{FF2B5EF4-FFF2-40B4-BE49-F238E27FC236}">
                <a16:creationId xmlns:a16="http://schemas.microsoft.com/office/drawing/2014/main" id="{12ACC18C-7823-4243-80B6-3AD22ABEB0F0}"/>
              </a:ext>
            </a:extLst>
          </p:cNvPr>
          <p:cNvSpPr>
            <a:spLocks noGrp="1"/>
          </p:cNvSpPr>
          <p:nvPr userDrawn="1">
            <p:ph type="pic" sz="quarter" idx="123" hasCustomPrompt="1"/>
          </p:nvPr>
        </p:nvSpPr>
        <p:spPr>
          <a:xfrm>
            <a:off x="576481" y="4691545"/>
            <a:ext cx="2896393"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4" name="Caption 3">
            <a:extLst>
              <a:ext uri="{FF2B5EF4-FFF2-40B4-BE49-F238E27FC236}">
                <a16:creationId xmlns:a16="http://schemas.microsoft.com/office/drawing/2014/main" id="{BFF4272A-93C5-194D-96DD-141C47B60F8F}"/>
              </a:ext>
            </a:extLst>
          </p:cNvPr>
          <p:cNvSpPr>
            <a:spLocks noGrp="1"/>
          </p:cNvSpPr>
          <p:nvPr userDrawn="1">
            <p:ph type="body" sz="quarter" idx="504" hasCustomPrompt="1"/>
          </p:nvPr>
        </p:nvSpPr>
        <p:spPr>
          <a:xfrm>
            <a:off x="575734" y="5605680"/>
            <a:ext cx="2896393"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8" name="Date Placeholder 7">
            <a:extLst>
              <a:ext uri="{FF2B5EF4-FFF2-40B4-BE49-F238E27FC236}">
                <a16:creationId xmlns:a16="http://schemas.microsoft.com/office/drawing/2014/main" id="{5D5C0E79-A3BD-5144-8C77-5A57F1DFDA10}"/>
              </a:ext>
            </a:extLst>
          </p:cNvPr>
          <p:cNvSpPr>
            <a:spLocks noGrp="1"/>
          </p:cNvSpPr>
          <p:nvPr userDrawn="1">
            <p:ph type="dt" sz="half" idx="125"/>
          </p:nvPr>
        </p:nvSpPr>
        <p:spPr/>
        <p:txBody>
          <a:bodyPr/>
          <a:lstStyle/>
          <a:p>
            <a:endParaRPr lang="en-US" dirty="0"/>
          </a:p>
        </p:txBody>
      </p:sp>
      <p:sp>
        <p:nvSpPr>
          <p:cNvPr id="10" name="Footer Placeholder 9">
            <a:extLst>
              <a:ext uri="{FF2B5EF4-FFF2-40B4-BE49-F238E27FC236}">
                <a16:creationId xmlns:a16="http://schemas.microsoft.com/office/drawing/2014/main" id="{AA4A8FA1-CC46-7144-84B1-17C00BC259EB}"/>
              </a:ext>
            </a:extLst>
          </p:cNvPr>
          <p:cNvSpPr>
            <a:spLocks noGrp="1"/>
          </p:cNvSpPr>
          <p:nvPr userDrawn="1">
            <p:ph type="ftr" sz="quarter" idx="126"/>
          </p:nvPr>
        </p:nvSpPr>
        <p:spPr/>
        <p:txBody>
          <a:bodyPr/>
          <a:lstStyle/>
          <a:p>
            <a:endParaRPr lang="en-US" dirty="0"/>
          </a:p>
        </p:txBody>
      </p:sp>
      <p:sp>
        <p:nvSpPr>
          <p:cNvPr id="14" name="Slide Number Placeholder 13">
            <a:extLst>
              <a:ext uri="{FF2B5EF4-FFF2-40B4-BE49-F238E27FC236}">
                <a16:creationId xmlns:a16="http://schemas.microsoft.com/office/drawing/2014/main" id="{ACB2D2FD-3057-D74D-B44D-0EB64193CE1C}"/>
              </a:ext>
            </a:extLst>
          </p:cNvPr>
          <p:cNvSpPr>
            <a:spLocks noGrp="1"/>
          </p:cNvSpPr>
          <p:nvPr userDrawn="1">
            <p:ph type="sldNum" sz="quarter" idx="127"/>
          </p:nvPr>
        </p:nvSpPr>
        <p:spPr/>
        <p:txBody>
          <a:bodyPr/>
          <a:lstStyle/>
          <a:p>
            <a:pPr marL="12700"/>
            <a:fld id="{078C017C-E1B9-8443-B047-B08AAA027B45}" type="slidenum">
              <a:rPr lang="en-US" smtClean="0"/>
              <a:pPr marL="12700"/>
              <a:t>‹#›</a:t>
            </a:fld>
            <a:endParaRPr lang="en-US" dirty="0"/>
          </a:p>
        </p:txBody>
      </p:sp>
      <p:grpSp>
        <p:nvGrpSpPr>
          <p:cNvPr id="56" name="Group 55">
            <a:extLst>
              <a:ext uri="{FF2B5EF4-FFF2-40B4-BE49-F238E27FC236}">
                <a16:creationId xmlns:a16="http://schemas.microsoft.com/office/drawing/2014/main" id="{05E9C379-DDF1-7B44-89A9-61472AAB938F}"/>
              </a:ext>
            </a:extLst>
          </p:cNvPr>
          <p:cNvGrpSpPr/>
          <p:nvPr userDrawn="1"/>
        </p:nvGrpSpPr>
        <p:grpSpPr>
          <a:xfrm>
            <a:off x="12532243" y="-2"/>
            <a:ext cx="3965960" cy="9769405"/>
            <a:chOff x="9399182" y="-2"/>
            <a:chExt cx="2974470" cy="9769405"/>
          </a:xfrm>
        </p:grpSpPr>
        <p:sp>
          <p:nvSpPr>
            <p:cNvPr id="57" name="Rectangle 56">
              <a:extLst>
                <a:ext uri="{FF2B5EF4-FFF2-40B4-BE49-F238E27FC236}">
                  <a16:creationId xmlns:a16="http://schemas.microsoft.com/office/drawing/2014/main" id="{02AA4587-5464-694B-A0E3-F705C2D6C38B}"/>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59" name="Picture 58">
              <a:extLst>
                <a:ext uri="{FF2B5EF4-FFF2-40B4-BE49-F238E27FC236}">
                  <a16:creationId xmlns:a16="http://schemas.microsoft.com/office/drawing/2014/main" id="{184225E7-8754-CD4D-AE0E-53076B270764}"/>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1" name="Group 60">
              <a:extLst>
                <a:ext uri="{FF2B5EF4-FFF2-40B4-BE49-F238E27FC236}">
                  <a16:creationId xmlns:a16="http://schemas.microsoft.com/office/drawing/2014/main" id="{53ED5C7E-A3C9-E44F-9C13-86E78B48E65F}"/>
                </a:ext>
              </a:extLst>
            </p:cNvPr>
            <p:cNvGrpSpPr/>
            <p:nvPr userDrawn="1"/>
          </p:nvGrpSpPr>
          <p:grpSpPr>
            <a:xfrm>
              <a:off x="9541497" y="162442"/>
              <a:ext cx="2819400" cy="814510"/>
              <a:chOff x="-3644733" y="165205"/>
              <a:chExt cx="2819400" cy="814510"/>
            </a:xfrm>
          </p:grpSpPr>
          <p:sp>
            <p:nvSpPr>
              <p:cNvPr id="136" name="Rectangle 135">
                <a:extLst>
                  <a:ext uri="{FF2B5EF4-FFF2-40B4-BE49-F238E27FC236}">
                    <a16:creationId xmlns:a16="http://schemas.microsoft.com/office/drawing/2014/main" id="{ACE05B8D-FE1E-1145-90BB-9998F8CA2CAB}"/>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7" name="TextBox 136">
                <a:extLst>
                  <a:ext uri="{FF2B5EF4-FFF2-40B4-BE49-F238E27FC236}">
                    <a16:creationId xmlns:a16="http://schemas.microsoft.com/office/drawing/2014/main" id="{443BD4B2-7A49-7B4D-A180-98D5EB1AD43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8" name="Picture 137">
                <a:extLst>
                  <a:ext uri="{FF2B5EF4-FFF2-40B4-BE49-F238E27FC236}">
                    <a16:creationId xmlns:a16="http://schemas.microsoft.com/office/drawing/2014/main" id="{08065AFB-7BEE-0F47-BED7-2DE8C591FB2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3" name="Group 62">
              <a:extLst>
                <a:ext uri="{FF2B5EF4-FFF2-40B4-BE49-F238E27FC236}">
                  <a16:creationId xmlns:a16="http://schemas.microsoft.com/office/drawing/2014/main" id="{764EAB81-6824-4047-9BA3-6AFFE7AE03F3}"/>
                </a:ext>
              </a:extLst>
            </p:cNvPr>
            <p:cNvGrpSpPr/>
            <p:nvPr userDrawn="1"/>
          </p:nvGrpSpPr>
          <p:grpSpPr>
            <a:xfrm>
              <a:off x="9521833" y="3755578"/>
              <a:ext cx="2754815" cy="6013825"/>
              <a:chOff x="9521833" y="2566288"/>
              <a:chExt cx="2754815" cy="6013825"/>
            </a:xfrm>
          </p:grpSpPr>
          <p:sp>
            <p:nvSpPr>
              <p:cNvPr id="74" name="TextBox 73">
                <a:extLst>
                  <a:ext uri="{FF2B5EF4-FFF2-40B4-BE49-F238E27FC236}">
                    <a16:creationId xmlns:a16="http://schemas.microsoft.com/office/drawing/2014/main" id="{B89A63E2-40AE-6F46-A362-BFE20BF1B080}"/>
                  </a:ext>
                </a:extLst>
              </p:cNvPr>
              <p:cNvSpPr txBox="1"/>
              <p:nvPr userDrawn="1"/>
            </p:nvSpPr>
            <p:spPr>
              <a:xfrm>
                <a:off x="9558507" y="256628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75" name="Straight Connector 74">
                <a:extLst>
                  <a:ext uri="{FF2B5EF4-FFF2-40B4-BE49-F238E27FC236}">
                    <a16:creationId xmlns:a16="http://schemas.microsoft.com/office/drawing/2014/main" id="{1DD9B0EE-DBC0-FE43-992A-95582817972C}"/>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2099CD36-FA5E-D446-83AD-9BEB40BDDA39}"/>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7" name="Group 76">
                <a:extLst>
                  <a:ext uri="{FF2B5EF4-FFF2-40B4-BE49-F238E27FC236}">
                    <a16:creationId xmlns:a16="http://schemas.microsoft.com/office/drawing/2014/main" id="{506D11A7-2578-BA40-896C-CE07CC36B340}"/>
                  </a:ext>
                </a:extLst>
              </p:cNvPr>
              <p:cNvGrpSpPr/>
              <p:nvPr userDrawn="1"/>
            </p:nvGrpSpPr>
            <p:grpSpPr>
              <a:xfrm>
                <a:off x="9541497" y="7168798"/>
                <a:ext cx="2735151" cy="1411315"/>
                <a:chOff x="9296567" y="4910411"/>
                <a:chExt cx="2735151" cy="1411315"/>
              </a:xfrm>
            </p:grpSpPr>
            <p:sp>
              <p:nvSpPr>
                <p:cNvPr id="130" name="Rectangle 129">
                  <a:extLst>
                    <a:ext uri="{FF2B5EF4-FFF2-40B4-BE49-F238E27FC236}">
                      <a16:creationId xmlns:a16="http://schemas.microsoft.com/office/drawing/2014/main" id="{234AFB33-F664-1B42-AC5B-833976E236C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1" name="TextBox 130">
                  <a:extLst>
                    <a:ext uri="{FF2B5EF4-FFF2-40B4-BE49-F238E27FC236}">
                      <a16:creationId xmlns:a16="http://schemas.microsoft.com/office/drawing/2014/main" id="{DC3973FE-EA67-1446-90F5-00311B24E762}"/>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32" name="Graphic 131">
                  <a:extLst>
                    <a:ext uri="{FF2B5EF4-FFF2-40B4-BE49-F238E27FC236}">
                      <a16:creationId xmlns:a16="http://schemas.microsoft.com/office/drawing/2014/main" id="{9754AA2E-1658-B94E-BD64-D044C2E502B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3" name="TextBox 132">
                  <a:extLst>
                    <a:ext uri="{FF2B5EF4-FFF2-40B4-BE49-F238E27FC236}">
                      <a16:creationId xmlns:a16="http://schemas.microsoft.com/office/drawing/2014/main" id="{DFCE0AA6-50EE-9641-B168-FBEF90AE66A2}"/>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4" name="TextBox 133">
                  <a:extLst>
                    <a:ext uri="{FF2B5EF4-FFF2-40B4-BE49-F238E27FC236}">
                      <a16:creationId xmlns:a16="http://schemas.microsoft.com/office/drawing/2014/main" id="{A15B11FC-4E91-5D4F-8B9F-F43F6D56913E}"/>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35" name="TextBox 134">
                  <a:extLst>
                    <a:ext uri="{FF2B5EF4-FFF2-40B4-BE49-F238E27FC236}">
                      <a16:creationId xmlns:a16="http://schemas.microsoft.com/office/drawing/2014/main" id="{93BEE3EB-479B-2440-BD75-3378D4FCFF3D}"/>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8" name="Group 77">
                <a:extLst>
                  <a:ext uri="{FF2B5EF4-FFF2-40B4-BE49-F238E27FC236}">
                    <a16:creationId xmlns:a16="http://schemas.microsoft.com/office/drawing/2014/main" id="{434F34EB-E608-1447-8D3A-0EA4F1F48519}"/>
                  </a:ext>
                </a:extLst>
              </p:cNvPr>
              <p:cNvGrpSpPr/>
              <p:nvPr userDrawn="1"/>
            </p:nvGrpSpPr>
            <p:grpSpPr>
              <a:xfrm>
                <a:off x="9541497" y="5812142"/>
                <a:ext cx="2735151" cy="1280928"/>
                <a:chOff x="9286315" y="6976989"/>
                <a:chExt cx="2735151" cy="1280928"/>
              </a:xfrm>
            </p:grpSpPr>
            <p:sp>
              <p:nvSpPr>
                <p:cNvPr id="87" name="Rectangle 86">
                  <a:extLst>
                    <a:ext uri="{FF2B5EF4-FFF2-40B4-BE49-F238E27FC236}">
                      <a16:creationId xmlns:a16="http://schemas.microsoft.com/office/drawing/2014/main" id="{E32A3E2E-D1F0-9741-A8EE-7BC84B4DE0D3}"/>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8" name="TextBox 87">
                  <a:extLst>
                    <a:ext uri="{FF2B5EF4-FFF2-40B4-BE49-F238E27FC236}">
                      <a16:creationId xmlns:a16="http://schemas.microsoft.com/office/drawing/2014/main" id="{BDA4BD56-D03C-1548-978A-67CE2301B25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27" name="Graphic 126">
                  <a:extLst>
                    <a:ext uri="{FF2B5EF4-FFF2-40B4-BE49-F238E27FC236}">
                      <a16:creationId xmlns:a16="http://schemas.microsoft.com/office/drawing/2014/main" id="{02277E74-6CD2-4746-AB10-BAC27E952C6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28" name="TextBox 127">
                  <a:extLst>
                    <a:ext uri="{FF2B5EF4-FFF2-40B4-BE49-F238E27FC236}">
                      <a16:creationId xmlns:a16="http://schemas.microsoft.com/office/drawing/2014/main" id="{2E41B035-7E95-6047-BBDE-7C5B9457A0AD}"/>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29" name="Picture 128">
                  <a:extLst>
                    <a:ext uri="{FF2B5EF4-FFF2-40B4-BE49-F238E27FC236}">
                      <a16:creationId xmlns:a16="http://schemas.microsoft.com/office/drawing/2014/main" id="{7B58D3BB-E0DF-CE47-A88C-EBD63D7D6A4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9" name="Group 78">
                <a:extLst>
                  <a:ext uri="{FF2B5EF4-FFF2-40B4-BE49-F238E27FC236}">
                    <a16:creationId xmlns:a16="http://schemas.microsoft.com/office/drawing/2014/main" id="{C8A25EA3-4BB5-0948-9768-F661F9D2B441}"/>
                  </a:ext>
                </a:extLst>
              </p:cNvPr>
              <p:cNvGrpSpPr/>
              <p:nvPr userDrawn="1"/>
            </p:nvGrpSpPr>
            <p:grpSpPr>
              <a:xfrm>
                <a:off x="9521833" y="2891408"/>
                <a:ext cx="2617883" cy="651460"/>
                <a:chOff x="12352022" y="513115"/>
                <a:chExt cx="2617883" cy="651460"/>
              </a:xfrm>
            </p:grpSpPr>
            <p:sp>
              <p:nvSpPr>
                <p:cNvPr id="84" name="TextBox 83">
                  <a:extLst>
                    <a:ext uri="{FF2B5EF4-FFF2-40B4-BE49-F238E27FC236}">
                      <a16:creationId xmlns:a16="http://schemas.microsoft.com/office/drawing/2014/main" id="{812E9279-E3E5-A242-A2DB-550E662BE6CB}"/>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5" name="TextBox 84">
                  <a:extLst>
                    <a:ext uri="{FF2B5EF4-FFF2-40B4-BE49-F238E27FC236}">
                      <a16:creationId xmlns:a16="http://schemas.microsoft.com/office/drawing/2014/main" id="{916869B2-51AC-8042-BAC1-566B99834406}"/>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6" name="TextBox 85">
                  <a:extLst>
                    <a:ext uri="{FF2B5EF4-FFF2-40B4-BE49-F238E27FC236}">
                      <a16:creationId xmlns:a16="http://schemas.microsoft.com/office/drawing/2014/main" id="{6A901D3D-F415-AC4E-A011-9D50733FCE8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80" name="TextBox 79">
                <a:extLst>
                  <a:ext uri="{FF2B5EF4-FFF2-40B4-BE49-F238E27FC236}">
                    <a16:creationId xmlns:a16="http://schemas.microsoft.com/office/drawing/2014/main" id="{EA1A97BD-9E28-EB42-8C33-224FE0567041}"/>
                  </a:ext>
                </a:extLst>
              </p:cNvPr>
              <p:cNvSpPr txBox="1"/>
              <p:nvPr userDrawn="1"/>
            </p:nvSpPr>
            <p:spPr>
              <a:xfrm>
                <a:off x="9674267" y="391052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81" name="TextBox 80">
                <a:extLst>
                  <a:ext uri="{FF2B5EF4-FFF2-40B4-BE49-F238E27FC236}">
                    <a16:creationId xmlns:a16="http://schemas.microsoft.com/office/drawing/2014/main" id="{FCE719BC-ADE3-DB4E-AE64-4310A0F56B22}"/>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2" name="TextBox 81">
                <a:extLst>
                  <a:ext uri="{FF2B5EF4-FFF2-40B4-BE49-F238E27FC236}">
                    <a16:creationId xmlns:a16="http://schemas.microsoft.com/office/drawing/2014/main" id="{CF2AA2C7-9C18-8E48-8CD9-713923D584C0}"/>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3" name="TextBox 82">
                <a:extLst>
                  <a:ext uri="{FF2B5EF4-FFF2-40B4-BE49-F238E27FC236}">
                    <a16:creationId xmlns:a16="http://schemas.microsoft.com/office/drawing/2014/main" id="{073AAC87-9D0B-A942-AEAB-5498BE1CDE42}"/>
                  </a:ext>
                </a:extLst>
              </p:cNvPr>
              <p:cNvSpPr txBox="1"/>
              <p:nvPr userDrawn="1"/>
            </p:nvSpPr>
            <p:spPr>
              <a:xfrm>
                <a:off x="9674267" y="5476430"/>
                <a:ext cx="2374733"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64" name="TextBox 63">
              <a:extLst>
                <a:ext uri="{FF2B5EF4-FFF2-40B4-BE49-F238E27FC236}">
                  <a16:creationId xmlns:a16="http://schemas.microsoft.com/office/drawing/2014/main" id="{2718DEAF-7355-D24A-A55A-6E5AFED9A98E}"/>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65" name="Straight Connector 64">
              <a:extLst>
                <a:ext uri="{FF2B5EF4-FFF2-40B4-BE49-F238E27FC236}">
                  <a16:creationId xmlns:a16="http://schemas.microsoft.com/office/drawing/2014/main" id="{908EADCA-2DBF-C447-BEEC-89115265ADFA}"/>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90D81BAF-EA14-5342-B457-9F03F6415490}"/>
                </a:ext>
              </a:extLst>
            </p:cNvPr>
            <p:cNvGrpSpPr/>
            <p:nvPr userDrawn="1"/>
          </p:nvGrpSpPr>
          <p:grpSpPr>
            <a:xfrm>
              <a:off x="9554253" y="2414886"/>
              <a:ext cx="2819399" cy="1181890"/>
              <a:chOff x="9541498" y="3352649"/>
              <a:chExt cx="2819399" cy="1181890"/>
            </a:xfrm>
          </p:grpSpPr>
          <p:grpSp>
            <p:nvGrpSpPr>
              <p:cNvPr id="67" name="Group 66">
                <a:extLst>
                  <a:ext uri="{FF2B5EF4-FFF2-40B4-BE49-F238E27FC236}">
                    <a16:creationId xmlns:a16="http://schemas.microsoft.com/office/drawing/2014/main" id="{787A14E2-9B41-3441-B537-57155291B0D0}"/>
                  </a:ext>
                </a:extLst>
              </p:cNvPr>
              <p:cNvGrpSpPr/>
              <p:nvPr userDrawn="1"/>
            </p:nvGrpSpPr>
            <p:grpSpPr>
              <a:xfrm>
                <a:off x="9541498" y="3352649"/>
                <a:ext cx="2735150" cy="1181890"/>
                <a:chOff x="9541498" y="3751132"/>
                <a:chExt cx="2735150" cy="1181890"/>
              </a:xfrm>
            </p:grpSpPr>
            <p:grpSp>
              <p:nvGrpSpPr>
                <p:cNvPr id="69" name="Group 68">
                  <a:extLst>
                    <a:ext uri="{FF2B5EF4-FFF2-40B4-BE49-F238E27FC236}">
                      <a16:creationId xmlns:a16="http://schemas.microsoft.com/office/drawing/2014/main" id="{D9193720-38CB-8C45-8CB5-9F66BE5437DF}"/>
                    </a:ext>
                  </a:extLst>
                </p:cNvPr>
                <p:cNvGrpSpPr/>
                <p:nvPr userDrawn="1"/>
              </p:nvGrpSpPr>
              <p:grpSpPr>
                <a:xfrm>
                  <a:off x="9541498" y="3751132"/>
                  <a:ext cx="2735150" cy="1181890"/>
                  <a:chOff x="9296568" y="4910411"/>
                  <a:chExt cx="2735150" cy="1181890"/>
                </a:xfrm>
              </p:grpSpPr>
              <p:sp>
                <p:nvSpPr>
                  <p:cNvPr id="71" name="Rectangle 70">
                    <a:extLst>
                      <a:ext uri="{FF2B5EF4-FFF2-40B4-BE49-F238E27FC236}">
                        <a16:creationId xmlns:a16="http://schemas.microsoft.com/office/drawing/2014/main" id="{9661E725-6578-9A4A-B314-D6021CB4CFBF}"/>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2" name="TextBox 71">
                    <a:extLst>
                      <a:ext uri="{FF2B5EF4-FFF2-40B4-BE49-F238E27FC236}">
                        <a16:creationId xmlns:a16="http://schemas.microsoft.com/office/drawing/2014/main" id="{6A82AECB-20FC-D04F-9436-9AA74FD66C5B}"/>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73" name="TextBox 72">
                    <a:extLst>
                      <a:ext uri="{FF2B5EF4-FFF2-40B4-BE49-F238E27FC236}">
                        <a16:creationId xmlns:a16="http://schemas.microsoft.com/office/drawing/2014/main" id="{76348B4A-2ADC-7F46-BABF-CA32F5E68A17}"/>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70" name="Graphic 69">
                  <a:extLst>
                    <a:ext uri="{FF2B5EF4-FFF2-40B4-BE49-F238E27FC236}">
                      <a16:creationId xmlns:a16="http://schemas.microsoft.com/office/drawing/2014/main" id="{C86CE353-C5DB-0145-AA86-27F6522447F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68" name="Picture 67">
                <a:extLst>
                  <a:ext uri="{FF2B5EF4-FFF2-40B4-BE49-F238E27FC236}">
                    <a16:creationId xmlns:a16="http://schemas.microsoft.com/office/drawing/2014/main" id="{9DB6EC41-E4FA-B54E-A44A-FE32BE140AB8}"/>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18497138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3 Logos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rot="5400000">
            <a:off x="6082599" y="-2675693"/>
            <a:ext cx="0" cy="1101378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rot="5400000">
            <a:off x="6082599" y="-946202"/>
            <a:ext cx="0" cy="1101378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EA8D8CC5-DDED-9445-8A9A-D06B2B9A91DE}"/>
              </a:ext>
            </a:extLst>
          </p:cNvPr>
          <p:cNvSpPr>
            <a:spLocks noGrp="1"/>
          </p:cNvSpPr>
          <p:nvPr>
            <p:ph type="body" sz="quarter" idx="115"/>
          </p:nvPr>
        </p:nvSpPr>
        <p:spPr>
          <a:xfrm>
            <a:off x="3805768" y="1233488"/>
            <a:ext cx="7809985"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2">
            <a:extLst>
              <a:ext uri="{FF2B5EF4-FFF2-40B4-BE49-F238E27FC236}">
                <a16:creationId xmlns:a16="http://schemas.microsoft.com/office/drawing/2014/main" id="{65A45B82-A28A-C541-9948-969822196900}"/>
              </a:ext>
            </a:extLst>
          </p:cNvPr>
          <p:cNvSpPr>
            <a:spLocks noGrp="1"/>
          </p:cNvSpPr>
          <p:nvPr>
            <p:ph type="body" sz="quarter" idx="116"/>
          </p:nvPr>
        </p:nvSpPr>
        <p:spPr>
          <a:xfrm>
            <a:off x="3805768" y="2962517"/>
            <a:ext cx="7809985"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8B46136D-9E6B-7348-A230-0C0B61F4043F}"/>
              </a:ext>
            </a:extLst>
          </p:cNvPr>
          <p:cNvSpPr>
            <a:spLocks noGrp="1"/>
          </p:cNvSpPr>
          <p:nvPr>
            <p:ph type="body" sz="quarter" idx="117"/>
          </p:nvPr>
        </p:nvSpPr>
        <p:spPr>
          <a:xfrm>
            <a:off x="3805768" y="4691546"/>
            <a:ext cx="7809985"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00" name="Footnotes Placeholder">
            <a:extLst>
              <a:ext uri="{FF2B5EF4-FFF2-40B4-BE49-F238E27FC236}">
                <a16:creationId xmlns:a16="http://schemas.microsoft.com/office/drawing/2014/main" id="{A9BB490B-C309-B748-9B19-AF93AAACA3CF}"/>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8" name="Date Placeholder 7">
            <a:extLst>
              <a:ext uri="{FF2B5EF4-FFF2-40B4-BE49-F238E27FC236}">
                <a16:creationId xmlns:a16="http://schemas.microsoft.com/office/drawing/2014/main" id="{5D5C0E79-A3BD-5144-8C77-5A57F1DFDA10}"/>
              </a:ext>
            </a:extLst>
          </p:cNvPr>
          <p:cNvSpPr>
            <a:spLocks noGrp="1"/>
          </p:cNvSpPr>
          <p:nvPr>
            <p:ph type="dt" sz="half" idx="125"/>
          </p:nvPr>
        </p:nvSpPr>
        <p:spPr/>
        <p:txBody>
          <a:bodyPr/>
          <a:lstStyle/>
          <a:p>
            <a:endParaRPr lang="en-US" dirty="0"/>
          </a:p>
        </p:txBody>
      </p:sp>
      <p:sp>
        <p:nvSpPr>
          <p:cNvPr id="10" name="Footer Placeholder 9">
            <a:extLst>
              <a:ext uri="{FF2B5EF4-FFF2-40B4-BE49-F238E27FC236}">
                <a16:creationId xmlns:a16="http://schemas.microsoft.com/office/drawing/2014/main" id="{AA4A8FA1-CC46-7144-84B1-17C00BC259EB}"/>
              </a:ext>
            </a:extLst>
          </p:cNvPr>
          <p:cNvSpPr>
            <a:spLocks noGrp="1"/>
          </p:cNvSpPr>
          <p:nvPr>
            <p:ph type="ftr" sz="quarter" idx="126"/>
          </p:nvPr>
        </p:nvSpPr>
        <p:spPr/>
        <p:txBody>
          <a:bodyPr/>
          <a:lstStyle/>
          <a:p>
            <a:endParaRPr lang="en-US" dirty="0"/>
          </a:p>
        </p:txBody>
      </p:sp>
      <p:sp>
        <p:nvSpPr>
          <p:cNvPr id="14" name="Slide Number Placeholder 13">
            <a:extLst>
              <a:ext uri="{FF2B5EF4-FFF2-40B4-BE49-F238E27FC236}">
                <a16:creationId xmlns:a16="http://schemas.microsoft.com/office/drawing/2014/main" id="{ACB2D2FD-3057-D74D-B44D-0EB64193CE1C}"/>
              </a:ext>
            </a:extLst>
          </p:cNvPr>
          <p:cNvSpPr>
            <a:spLocks noGrp="1"/>
          </p:cNvSpPr>
          <p:nvPr>
            <p:ph type="sldNum" sz="quarter" idx="127"/>
          </p:nvPr>
        </p:nvSpPr>
        <p:spPr/>
        <p:txBody>
          <a:bodyPr/>
          <a:lstStyle/>
          <a:p>
            <a:pPr marL="12700"/>
            <a:fld id="{078C017C-E1B9-8443-B047-B08AAA027B45}" type="slidenum">
              <a:rPr lang="en-US" smtClean="0"/>
              <a:pPr marL="12700"/>
              <a:t>‹#›</a:t>
            </a:fld>
            <a:endParaRPr lang="en-US" dirty="0"/>
          </a:p>
        </p:txBody>
      </p:sp>
      <p:sp>
        <p:nvSpPr>
          <p:cNvPr id="5" name="Content Placeholder 4">
            <a:extLst>
              <a:ext uri="{FF2B5EF4-FFF2-40B4-BE49-F238E27FC236}">
                <a16:creationId xmlns:a16="http://schemas.microsoft.com/office/drawing/2014/main" id="{97ACE0C3-0640-2343-BA09-F3EFC7CFB949}"/>
              </a:ext>
            </a:extLst>
          </p:cNvPr>
          <p:cNvSpPr>
            <a:spLocks noGrp="1"/>
          </p:cNvSpPr>
          <p:nvPr>
            <p:ph sz="quarter" idx="128" hasCustomPrompt="1"/>
          </p:nvPr>
        </p:nvSpPr>
        <p:spPr>
          <a:xfrm>
            <a:off x="575734" y="1233488"/>
            <a:ext cx="2984500" cy="1466850"/>
          </a:xfrm>
        </p:spPr>
        <p:txBody>
          <a:bodyPr/>
          <a:lstStyle>
            <a:lvl1pPr algn="ctr">
              <a:defRPr b="0">
                <a:solidFill>
                  <a:schemeClr val="tx1">
                    <a:lumMod val="50000"/>
                    <a:lumOff val="50000"/>
                  </a:schemeClr>
                </a:solidFill>
              </a:defRPr>
            </a:lvl1pPr>
          </a:lstStyle>
          <a:p>
            <a:pPr lvl="0"/>
            <a:r>
              <a:rPr lang="en-US" dirty="0"/>
              <a:t>Click image icon to add logo (do not add any other types of content)</a:t>
            </a:r>
          </a:p>
        </p:txBody>
      </p:sp>
      <p:sp>
        <p:nvSpPr>
          <p:cNvPr id="56" name="Content Placeholder 4">
            <a:extLst>
              <a:ext uri="{FF2B5EF4-FFF2-40B4-BE49-F238E27FC236}">
                <a16:creationId xmlns:a16="http://schemas.microsoft.com/office/drawing/2014/main" id="{3B8A4E6F-E1C9-9641-B3D3-BDB9B2012DBB}"/>
              </a:ext>
            </a:extLst>
          </p:cNvPr>
          <p:cNvSpPr>
            <a:spLocks noGrp="1"/>
          </p:cNvSpPr>
          <p:nvPr>
            <p:ph sz="quarter" idx="129" hasCustomPrompt="1"/>
          </p:nvPr>
        </p:nvSpPr>
        <p:spPr>
          <a:xfrm>
            <a:off x="575734" y="2962517"/>
            <a:ext cx="2984500" cy="1466850"/>
          </a:xfrm>
        </p:spPr>
        <p:txBody>
          <a:bodyPr/>
          <a:lstStyle>
            <a:lvl1pPr algn="ctr">
              <a:defRPr b="0">
                <a:solidFill>
                  <a:schemeClr val="tx1">
                    <a:lumMod val="50000"/>
                    <a:lumOff val="50000"/>
                  </a:schemeClr>
                </a:solidFill>
              </a:defRPr>
            </a:lvl1pPr>
          </a:lstStyle>
          <a:p>
            <a:pPr lvl="0"/>
            <a:r>
              <a:rPr lang="en-US" dirty="0"/>
              <a:t>Click image icon to add logo (do not add any other types of content)</a:t>
            </a:r>
          </a:p>
        </p:txBody>
      </p:sp>
      <p:sp>
        <p:nvSpPr>
          <p:cNvPr id="57" name="Content Placeholder 4">
            <a:extLst>
              <a:ext uri="{FF2B5EF4-FFF2-40B4-BE49-F238E27FC236}">
                <a16:creationId xmlns:a16="http://schemas.microsoft.com/office/drawing/2014/main" id="{04F52250-2F95-E448-A157-BA7D33261555}"/>
              </a:ext>
            </a:extLst>
          </p:cNvPr>
          <p:cNvSpPr>
            <a:spLocks noGrp="1"/>
          </p:cNvSpPr>
          <p:nvPr>
            <p:ph sz="quarter" idx="130" hasCustomPrompt="1"/>
          </p:nvPr>
        </p:nvSpPr>
        <p:spPr>
          <a:xfrm>
            <a:off x="575734" y="4691546"/>
            <a:ext cx="2984500" cy="1466850"/>
          </a:xfrm>
        </p:spPr>
        <p:txBody>
          <a:bodyPr/>
          <a:lstStyle>
            <a:lvl1pPr algn="ctr">
              <a:defRPr b="0">
                <a:solidFill>
                  <a:schemeClr val="tx1">
                    <a:lumMod val="50000"/>
                    <a:lumOff val="50000"/>
                  </a:schemeClr>
                </a:solidFill>
              </a:defRPr>
            </a:lvl1pPr>
          </a:lstStyle>
          <a:p>
            <a:pPr lvl="0"/>
            <a:r>
              <a:rPr lang="en-US" dirty="0"/>
              <a:t>Click image icon to add logo (do not add any other types of content)</a:t>
            </a:r>
          </a:p>
        </p:txBody>
      </p:sp>
      <p:grpSp>
        <p:nvGrpSpPr>
          <p:cNvPr id="62" name="Group 61">
            <a:extLst>
              <a:ext uri="{FF2B5EF4-FFF2-40B4-BE49-F238E27FC236}">
                <a16:creationId xmlns:a16="http://schemas.microsoft.com/office/drawing/2014/main" id="{14338023-BC13-1347-A902-C2204A24D96D}"/>
              </a:ext>
            </a:extLst>
          </p:cNvPr>
          <p:cNvGrpSpPr/>
          <p:nvPr userDrawn="1"/>
        </p:nvGrpSpPr>
        <p:grpSpPr>
          <a:xfrm>
            <a:off x="12532243" y="-2"/>
            <a:ext cx="3965960" cy="9769405"/>
            <a:chOff x="9399182" y="-2"/>
            <a:chExt cx="2974470" cy="9769405"/>
          </a:xfrm>
        </p:grpSpPr>
        <p:sp>
          <p:nvSpPr>
            <p:cNvPr id="63" name="Rectangle 62">
              <a:extLst>
                <a:ext uri="{FF2B5EF4-FFF2-40B4-BE49-F238E27FC236}">
                  <a16:creationId xmlns:a16="http://schemas.microsoft.com/office/drawing/2014/main" id="{F14DF298-5DBB-564B-B56C-06F534677012}"/>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64" name="Picture 63">
              <a:extLst>
                <a:ext uri="{FF2B5EF4-FFF2-40B4-BE49-F238E27FC236}">
                  <a16:creationId xmlns:a16="http://schemas.microsoft.com/office/drawing/2014/main" id="{87A54F67-95E3-4D47-8A30-4154E885C7CB}"/>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8" name="Group 67">
              <a:extLst>
                <a:ext uri="{FF2B5EF4-FFF2-40B4-BE49-F238E27FC236}">
                  <a16:creationId xmlns:a16="http://schemas.microsoft.com/office/drawing/2014/main" id="{9394EAB8-8CA4-4B4D-A004-BC8697696E5A}"/>
                </a:ext>
              </a:extLst>
            </p:cNvPr>
            <p:cNvGrpSpPr/>
            <p:nvPr userDrawn="1"/>
          </p:nvGrpSpPr>
          <p:grpSpPr>
            <a:xfrm>
              <a:off x="9541497" y="162442"/>
              <a:ext cx="2819400" cy="814510"/>
              <a:chOff x="-3644733" y="165205"/>
              <a:chExt cx="2819400" cy="814510"/>
            </a:xfrm>
          </p:grpSpPr>
          <p:sp>
            <p:nvSpPr>
              <p:cNvPr id="141" name="Rectangle 140">
                <a:extLst>
                  <a:ext uri="{FF2B5EF4-FFF2-40B4-BE49-F238E27FC236}">
                    <a16:creationId xmlns:a16="http://schemas.microsoft.com/office/drawing/2014/main" id="{FFD516EB-2BCB-2E43-AFF3-5121CF79D655}"/>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2" name="TextBox 141">
                <a:extLst>
                  <a:ext uri="{FF2B5EF4-FFF2-40B4-BE49-F238E27FC236}">
                    <a16:creationId xmlns:a16="http://schemas.microsoft.com/office/drawing/2014/main" id="{BF97D8B0-4B8D-B145-87DF-8E19E86AB9CF}"/>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43" name="Picture 142">
                <a:extLst>
                  <a:ext uri="{FF2B5EF4-FFF2-40B4-BE49-F238E27FC236}">
                    <a16:creationId xmlns:a16="http://schemas.microsoft.com/office/drawing/2014/main" id="{B352A88A-0AE1-F846-9CA0-DBE561C4B64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9" name="Group 68">
              <a:extLst>
                <a:ext uri="{FF2B5EF4-FFF2-40B4-BE49-F238E27FC236}">
                  <a16:creationId xmlns:a16="http://schemas.microsoft.com/office/drawing/2014/main" id="{6DC41A6A-6B56-8547-86A6-CBFAF67515C3}"/>
                </a:ext>
              </a:extLst>
            </p:cNvPr>
            <p:cNvGrpSpPr/>
            <p:nvPr userDrawn="1"/>
          </p:nvGrpSpPr>
          <p:grpSpPr>
            <a:xfrm>
              <a:off x="9521833" y="3755578"/>
              <a:ext cx="2754815" cy="6013825"/>
              <a:chOff x="9521833" y="2566288"/>
              <a:chExt cx="2754815" cy="6013825"/>
            </a:xfrm>
          </p:grpSpPr>
          <p:sp>
            <p:nvSpPr>
              <p:cNvPr id="117" name="TextBox 116">
                <a:extLst>
                  <a:ext uri="{FF2B5EF4-FFF2-40B4-BE49-F238E27FC236}">
                    <a16:creationId xmlns:a16="http://schemas.microsoft.com/office/drawing/2014/main" id="{3AD32596-DA46-734D-B2A7-5DA54F93A57C}"/>
                  </a:ext>
                </a:extLst>
              </p:cNvPr>
              <p:cNvSpPr txBox="1"/>
              <p:nvPr userDrawn="1"/>
            </p:nvSpPr>
            <p:spPr>
              <a:xfrm>
                <a:off x="9558507" y="256628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118" name="Straight Connector 117">
                <a:extLst>
                  <a:ext uri="{FF2B5EF4-FFF2-40B4-BE49-F238E27FC236}">
                    <a16:creationId xmlns:a16="http://schemas.microsoft.com/office/drawing/2014/main" id="{CDBD1C83-41B8-F547-BE36-B26D9D04D2C1}"/>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00AA5701-68AE-A84A-8CD3-773557FA6DE2}"/>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20" name="Group 119">
                <a:extLst>
                  <a:ext uri="{FF2B5EF4-FFF2-40B4-BE49-F238E27FC236}">
                    <a16:creationId xmlns:a16="http://schemas.microsoft.com/office/drawing/2014/main" id="{392A157E-FDF8-C647-ABDF-ED28D6D3705D}"/>
                  </a:ext>
                </a:extLst>
              </p:cNvPr>
              <p:cNvGrpSpPr/>
              <p:nvPr userDrawn="1"/>
            </p:nvGrpSpPr>
            <p:grpSpPr>
              <a:xfrm>
                <a:off x="9541497" y="7168798"/>
                <a:ext cx="2735151" cy="1411315"/>
                <a:chOff x="9296567" y="4910411"/>
                <a:chExt cx="2735151" cy="1411315"/>
              </a:xfrm>
            </p:grpSpPr>
            <p:sp>
              <p:nvSpPr>
                <p:cNvPr id="135" name="Rectangle 134">
                  <a:extLst>
                    <a:ext uri="{FF2B5EF4-FFF2-40B4-BE49-F238E27FC236}">
                      <a16:creationId xmlns:a16="http://schemas.microsoft.com/office/drawing/2014/main" id="{02B94648-6324-8142-876C-27E337B0E1FD}"/>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6" name="TextBox 135">
                  <a:extLst>
                    <a:ext uri="{FF2B5EF4-FFF2-40B4-BE49-F238E27FC236}">
                      <a16:creationId xmlns:a16="http://schemas.microsoft.com/office/drawing/2014/main" id="{0618C21E-471B-BA4C-9A32-09C947BE9431}"/>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37" name="Graphic 136">
                  <a:extLst>
                    <a:ext uri="{FF2B5EF4-FFF2-40B4-BE49-F238E27FC236}">
                      <a16:creationId xmlns:a16="http://schemas.microsoft.com/office/drawing/2014/main" id="{1D728239-808A-0B4C-862B-8E8C8EFDC1C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8" name="TextBox 137">
                  <a:extLst>
                    <a:ext uri="{FF2B5EF4-FFF2-40B4-BE49-F238E27FC236}">
                      <a16:creationId xmlns:a16="http://schemas.microsoft.com/office/drawing/2014/main" id="{2DE50146-1A5A-C242-845B-1A477E0FC2F7}"/>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9" name="TextBox 138">
                  <a:extLst>
                    <a:ext uri="{FF2B5EF4-FFF2-40B4-BE49-F238E27FC236}">
                      <a16:creationId xmlns:a16="http://schemas.microsoft.com/office/drawing/2014/main" id="{7F1E0890-D66E-AF4C-A4EE-BC8248861590}"/>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40" name="TextBox 139">
                  <a:extLst>
                    <a:ext uri="{FF2B5EF4-FFF2-40B4-BE49-F238E27FC236}">
                      <a16:creationId xmlns:a16="http://schemas.microsoft.com/office/drawing/2014/main" id="{A6BB6014-5278-3B4C-AB9E-A834031F5481}"/>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21" name="Group 120">
                <a:extLst>
                  <a:ext uri="{FF2B5EF4-FFF2-40B4-BE49-F238E27FC236}">
                    <a16:creationId xmlns:a16="http://schemas.microsoft.com/office/drawing/2014/main" id="{6DAE35F0-9F0F-B740-BC72-9824D18FBCE5}"/>
                  </a:ext>
                </a:extLst>
              </p:cNvPr>
              <p:cNvGrpSpPr/>
              <p:nvPr userDrawn="1"/>
            </p:nvGrpSpPr>
            <p:grpSpPr>
              <a:xfrm>
                <a:off x="9541497" y="5812142"/>
                <a:ext cx="2735151" cy="1280928"/>
                <a:chOff x="9286315" y="6976989"/>
                <a:chExt cx="2735151" cy="1280928"/>
              </a:xfrm>
            </p:grpSpPr>
            <p:sp>
              <p:nvSpPr>
                <p:cNvPr id="130" name="Rectangle 129">
                  <a:extLst>
                    <a:ext uri="{FF2B5EF4-FFF2-40B4-BE49-F238E27FC236}">
                      <a16:creationId xmlns:a16="http://schemas.microsoft.com/office/drawing/2014/main" id="{75EB5A98-D7E3-3246-896C-BD7C101139E3}"/>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1" name="TextBox 130">
                  <a:extLst>
                    <a:ext uri="{FF2B5EF4-FFF2-40B4-BE49-F238E27FC236}">
                      <a16:creationId xmlns:a16="http://schemas.microsoft.com/office/drawing/2014/main" id="{50776269-501A-0947-87D0-CCEDC9337CD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32" name="Graphic 131">
                  <a:extLst>
                    <a:ext uri="{FF2B5EF4-FFF2-40B4-BE49-F238E27FC236}">
                      <a16:creationId xmlns:a16="http://schemas.microsoft.com/office/drawing/2014/main" id="{87F48501-5A93-374F-981B-4315F4383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3" name="TextBox 132">
                  <a:extLst>
                    <a:ext uri="{FF2B5EF4-FFF2-40B4-BE49-F238E27FC236}">
                      <a16:creationId xmlns:a16="http://schemas.microsoft.com/office/drawing/2014/main" id="{359DA86C-29B3-2248-B674-BD1EBB7C9A9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34" name="Picture 133">
                  <a:extLst>
                    <a:ext uri="{FF2B5EF4-FFF2-40B4-BE49-F238E27FC236}">
                      <a16:creationId xmlns:a16="http://schemas.microsoft.com/office/drawing/2014/main" id="{2139862B-48B2-7C46-9307-BA667EB073A7}"/>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2" name="Group 121">
                <a:extLst>
                  <a:ext uri="{FF2B5EF4-FFF2-40B4-BE49-F238E27FC236}">
                    <a16:creationId xmlns:a16="http://schemas.microsoft.com/office/drawing/2014/main" id="{F542BE3A-25C8-E34D-82A2-3E5EAAC9EE28}"/>
                  </a:ext>
                </a:extLst>
              </p:cNvPr>
              <p:cNvGrpSpPr/>
              <p:nvPr userDrawn="1"/>
            </p:nvGrpSpPr>
            <p:grpSpPr>
              <a:xfrm>
                <a:off x="9521833" y="2891408"/>
                <a:ext cx="2617883" cy="651460"/>
                <a:chOff x="12352022" y="513115"/>
                <a:chExt cx="2617883" cy="651460"/>
              </a:xfrm>
            </p:grpSpPr>
            <p:sp>
              <p:nvSpPr>
                <p:cNvPr id="127" name="TextBox 126">
                  <a:extLst>
                    <a:ext uri="{FF2B5EF4-FFF2-40B4-BE49-F238E27FC236}">
                      <a16:creationId xmlns:a16="http://schemas.microsoft.com/office/drawing/2014/main" id="{11FED43B-88E5-474E-9104-8C4173B493FA}"/>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28" name="TextBox 127">
                  <a:extLst>
                    <a:ext uri="{FF2B5EF4-FFF2-40B4-BE49-F238E27FC236}">
                      <a16:creationId xmlns:a16="http://schemas.microsoft.com/office/drawing/2014/main" id="{72D77D68-4988-744A-BA1D-53B1BBCE8BC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29" name="TextBox 128">
                  <a:extLst>
                    <a:ext uri="{FF2B5EF4-FFF2-40B4-BE49-F238E27FC236}">
                      <a16:creationId xmlns:a16="http://schemas.microsoft.com/office/drawing/2014/main" id="{C0677107-2EAD-8B4A-A4DC-B850078AF29D}"/>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123" name="TextBox 122">
                <a:extLst>
                  <a:ext uri="{FF2B5EF4-FFF2-40B4-BE49-F238E27FC236}">
                    <a16:creationId xmlns:a16="http://schemas.microsoft.com/office/drawing/2014/main" id="{BAEC99EA-B6F6-1646-92FB-80FE6823066D}"/>
                  </a:ext>
                </a:extLst>
              </p:cNvPr>
              <p:cNvSpPr txBox="1"/>
              <p:nvPr userDrawn="1"/>
            </p:nvSpPr>
            <p:spPr>
              <a:xfrm>
                <a:off x="9674267" y="391052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24" name="TextBox 123">
                <a:extLst>
                  <a:ext uri="{FF2B5EF4-FFF2-40B4-BE49-F238E27FC236}">
                    <a16:creationId xmlns:a16="http://schemas.microsoft.com/office/drawing/2014/main" id="{CF9B3E9B-05D1-8848-ADE8-D02FE87F82F0}"/>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25" name="TextBox 124">
                <a:extLst>
                  <a:ext uri="{FF2B5EF4-FFF2-40B4-BE49-F238E27FC236}">
                    <a16:creationId xmlns:a16="http://schemas.microsoft.com/office/drawing/2014/main" id="{9629908E-9915-5E43-B359-FDD0D3CB4A2F}"/>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26" name="TextBox 125">
                <a:extLst>
                  <a:ext uri="{FF2B5EF4-FFF2-40B4-BE49-F238E27FC236}">
                    <a16:creationId xmlns:a16="http://schemas.microsoft.com/office/drawing/2014/main" id="{EAF0EC84-90D9-954F-ADAB-0B3094909692}"/>
                  </a:ext>
                </a:extLst>
              </p:cNvPr>
              <p:cNvSpPr txBox="1"/>
              <p:nvPr userDrawn="1"/>
            </p:nvSpPr>
            <p:spPr>
              <a:xfrm>
                <a:off x="9674267" y="5476430"/>
                <a:ext cx="2374733"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107" name="TextBox 106">
              <a:extLst>
                <a:ext uri="{FF2B5EF4-FFF2-40B4-BE49-F238E27FC236}">
                  <a16:creationId xmlns:a16="http://schemas.microsoft.com/office/drawing/2014/main" id="{0141B528-2023-7140-87BB-06308B73F35E}"/>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108" name="Straight Connector 107">
              <a:extLst>
                <a:ext uri="{FF2B5EF4-FFF2-40B4-BE49-F238E27FC236}">
                  <a16:creationId xmlns:a16="http://schemas.microsoft.com/office/drawing/2014/main" id="{5BB2FFFE-D291-0E44-88F0-F0BAC043939A}"/>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EB44AA9A-6F0C-7E41-8B8F-81618CAC427A}"/>
                </a:ext>
              </a:extLst>
            </p:cNvPr>
            <p:cNvGrpSpPr/>
            <p:nvPr userDrawn="1"/>
          </p:nvGrpSpPr>
          <p:grpSpPr>
            <a:xfrm>
              <a:off x="9554253" y="2414886"/>
              <a:ext cx="2819399" cy="1181890"/>
              <a:chOff x="9541498" y="3352649"/>
              <a:chExt cx="2819399" cy="1181890"/>
            </a:xfrm>
          </p:grpSpPr>
          <p:grpSp>
            <p:nvGrpSpPr>
              <p:cNvPr id="110" name="Group 109">
                <a:extLst>
                  <a:ext uri="{FF2B5EF4-FFF2-40B4-BE49-F238E27FC236}">
                    <a16:creationId xmlns:a16="http://schemas.microsoft.com/office/drawing/2014/main" id="{F5B9B122-6142-B94E-942E-E0B201D15CA1}"/>
                  </a:ext>
                </a:extLst>
              </p:cNvPr>
              <p:cNvGrpSpPr/>
              <p:nvPr userDrawn="1"/>
            </p:nvGrpSpPr>
            <p:grpSpPr>
              <a:xfrm>
                <a:off x="9541498" y="3352649"/>
                <a:ext cx="2735150" cy="1181890"/>
                <a:chOff x="9541498" y="3751132"/>
                <a:chExt cx="2735150" cy="1181890"/>
              </a:xfrm>
            </p:grpSpPr>
            <p:grpSp>
              <p:nvGrpSpPr>
                <p:cNvPr id="112" name="Group 111">
                  <a:extLst>
                    <a:ext uri="{FF2B5EF4-FFF2-40B4-BE49-F238E27FC236}">
                      <a16:creationId xmlns:a16="http://schemas.microsoft.com/office/drawing/2014/main" id="{7B291978-2AC5-9143-AD37-94A0197282B8}"/>
                    </a:ext>
                  </a:extLst>
                </p:cNvPr>
                <p:cNvGrpSpPr/>
                <p:nvPr userDrawn="1"/>
              </p:nvGrpSpPr>
              <p:grpSpPr>
                <a:xfrm>
                  <a:off x="9541498" y="3751132"/>
                  <a:ext cx="2735150" cy="1181890"/>
                  <a:chOff x="9296568" y="4910411"/>
                  <a:chExt cx="2735150" cy="1181890"/>
                </a:xfrm>
              </p:grpSpPr>
              <p:sp>
                <p:nvSpPr>
                  <p:cNvPr id="114" name="Rectangle 113">
                    <a:extLst>
                      <a:ext uri="{FF2B5EF4-FFF2-40B4-BE49-F238E27FC236}">
                        <a16:creationId xmlns:a16="http://schemas.microsoft.com/office/drawing/2014/main" id="{C0D2544A-D26D-3F41-BA73-D37F4F2465D4}"/>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5" name="TextBox 114">
                    <a:extLst>
                      <a:ext uri="{FF2B5EF4-FFF2-40B4-BE49-F238E27FC236}">
                        <a16:creationId xmlns:a16="http://schemas.microsoft.com/office/drawing/2014/main" id="{60035F06-47BB-404F-AB16-667FE44B13AB}"/>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16" name="TextBox 115">
                    <a:extLst>
                      <a:ext uri="{FF2B5EF4-FFF2-40B4-BE49-F238E27FC236}">
                        <a16:creationId xmlns:a16="http://schemas.microsoft.com/office/drawing/2014/main" id="{28D5443B-64CA-584A-B14F-3D6F077D622F}"/>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13" name="Graphic 112">
                  <a:extLst>
                    <a:ext uri="{FF2B5EF4-FFF2-40B4-BE49-F238E27FC236}">
                      <a16:creationId xmlns:a16="http://schemas.microsoft.com/office/drawing/2014/main" id="{86D88F2A-157A-434C-BC12-58130EFE280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11" name="Picture 110">
                <a:extLst>
                  <a:ext uri="{FF2B5EF4-FFF2-40B4-BE49-F238E27FC236}">
                    <a16:creationId xmlns:a16="http://schemas.microsoft.com/office/drawing/2014/main" id="{D10AB923-ECC0-7F44-8C4E-D2C2876526B7}"/>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54946490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A2048-EDD2-F745-AD54-211B30AB720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EEC714A-A2AD-484A-890B-76F9195C93E6}"/>
              </a:ext>
            </a:extLst>
          </p:cNvPr>
          <p:cNvSpPr>
            <a:spLocks noGrp="1"/>
          </p:cNvSpPr>
          <p:nvPr>
            <p:ph type="dt" sz="half" idx="10"/>
          </p:nvPr>
        </p:nvSpPr>
        <p:spPr/>
        <p:txBody>
          <a:bodyPr/>
          <a:lstStyle/>
          <a:p>
            <a:endParaRPr lang="en-US" dirty="0"/>
          </a:p>
        </p:txBody>
      </p:sp>
      <p:sp>
        <p:nvSpPr>
          <p:cNvPr id="4" name="Slide Number Placeholder 3">
            <a:extLst>
              <a:ext uri="{FF2B5EF4-FFF2-40B4-BE49-F238E27FC236}">
                <a16:creationId xmlns:a16="http://schemas.microsoft.com/office/drawing/2014/main" id="{93BD8BF2-2AF8-9541-BC63-26C010B37A70}"/>
              </a:ext>
            </a:extLst>
          </p:cNvPr>
          <p:cNvSpPr>
            <a:spLocks noGrp="1"/>
          </p:cNvSpPr>
          <p:nvPr>
            <p:ph type="sldNum" sz="quarter" idx="11"/>
          </p:nvPr>
        </p:nvSpPr>
        <p:spPr/>
        <p:txBody>
          <a:bodyPr/>
          <a:lstStyle/>
          <a:p>
            <a:pPr marL="12700"/>
            <a:fld id="{078C017C-E1B9-8443-B047-B08AAA027B45}" type="slidenum">
              <a:rPr lang="en-US" smtClean="0"/>
              <a:pPr marL="12700"/>
              <a:t>‹#›</a:t>
            </a:fld>
            <a:endParaRPr lang="en-US" dirty="0"/>
          </a:p>
        </p:txBody>
      </p:sp>
      <p:sp>
        <p:nvSpPr>
          <p:cNvPr id="5" name="Footer Placeholder 4">
            <a:extLst>
              <a:ext uri="{FF2B5EF4-FFF2-40B4-BE49-F238E27FC236}">
                <a16:creationId xmlns:a16="http://schemas.microsoft.com/office/drawing/2014/main" id="{AFE1AB2A-232B-AF48-94F1-8052F8A8C02C}"/>
              </a:ext>
            </a:extLst>
          </p:cNvPr>
          <p:cNvSpPr>
            <a:spLocks noGrp="1"/>
          </p:cNvSpPr>
          <p:nvPr>
            <p:ph type="ftr" sz="quarter" idx="12"/>
          </p:nvPr>
        </p:nvSpPr>
        <p:spPr/>
        <p:txBody>
          <a:bodyPr/>
          <a:lstStyle/>
          <a:p>
            <a:endParaRPr lang="en-US" dirty="0"/>
          </a:p>
        </p:txBody>
      </p:sp>
      <p:sp>
        <p:nvSpPr>
          <p:cNvPr id="6" name="Picture Placeholder 7">
            <a:extLst>
              <a:ext uri="{FF2B5EF4-FFF2-40B4-BE49-F238E27FC236}">
                <a16:creationId xmlns:a16="http://schemas.microsoft.com/office/drawing/2014/main" id="{F1CC87B0-C7F2-9F44-9F26-7CF2550160B4}"/>
              </a:ext>
            </a:extLst>
          </p:cNvPr>
          <p:cNvSpPr>
            <a:spLocks noGrp="1"/>
          </p:cNvSpPr>
          <p:nvPr>
            <p:ph type="pic" sz="quarter" idx="13" hasCustomPrompt="1"/>
          </p:nvPr>
        </p:nvSpPr>
        <p:spPr>
          <a:xfrm>
            <a:off x="1" y="1233642"/>
            <a:ext cx="3048000" cy="4931851"/>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7" name="Picture Placeholder 7">
            <a:extLst>
              <a:ext uri="{FF2B5EF4-FFF2-40B4-BE49-F238E27FC236}">
                <a16:creationId xmlns:a16="http://schemas.microsoft.com/office/drawing/2014/main" id="{41F3EA96-E39D-0348-A1BC-0B903B535508}"/>
              </a:ext>
            </a:extLst>
          </p:cNvPr>
          <p:cNvSpPr>
            <a:spLocks noGrp="1"/>
          </p:cNvSpPr>
          <p:nvPr>
            <p:ph type="pic" sz="quarter" idx="14" hasCustomPrompt="1"/>
          </p:nvPr>
        </p:nvSpPr>
        <p:spPr>
          <a:xfrm>
            <a:off x="3048112" y="1233488"/>
            <a:ext cx="3048000" cy="4932362"/>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8" name="Caption">
            <a:extLst>
              <a:ext uri="{FF2B5EF4-FFF2-40B4-BE49-F238E27FC236}">
                <a16:creationId xmlns:a16="http://schemas.microsoft.com/office/drawing/2014/main" id="{FF765415-C64D-0745-B0AB-3D196208D3B5}"/>
              </a:ext>
            </a:extLst>
          </p:cNvPr>
          <p:cNvSpPr>
            <a:spLocks noGrp="1"/>
          </p:cNvSpPr>
          <p:nvPr>
            <p:ph type="body" sz="quarter" idx="500" hasCustomPrompt="1"/>
          </p:nvPr>
        </p:nvSpPr>
        <p:spPr>
          <a:xfrm>
            <a:off x="-745" y="4545106"/>
            <a:ext cx="3048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9" name="Caption 2">
            <a:extLst>
              <a:ext uri="{FF2B5EF4-FFF2-40B4-BE49-F238E27FC236}">
                <a16:creationId xmlns:a16="http://schemas.microsoft.com/office/drawing/2014/main" id="{A058AF6A-478D-C446-8FDA-BB66BB40EFDC}"/>
              </a:ext>
            </a:extLst>
          </p:cNvPr>
          <p:cNvSpPr>
            <a:spLocks noGrp="1"/>
          </p:cNvSpPr>
          <p:nvPr>
            <p:ph type="body" sz="quarter" idx="502" hasCustomPrompt="1"/>
          </p:nvPr>
        </p:nvSpPr>
        <p:spPr>
          <a:xfrm>
            <a:off x="3047255" y="4545106"/>
            <a:ext cx="3048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10" name="Photo">
            <a:extLst>
              <a:ext uri="{FF2B5EF4-FFF2-40B4-BE49-F238E27FC236}">
                <a16:creationId xmlns:a16="http://schemas.microsoft.com/office/drawing/2014/main" id="{512A0202-78E1-D741-BC82-143227E8914D}"/>
              </a:ext>
            </a:extLst>
          </p:cNvPr>
          <p:cNvSpPr>
            <a:spLocks noGrp="1"/>
          </p:cNvSpPr>
          <p:nvPr>
            <p:ph type="pic" sz="quarter" idx="100" hasCustomPrompt="1"/>
          </p:nvPr>
        </p:nvSpPr>
        <p:spPr>
          <a:xfrm>
            <a:off x="6094989" y="1233488"/>
            <a:ext cx="3048000" cy="4932362"/>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14" name="Caption 3">
            <a:extLst>
              <a:ext uri="{FF2B5EF4-FFF2-40B4-BE49-F238E27FC236}">
                <a16:creationId xmlns:a16="http://schemas.microsoft.com/office/drawing/2014/main" id="{3D533D84-C7F7-CA45-8D50-AF88F17CA887}"/>
              </a:ext>
            </a:extLst>
          </p:cNvPr>
          <p:cNvSpPr>
            <a:spLocks noGrp="1"/>
          </p:cNvSpPr>
          <p:nvPr>
            <p:ph type="body" sz="quarter" idx="504" hasCustomPrompt="1"/>
          </p:nvPr>
        </p:nvSpPr>
        <p:spPr>
          <a:xfrm>
            <a:off x="6094508" y="4545106"/>
            <a:ext cx="3048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21" name="Photo">
            <a:extLst>
              <a:ext uri="{FF2B5EF4-FFF2-40B4-BE49-F238E27FC236}">
                <a16:creationId xmlns:a16="http://schemas.microsoft.com/office/drawing/2014/main" id="{8A6B6870-A91D-CD4C-849D-824612FE6646}"/>
              </a:ext>
            </a:extLst>
          </p:cNvPr>
          <p:cNvSpPr>
            <a:spLocks noGrp="1"/>
          </p:cNvSpPr>
          <p:nvPr>
            <p:ph type="pic" sz="quarter" idx="505" hasCustomPrompt="1"/>
          </p:nvPr>
        </p:nvSpPr>
        <p:spPr>
          <a:xfrm>
            <a:off x="9144000" y="1233488"/>
            <a:ext cx="3048000" cy="4932362"/>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22" name="Caption 3">
            <a:extLst>
              <a:ext uri="{FF2B5EF4-FFF2-40B4-BE49-F238E27FC236}">
                <a16:creationId xmlns:a16="http://schemas.microsoft.com/office/drawing/2014/main" id="{8DACDE04-BA10-A24B-9665-9686CF8ADBC8}"/>
              </a:ext>
            </a:extLst>
          </p:cNvPr>
          <p:cNvSpPr>
            <a:spLocks noGrp="1"/>
          </p:cNvSpPr>
          <p:nvPr>
            <p:ph type="body" sz="quarter" idx="506" hasCustomPrompt="1"/>
          </p:nvPr>
        </p:nvSpPr>
        <p:spPr>
          <a:xfrm>
            <a:off x="9143519" y="4545106"/>
            <a:ext cx="3048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grpSp>
        <p:nvGrpSpPr>
          <p:cNvPr id="29" name="Group 28">
            <a:extLst>
              <a:ext uri="{FF2B5EF4-FFF2-40B4-BE49-F238E27FC236}">
                <a16:creationId xmlns:a16="http://schemas.microsoft.com/office/drawing/2014/main" id="{6BE6425A-D6B1-9C42-9FF8-6B1BDD2111E9}"/>
              </a:ext>
            </a:extLst>
          </p:cNvPr>
          <p:cNvGrpSpPr/>
          <p:nvPr userDrawn="1"/>
        </p:nvGrpSpPr>
        <p:grpSpPr>
          <a:xfrm>
            <a:off x="12532243" y="-1"/>
            <a:ext cx="3832280" cy="6858001"/>
            <a:chOff x="9144000" y="-1"/>
            <a:chExt cx="2874210" cy="6858001"/>
          </a:xfrm>
        </p:grpSpPr>
        <p:sp>
          <p:nvSpPr>
            <p:cNvPr id="30" name="Rectangle 29">
              <a:extLst>
                <a:ext uri="{FF2B5EF4-FFF2-40B4-BE49-F238E27FC236}">
                  <a16:creationId xmlns:a16="http://schemas.microsoft.com/office/drawing/2014/main" id="{A7F06CD3-CF26-EE4B-AB60-DED6C8D6F9CC}"/>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grpSp>
          <p:nvGrpSpPr>
            <p:cNvPr id="31" name="Group 30">
              <a:extLst>
                <a:ext uri="{FF2B5EF4-FFF2-40B4-BE49-F238E27FC236}">
                  <a16:creationId xmlns:a16="http://schemas.microsoft.com/office/drawing/2014/main" id="{217B8F47-0053-A745-BC3E-BCEAB1D8AEE6}"/>
                </a:ext>
              </a:extLst>
            </p:cNvPr>
            <p:cNvGrpSpPr/>
            <p:nvPr userDrawn="1"/>
          </p:nvGrpSpPr>
          <p:grpSpPr>
            <a:xfrm>
              <a:off x="9263395" y="150289"/>
              <a:ext cx="2754815" cy="6013825"/>
              <a:chOff x="9266651" y="185338"/>
              <a:chExt cx="2754815" cy="6013825"/>
            </a:xfrm>
          </p:grpSpPr>
          <p:sp>
            <p:nvSpPr>
              <p:cNvPr id="32" name="TextBox 31">
                <a:extLst>
                  <a:ext uri="{FF2B5EF4-FFF2-40B4-BE49-F238E27FC236}">
                    <a16:creationId xmlns:a16="http://schemas.microsoft.com/office/drawing/2014/main" id="{28FE4F0B-DDA2-8A4A-B29A-667129CFB748}"/>
                  </a:ext>
                </a:extLst>
              </p:cNvPr>
              <p:cNvSpPr txBox="1"/>
              <p:nvPr userDrawn="1"/>
            </p:nvSpPr>
            <p:spPr>
              <a:xfrm>
                <a:off x="9303325" y="18533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33" name="Straight Connector 32">
                <a:extLst>
                  <a:ext uri="{FF2B5EF4-FFF2-40B4-BE49-F238E27FC236}">
                    <a16:creationId xmlns:a16="http://schemas.microsoft.com/office/drawing/2014/main" id="{E121F88A-F599-904C-A272-C9075C810E00}"/>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1E2A20B4-C22E-1E43-AC20-7640AF790E7F}"/>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35" name="Group 34">
                <a:extLst>
                  <a:ext uri="{FF2B5EF4-FFF2-40B4-BE49-F238E27FC236}">
                    <a16:creationId xmlns:a16="http://schemas.microsoft.com/office/drawing/2014/main" id="{F09AC02A-BB41-5548-8D57-D0FEF0DA6D92}"/>
                  </a:ext>
                </a:extLst>
              </p:cNvPr>
              <p:cNvGrpSpPr/>
              <p:nvPr userDrawn="1"/>
            </p:nvGrpSpPr>
            <p:grpSpPr>
              <a:xfrm>
                <a:off x="9286315" y="4787848"/>
                <a:ext cx="2735151" cy="1411315"/>
                <a:chOff x="9296567" y="4910411"/>
                <a:chExt cx="2735151" cy="1411315"/>
              </a:xfrm>
            </p:grpSpPr>
            <p:sp>
              <p:nvSpPr>
                <p:cNvPr id="50" name="Rectangle 49">
                  <a:extLst>
                    <a:ext uri="{FF2B5EF4-FFF2-40B4-BE49-F238E27FC236}">
                      <a16:creationId xmlns:a16="http://schemas.microsoft.com/office/drawing/2014/main" id="{A2683D67-4490-A94E-AE4F-6D1857C59756}"/>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1" name="TextBox 50">
                  <a:extLst>
                    <a:ext uri="{FF2B5EF4-FFF2-40B4-BE49-F238E27FC236}">
                      <a16:creationId xmlns:a16="http://schemas.microsoft.com/office/drawing/2014/main" id="{12A1897F-4969-9E45-86B4-067CA6602E6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2" name="Graphic 51">
                  <a:extLst>
                    <a:ext uri="{FF2B5EF4-FFF2-40B4-BE49-F238E27FC236}">
                      <a16:creationId xmlns:a16="http://schemas.microsoft.com/office/drawing/2014/main" id="{35439718-B1E3-AB45-AB2F-F8E48DE0FF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53" name="TextBox 52">
                  <a:extLst>
                    <a:ext uri="{FF2B5EF4-FFF2-40B4-BE49-F238E27FC236}">
                      <a16:creationId xmlns:a16="http://schemas.microsoft.com/office/drawing/2014/main" id="{A522DBD7-CBEB-9B4E-8695-A6A03805465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4" name="TextBox 53">
                  <a:extLst>
                    <a:ext uri="{FF2B5EF4-FFF2-40B4-BE49-F238E27FC236}">
                      <a16:creationId xmlns:a16="http://schemas.microsoft.com/office/drawing/2014/main" id="{98CFD1B1-8CD1-0542-9C92-6F1880C4EB6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5" name="TextBox 54">
                  <a:extLst>
                    <a:ext uri="{FF2B5EF4-FFF2-40B4-BE49-F238E27FC236}">
                      <a16:creationId xmlns:a16="http://schemas.microsoft.com/office/drawing/2014/main" id="{0344AA54-A017-0344-AD5A-AF7F251893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36" name="Group 35">
                <a:extLst>
                  <a:ext uri="{FF2B5EF4-FFF2-40B4-BE49-F238E27FC236}">
                    <a16:creationId xmlns:a16="http://schemas.microsoft.com/office/drawing/2014/main" id="{99C4C35A-48AA-1544-8019-14E037D79E1D}"/>
                  </a:ext>
                </a:extLst>
              </p:cNvPr>
              <p:cNvGrpSpPr/>
              <p:nvPr userDrawn="1"/>
            </p:nvGrpSpPr>
            <p:grpSpPr>
              <a:xfrm>
                <a:off x="9286315" y="3431192"/>
                <a:ext cx="2735151" cy="1280928"/>
                <a:chOff x="9286315" y="6976989"/>
                <a:chExt cx="2735151" cy="1280928"/>
              </a:xfrm>
            </p:grpSpPr>
            <p:sp>
              <p:nvSpPr>
                <p:cNvPr id="45" name="Rectangle 44">
                  <a:extLst>
                    <a:ext uri="{FF2B5EF4-FFF2-40B4-BE49-F238E27FC236}">
                      <a16:creationId xmlns:a16="http://schemas.microsoft.com/office/drawing/2014/main" id="{271FFA37-2AB4-2B40-A550-905F9F08D77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6" name="TextBox 45">
                  <a:extLst>
                    <a:ext uri="{FF2B5EF4-FFF2-40B4-BE49-F238E27FC236}">
                      <a16:creationId xmlns:a16="http://schemas.microsoft.com/office/drawing/2014/main" id="{34AF0656-4B26-B84A-8E33-57265E5F7B8C}"/>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7" name="Graphic 46">
                  <a:extLst>
                    <a:ext uri="{FF2B5EF4-FFF2-40B4-BE49-F238E27FC236}">
                      <a16:creationId xmlns:a16="http://schemas.microsoft.com/office/drawing/2014/main" id="{BB8498F9-B3B1-2549-B8AF-550228F9FF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8" name="TextBox 47">
                  <a:extLst>
                    <a:ext uri="{FF2B5EF4-FFF2-40B4-BE49-F238E27FC236}">
                      <a16:creationId xmlns:a16="http://schemas.microsoft.com/office/drawing/2014/main" id="{F28684BB-60A4-6244-8ACD-8932E203844A}"/>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9" name="Picture 48">
                  <a:extLst>
                    <a:ext uri="{FF2B5EF4-FFF2-40B4-BE49-F238E27FC236}">
                      <a16:creationId xmlns:a16="http://schemas.microsoft.com/office/drawing/2014/main" id="{D7AB3508-106A-0C4F-B290-C3FBA222A5E2}"/>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7" name="Group 36">
                <a:extLst>
                  <a:ext uri="{FF2B5EF4-FFF2-40B4-BE49-F238E27FC236}">
                    <a16:creationId xmlns:a16="http://schemas.microsoft.com/office/drawing/2014/main" id="{71727728-ED63-FC48-ACDE-061C8C673F89}"/>
                  </a:ext>
                </a:extLst>
              </p:cNvPr>
              <p:cNvGrpSpPr/>
              <p:nvPr userDrawn="1"/>
            </p:nvGrpSpPr>
            <p:grpSpPr>
              <a:xfrm>
                <a:off x="9266651" y="510458"/>
                <a:ext cx="2617883" cy="651460"/>
                <a:chOff x="12352022" y="513115"/>
                <a:chExt cx="2617883" cy="651460"/>
              </a:xfrm>
            </p:grpSpPr>
            <p:sp>
              <p:nvSpPr>
                <p:cNvPr id="42" name="TextBox 41">
                  <a:extLst>
                    <a:ext uri="{FF2B5EF4-FFF2-40B4-BE49-F238E27FC236}">
                      <a16:creationId xmlns:a16="http://schemas.microsoft.com/office/drawing/2014/main" id="{2FB9D382-9D7F-1D47-8087-B98355D54A4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3" name="TextBox 42">
                  <a:extLst>
                    <a:ext uri="{FF2B5EF4-FFF2-40B4-BE49-F238E27FC236}">
                      <a16:creationId xmlns:a16="http://schemas.microsoft.com/office/drawing/2014/main" id="{7B579028-EE0C-DC47-AB28-DFF135019071}"/>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4" name="TextBox 43">
                  <a:extLst>
                    <a:ext uri="{FF2B5EF4-FFF2-40B4-BE49-F238E27FC236}">
                      <a16:creationId xmlns:a16="http://schemas.microsoft.com/office/drawing/2014/main" id="{DB620138-9FB3-B145-8A69-1A634C89385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38" name="TextBox 37">
                <a:extLst>
                  <a:ext uri="{FF2B5EF4-FFF2-40B4-BE49-F238E27FC236}">
                    <a16:creationId xmlns:a16="http://schemas.microsoft.com/office/drawing/2014/main" id="{C8D89CE9-6754-7A40-B9BD-2DF033C4391A}"/>
                  </a:ext>
                </a:extLst>
              </p:cNvPr>
              <p:cNvSpPr txBox="1"/>
              <p:nvPr userDrawn="1"/>
            </p:nvSpPr>
            <p:spPr>
              <a:xfrm>
                <a:off x="9419085" y="152957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9" name="TextBox 38">
                <a:extLst>
                  <a:ext uri="{FF2B5EF4-FFF2-40B4-BE49-F238E27FC236}">
                    <a16:creationId xmlns:a16="http://schemas.microsoft.com/office/drawing/2014/main" id="{D2FF0306-7D0A-034E-A536-BECA596486DD}"/>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40" name="TextBox 39">
                <a:extLst>
                  <a:ext uri="{FF2B5EF4-FFF2-40B4-BE49-F238E27FC236}">
                    <a16:creationId xmlns:a16="http://schemas.microsoft.com/office/drawing/2014/main" id="{97CD2AB1-6289-C941-96B2-D6EE69AE6141}"/>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41" name="TextBox 40">
                <a:extLst>
                  <a:ext uri="{FF2B5EF4-FFF2-40B4-BE49-F238E27FC236}">
                    <a16:creationId xmlns:a16="http://schemas.microsoft.com/office/drawing/2014/main" id="{9754A378-846E-7E44-B72A-0009F5AF6D76}"/>
                  </a:ext>
                </a:extLst>
              </p:cNvPr>
              <p:cNvSpPr txBox="1"/>
              <p:nvPr userDrawn="1"/>
            </p:nvSpPr>
            <p:spPr>
              <a:xfrm>
                <a:off x="9419085" y="3095480"/>
                <a:ext cx="2374733"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35887993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1/3 Right)">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575733" y="1233489"/>
            <a:ext cx="7190400"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8117067" y="1233489"/>
            <a:ext cx="3499200" cy="4932362"/>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2" name="Title 1">
            <a:extLst>
              <a:ext uri="{FF2B5EF4-FFF2-40B4-BE49-F238E27FC236}">
                <a16:creationId xmlns:a16="http://schemas.microsoft.com/office/drawing/2014/main" id="{E2A06382-4F71-2D43-8F90-DF7986431007}"/>
              </a:ext>
            </a:extLst>
          </p:cNvPr>
          <p:cNvSpPr>
            <a:spLocks noGrp="1"/>
          </p:cNvSpPr>
          <p:nvPr>
            <p:ph type="title" hasCustomPrompt="1"/>
          </p:nvPr>
        </p:nvSpPr>
        <p:spPr>
          <a:xfrm>
            <a:off x="575734" y="423038"/>
            <a:ext cx="11040533" cy="567394"/>
          </a:xfrm>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E8C1E42E-F316-CC44-8C90-6889E7665123}"/>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 name="Date Placeholder 6">
            <a:extLst>
              <a:ext uri="{FF2B5EF4-FFF2-40B4-BE49-F238E27FC236}">
                <a16:creationId xmlns:a16="http://schemas.microsoft.com/office/drawing/2014/main" id="{85F05EE9-0A3D-4749-B2F6-14D0C82A14DD}"/>
              </a:ext>
            </a:extLst>
          </p:cNvPr>
          <p:cNvSpPr>
            <a:spLocks noGrp="1"/>
          </p:cNvSpPr>
          <p:nvPr>
            <p:ph type="dt" sz="half" idx="106"/>
          </p:nvPr>
        </p:nvSpPr>
        <p:spPr/>
        <p:txBody>
          <a:bodyPr/>
          <a:lstStyle/>
          <a:p>
            <a:endParaRPr lang="en-US"/>
          </a:p>
        </p:txBody>
      </p:sp>
      <p:sp>
        <p:nvSpPr>
          <p:cNvPr id="8" name="Footer Placeholder 7">
            <a:extLst>
              <a:ext uri="{FF2B5EF4-FFF2-40B4-BE49-F238E27FC236}">
                <a16:creationId xmlns:a16="http://schemas.microsoft.com/office/drawing/2014/main" id="{E71F5980-B10D-114E-B46C-229352D8D586}"/>
              </a:ext>
            </a:extLst>
          </p:cNvPr>
          <p:cNvSpPr>
            <a:spLocks noGrp="1"/>
          </p:cNvSpPr>
          <p:nvPr>
            <p:ph type="ftr" sz="quarter" idx="107"/>
          </p:nvPr>
        </p:nvSpPr>
        <p:spPr/>
        <p:txBody>
          <a:bodyPr/>
          <a:lstStyle/>
          <a:p>
            <a:endParaRPr lang="en-US"/>
          </a:p>
        </p:txBody>
      </p:sp>
      <p:sp>
        <p:nvSpPr>
          <p:cNvPr id="10" name="Slide Number Placeholder 9">
            <a:extLst>
              <a:ext uri="{FF2B5EF4-FFF2-40B4-BE49-F238E27FC236}">
                <a16:creationId xmlns:a16="http://schemas.microsoft.com/office/drawing/2014/main" id="{A5D4DBE6-2175-B24F-A643-B8DBBCA00583}"/>
              </a:ext>
            </a:extLst>
          </p:cNvPr>
          <p:cNvSpPr>
            <a:spLocks noGrp="1"/>
          </p:cNvSpPr>
          <p:nvPr>
            <p:ph type="sldNum" sz="quarter" idx="108"/>
          </p:nvPr>
        </p:nvSpPr>
        <p:spPr/>
        <p:txBody>
          <a:bodyPr/>
          <a:lstStyle/>
          <a:p>
            <a:pPr marL="12700"/>
            <a:fld id="{078C017C-E1B9-8443-B047-B08AAA027B45}" type="slidenum">
              <a:rPr lang="en-US" smtClean="0"/>
              <a:pPr marL="12700"/>
              <a:t>‹#›</a:t>
            </a:fld>
            <a:endParaRPr lang="en-US"/>
          </a:p>
        </p:txBody>
      </p:sp>
      <p:grpSp>
        <p:nvGrpSpPr>
          <p:cNvPr id="57" name="Group 56">
            <a:extLst>
              <a:ext uri="{FF2B5EF4-FFF2-40B4-BE49-F238E27FC236}">
                <a16:creationId xmlns:a16="http://schemas.microsoft.com/office/drawing/2014/main" id="{4C03C57C-0D13-DD4B-B55E-2FCC285336A5}"/>
              </a:ext>
            </a:extLst>
          </p:cNvPr>
          <p:cNvGrpSpPr/>
          <p:nvPr userDrawn="1"/>
        </p:nvGrpSpPr>
        <p:grpSpPr>
          <a:xfrm>
            <a:off x="12532243" y="1"/>
            <a:ext cx="2997567" cy="6857995"/>
            <a:chOff x="9399182" y="0"/>
            <a:chExt cx="2974470" cy="6857995"/>
          </a:xfrm>
        </p:grpSpPr>
        <p:sp>
          <p:nvSpPr>
            <p:cNvPr id="58" name="Rectangle 57">
              <a:extLst>
                <a:ext uri="{FF2B5EF4-FFF2-40B4-BE49-F238E27FC236}">
                  <a16:creationId xmlns:a16="http://schemas.microsoft.com/office/drawing/2014/main" id="{43BE9C78-BA1C-9943-B248-41136483D0BA}"/>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59" name="Picture 58">
              <a:extLst>
                <a:ext uri="{FF2B5EF4-FFF2-40B4-BE49-F238E27FC236}">
                  <a16:creationId xmlns:a16="http://schemas.microsoft.com/office/drawing/2014/main" id="{80521008-EC57-934A-9813-96AAE554C206}"/>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0" name="Group 59">
              <a:extLst>
                <a:ext uri="{FF2B5EF4-FFF2-40B4-BE49-F238E27FC236}">
                  <a16:creationId xmlns:a16="http://schemas.microsoft.com/office/drawing/2014/main" id="{D61A54A3-90D9-514F-9C4D-985C0931F3A5}"/>
                </a:ext>
              </a:extLst>
            </p:cNvPr>
            <p:cNvGrpSpPr/>
            <p:nvPr userDrawn="1"/>
          </p:nvGrpSpPr>
          <p:grpSpPr>
            <a:xfrm>
              <a:off x="9541497" y="162442"/>
              <a:ext cx="2819400" cy="814510"/>
              <a:chOff x="-3644733" y="165205"/>
              <a:chExt cx="2819400" cy="814510"/>
            </a:xfrm>
          </p:grpSpPr>
          <p:sp>
            <p:nvSpPr>
              <p:cNvPr id="100" name="Rectangle 99">
                <a:extLst>
                  <a:ext uri="{FF2B5EF4-FFF2-40B4-BE49-F238E27FC236}">
                    <a16:creationId xmlns:a16="http://schemas.microsoft.com/office/drawing/2014/main" id="{0550ED21-C4F7-CD43-A13E-41A55278827B}"/>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01" name="TextBox 100">
                <a:extLst>
                  <a:ext uri="{FF2B5EF4-FFF2-40B4-BE49-F238E27FC236}">
                    <a16:creationId xmlns:a16="http://schemas.microsoft.com/office/drawing/2014/main" id="{D148C638-C7B7-084B-8025-DAB5ECDB0FD1}"/>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02" name="Picture 101">
                <a:extLst>
                  <a:ext uri="{FF2B5EF4-FFF2-40B4-BE49-F238E27FC236}">
                    <a16:creationId xmlns:a16="http://schemas.microsoft.com/office/drawing/2014/main" id="{9027D045-4E4E-6C45-B315-610B45A8AD71}"/>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1" name="Group 60">
              <a:extLst>
                <a:ext uri="{FF2B5EF4-FFF2-40B4-BE49-F238E27FC236}">
                  <a16:creationId xmlns:a16="http://schemas.microsoft.com/office/drawing/2014/main" id="{F3B1C985-C8F6-3740-946D-86B2B5D1DB11}"/>
                </a:ext>
              </a:extLst>
            </p:cNvPr>
            <p:cNvGrpSpPr/>
            <p:nvPr userDrawn="1"/>
          </p:nvGrpSpPr>
          <p:grpSpPr>
            <a:xfrm>
              <a:off x="9558507" y="1119891"/>
              <a:ext cx="2639328" cy="202617"/>
              <a:chOff x="9303325" y="149270"/>
              <a:chExt cx="2639328" cy="202617"/>
            </a:xfrm>
          </p:grpSpPr>
          <p:sp>
            <p:nvSpPr>
              <p:cNvPr id="98" name="TextBox 97">
                <a:extLst>
                  <a:ext uri="{FF2B5EF4-FFF2-40B4-BE49-F238E27FC236}">
                    <a16:creationId xmlns:a16="http://schemas.microsoft.com/office/drawing/2014/main" id="{C4A1B919-4A17-644E-9CED-4479D8E863E3}"/>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99" name="Straight Connector 98">
                <a:extLst>
                  <a:ext uri="{FF2B5EF4-FFF2-40B4-BE49-F238E27FC236}">
                    <a16:creationId xmlns:a16="http://schemas.microsoft.com/office/drawing/2014/main" id="{7308C723-8B6B-034E-B61B-1D6427FFC052}"/>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E422880C-7014-B142-A49C-3FCC06A88C7F}"/>
                </a:ext>
              </a:extLst>
            </p:cNvPr>
            <p:cNvGrpSpPr/>
            <p:nvPr userDrawn="1"/>
          </p:nvGrpSpPr>
          <p:grpSpPr>
            <a:xfrm>
              <a:off x="9554253" y="3678850"/>
              <a:ext cx="2735151" cy="2655095"/>
              <a:chOff x="9541497" y="2555080"/>
              <a:chExt cx="2735151" cy="2655095"/>
            </a:xfrm>
          </p:grpSpPr>
          <p:grpSp>
            <p:nvGrpSpPr>
              <p:cNvPr id="75" name="Group 74">
                <a:extLst>
                  <a:ext uri="{FF2B5EF4-FFF2-40B4-BE49-F238E27FC236}">
                    <a16:creationId xmlns:a16="http://schemas.microsoft.com/office/drawing/2014/main" id="{D2F6B12B-1966-9E4D-83E6-2E05A9163569}"/>
                  </a:ext>
                </a:extLst>
              </p:cNvPr>
              <p:cNvGrpSpPr/>
              <p:nvPr userDrawn="1"/>
            </p:nvGrpSpPr>
            <p:grpSpPr>
              <a:xfrm>
                <a:off x="9541497" y="2555080"/>
                <a:ext cx="2735151" cy="2655095"/>
                <a:chOff x="9296567" y="4910411"/>
                <a:chExt cx="2735151" cy="2655095"/>
              </a:xfrm>
            </p:grpSpPr>
            <p:sp>
              <p:nvSpPr>
                <p:cNvPr id="82" name="Rectangle 81">
                  <a:extLst>
                    <a:ext uri="{FF2B5EF4-FFF2-40B4-BE49-F238E27FC236}">
                      <a16:creationId xmlns:a16="http://schemas.microsoft.com/office/drawing/2014/main" id="{C771B0D4-531F-AB4B-93FE-1D20752D07A8}"/>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95" name="TextBox 94">
                  <a:extLst>
                    <a:ext uri="{FF2B5EF4-FFF2-40B4-BE49-F238E27FC236}">
                      <a16:creationId xmlns:a16="http://schemas.microsoft.com/office/drawing/2014/main" id="{3CF95A3E-36A6-9142-96CD-3EA58B87EFD9}"/>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Automatic paragraph spacing</a:t>
                  </a:r>
                </a:p>
              </p:txBody>
            </p:sp>
            <p:pic>
              <p:nvPicPr>
                <p:cNvPr id="96" name="Graphic 95">
                  <a:extLst>
                    <a:ext uri="{FF2B5EF4-FFF2-40B4-BE49-F238E27FC236}">
                      <a16:creationId xmlns:a16="http://schemas.microsoft.com/office/drawing/2014/main" id="{F88C7C2D-DA48-B043-859C-67D1C8756A3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97" name="TextBox 96">
                  <a:extLst>
                    <a:ext uri="{FF2B5EF4-FFF2-40B4-BE49-F238E27FC236}">
                      <a16:creationId xmlns:a16="http://schemas.microsoft.com/office/drawing/2014/main" id="{6194EF53-1B17-4E4B-A07B-7413CD94713F}"/>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a:t>This template automatically adds paragraph spacing between first-level text paragraphs. When pasting in content, remember to delete any extra blank lines from your text.</a:t>
                  </a:r>
                </a:p>
              </p:txBody>
            </p:sp>
          </p:grpSp>
          <p:grpSp>
            <p:nvGrpSpPr>
              <p:cNvPr id="76" name="Group 75">
                <a:extLst>
                  <a:ext uri="{FF2B5EF4-FFF2-40B4-BE49-F238E27FC236}">
                    <a16:creationId xmlns:a16="http://schemas.microsoft.com/office/drawing/2014/main" id="{1D83FFD5-C091-6940-B05F-C41CF46536E1}"/>
                  </a:ext>
                </a:extLst>
              </p:cNvPr>
              <p:cNvGrpSpPr/>
              <p:nvPr userDrawn="1"/>
            </p:nvGrpSpPr>
            <p:grpSpPr>
              <a:xfrm>
                <a:off x="9832250" y="3569700"/>
                <a:ext cx="2074000" cy="1627918"/>
                <a:chOff x="9832250" y="3617325"/>
                <a:chExt cx="2074000" cy="1627918"/>
              </a:xfrm>
            </p:grpSpPr>
            <p:pic>
              <p:nvPicPr>
                <p:cNvPr id="77" name="Picture 76">
                  <a:extLst>
                    <a:ext uri="{FF2B5EF4-FFF2-40B4-BE49-F238E27FC236}">
                      <a16:creationId xmlns:a16="http://schemas.microsoft.com/office/drawing/2014/main" id="{21084A47-F7FC-B742-A0B1-6CE06C807747}"/>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78" name="Straight Connector 77">
                  <a:extLst>
                    <a:ext uri="{FF2B5EF4-FFF2-40B4-BE49-F238E27FC236}">
                      <a16:creationId xmlns:a16="http://schemas.microsoft.com/office/drawing/2014/main" id="{324FD369-CA5E-614E-9789-3A9B72B9E1E6}"/>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8EB56FA6-CEDE-E34E-AFAE-785610B3F3F1}"/>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940AFD88-FC98-4144-A4EE-82B5EED1CC55}"/>
                    </a:ext>
                  </a:extLst>
                </p:cNvPr>
                <p:cNvSpPr txBox="1"/>
                <p:nvPr userDrawn="1"/>
              </p:nvSpPr>
              <p:spPr>
                <a:xfrm>
                  <a:off x="9832250" y="3828243"/>
                  <a:ext cx="257282" cy="184666"/>
                </a:xfrm>
                <a:prstGeom prst="rect">
                  <a:avLst/>
                </a:prstGeom>
              </p:spPr>
              <p:txBody>
                <a:bodyPr vert="horz" wrap="none" lIns="0" tIns="0" rIns="0" bIns="0" rtlCol="0" anchor="t">
                  <a:spAutoFit/>
                </a:bodyPr>
                <a:lstStyle/>
                <a:p>
                  <a:pPr algn="r"/>
                  <a:r>
                    <a:rPr lang="en-US" sz="600">
                      <a:solidFill>
                        <a:schemeClr val="tx1">
                          <a:lumMod val="50000"/>
                          <a:lumOff val="50000"/>
                        </a:schemeClr>
                      </a:solidFill>
                      <a:latin typeface="Arial" charset="0"/>
                      <a:ea typeface="Arial" charset="0"/>
                      <a:cs typeface="Arial" charset="0"/>
                    </a:rPr>
                    <a:t>Automatic</a:t>
                  </a:r>
                  <a:br>
                    <a:rPr lang="en-US" sz="600">
                      <a:solidFill>
                        <a:schemeClr val="tx1">
                          <a:lumMod val="50000"/>
                          <a:lumOff val="50000"/>
                        </a:schemeClr>
                      </a:solidFill>
                      <a:latin typeface="Arial" charset="0"/>
                      <a:ea typeface="Arial" charset="0"/>
                      <a:cs typeface="Arial" charset="0"/>
                    </a:rPr>
                  </a:br>
                  <a:r>
                    <a:rPr lang="en-US" sz="600">
                      <a:solidFill>
                        <a:schemeClr val="tx1">
                          <a:lumMod val="50000"/>
                          <a:lumOff val="50000"/>
                        </a:schemeClr>
                      </a:solidFill>
                      <a:latin typeface="Arial" charset="0"/>
                      <a:ea typeface="Arial" charset="0"/>
                      <a:cs typeface="Arial" charset="0"/>
                    </a:rPr>
                    <a:t>space</a:t>
                  </a:r>
                </a:p>
              </p:txBody>
            </p:sp>
            <p:sp>
              <p:nvSpPr>
                <p:cNvPr id="81" name="TextBox 80">
                  <a:extLst>
                    <a:ext uri="{FF2B5EF4-FFF2-40B4-BE49-F238E27FC236}">
                      <a16:creationId xmlns:a16="http://schemas.microsoft.com/office/drawing/2014/main" id="{53AE6655-7977-CA4B-B171-AFD214AA20B9}"/>
                    </a:ext>
                  </a:extLst>
                </p:cNvPr>
                <p:cNvSpPr txBox="1"/>
                <p:nvPr userDrawn="1"/>
              </p:nvSpPr>
              <p:spPr>
                <a:xfrm>
                  <a:off x="9832250" y="4721742"/>
                  <a:ext cx="257282" cy="184666"/>
                </a:xfrm>
                <a:prstGeom prst="rect">
                  <a:avLst/>
                </a:prstGeom>
              </p:spPr>
              <p:txBody>
                <a:bodyPr vert="horz" wrap="none" lIns="0" tIns="0" rIns="0" bIns="0" rtlCol="0" anchor="t">
                  <a:spAutoFit/>
                </a:bodyPr>
                <a:lstStyle/>
                <a:p>
                  <a:pPr algn="r"/>
                  <a:r>
                    <a:rPr lang="en-US" sz="600">
                      <a:solidFill>
                        <a:schemeClr val="tx1">
                          <a:lumMod val="50000"/>
                          <a:lumOff val="50000"/>
                        </a:schemeClr>
                      </a:solidFill>
                      <a:latin typeface="Arial" charset="0"/>
                      <a:ea typeface="Arial" charset="0"/>
                      <a:cs typeface="Arial" charset="0"/>
                    </a:rPr>
                    <a:t>Automatic</a:t>
                  </a:r>
                  <a:br>
                    <a:rPr lang="en-US" sz="600">
                      <a:solidFill>
                        <a:schemeClr val="tx1">
                          <a:lumMod val="50000"/>
                          <a:lumOff val="50000"/>
                        </a:schemeClr>
                      </a:solidFill>
                      <a:latin typeface="Arial" charset="0"/>
                      <a:ea typeface="Arial" charset="0"/>
                      <a:cs typeface="Arial" charset="0"/>
                    </a:rPr>
                  </a:br>
                  <a:r>
                    <a:rPr lang="en-US" sz="600">
                      <a:solidFill>
                        <a:schemeClr val="tx1">
                          <a:lumMod val="50000"/>
                          <a:lumOff val="50000"/>
                        </a:schemeClr>
                      </a:solidFill>
                      <a:latin typeface="Arial" charset="0"/>
                      <a:ea typeface="Arial" charset="0"/>
                      <a:cs typeface="Arial" charset="0"/>
                    </a:rPr>
                    <a:t>space</a:t>
                  </a:r>
                </a:p>
              </p:txBody>
            </p:sp>
          </p:grpSp>
        </p:grpSp>
        <p:grpSp>
          <p:nvGrpSpPr>
            <p:cNvPr id="63" name="Group 62">
              <a:extLst>
                <a:ext uri="{FF2B5EF4-FFF2-40B4-BE49-F238E27FC236}">
                  <a16:creationId xmlns:a16="http://schemas.microsoft.com/office/drawing/2014/main" id="{939A9DFB-F306-D34A-AE6E-1119EEC1878E}"/>
                </a:ext>
              </a:extLst>
            </p:cNvPr>
            <p:cNvGrpSpPr/>
            <p:nvPr userDrawn="1"/>
          </p:nvGrpSpPr>
          <p:grpSpPr>
            <a:xfrm>
              <a:off x="9558506" y="2409506"/>
              <a:ext cx="2639327" cy="684608"/>
              <a:chOff x="9558506" y="2476806"/>
              <a:chExt cx="2639327" cy="684608"/>
            </a:xfrm>
          </p:grpSpPr>
          <p:pic>
            <p:nvPicPr>
              <p:cNvPr id="72" name="Picture 71">
                <a:extLst>
                  <a:ext uri="{FF2B5EF4-FFF2-40B4-BE49-F238E27FC236}">
                    <a16:creationId xmlns:a16="http://schemas.microsoft.com/office/drawing/2014/main" id="{4CC219B3-5263-2D41-9553-8BAAA3287CB8}"/>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73" name="Rectangle 72">
                <a:extLst>
                  <a:ext uri="{FF2B5EF4-FFF2-40B4-BE49-F238E27FC236}">
                    <a16:creationId xmlns:a16="http://schemas.microsoft.com/office/drawing/2014/main" id="{D9AC992D-B3B2-674A-BB9E-93445168DE8C}"/>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4" name="TextBox 73">
                <a:extLst>
                  <a:ext uri="{FF2B5EF4-FFF2-40B4-BE49-F238E27FC236}">
                    <a16:creationId xmlns:a16="http://schemas.microsoft.com/office/drawing/2014/main" id="{ED36281E-F83A-DD4D-B59A-889C19DB0913}"/>
                  </a:ext>
                </a:extLst>
              </p:cNvPr>
              <p:cNvSpPr txBox="1"/>
              <p:nvPr userDrawn="1"/>
            </p:nvSpPr>
            <p:spPr>
              <a:xfrm>
                <a:off x="9635558" y="2549805"/>
                <a:ext cx="676269" cy="430887"/>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a:solidFill>
                      <a:schemeClr val="bg1"/>
                    </a:solidFill>
                    <a:latin typeface="+mn-lt"/>
                    <a:ea typeface="+mn-ea"/>
                    <a:cs typeface="+mn-cs"/>
                  </a:rPr>
                  <a:t>Note: </a:t>
                </a:r>
                <a:br>
                  <a:rPr lang="en-US" sz="700" kern="1200">
                    <a:solidFill>
                      <a:schemeClr val="bg1"/>
                    </a:solidFill>
                    <a:latin typeface="+mn-lt"/>
                    <a:ea typeface="+mn-ea"/>
                    <a:cs typeface="+mn-cs"/>
                  </a:rPr>
                </a:br>
                <a:r>
                  <a:rPr lang="en-US" sz="700" kern="1200">
                    <a:solidFill>
                      <a:schemeClr val="bg1"/>
                    </a:solidFill>
                    <a:latin typeface="+mn-lt"/>
                    <a:ea typeface="+mn-ea"/>
                    <a:cs typeface="+mn-cs"/>
                  </a:rPr>
                  <a:t>For numbered lists, see the most up-to-date Asset File.</a:t>
                </a:r>
              </a:p>
            </p:txBody>
          </p:sp>
        </p:grpSp>
        <p:grpSp>
          <p:nvGrpSpPr>
            <p:cNvPr id="64" name="Group 63">
              <a:extLst>
                <a:ext uri="{FF2B5EF4-FFF2-40B4-BE49-F238E27FC236}">
                  <a16:creationId xmlns:a16="http://schemas.microsoft.com/office/drawing/2014/main" id="{35CBB896-26F8-524B-8A94-5806041748AF}"/>
                </a:ext>
              </a:extLst>
            </p:cNvPr>
            <p:cNvGrpSpPr/>
            <p:nvPr userDrawn="1"/>
          </p:nvGrpSpPr>
          <p:grpSpPr>
            <a:xfrm>
              <a:off x="9554253" y="2414886"/>
              <a:ext cx="2819399" cy="1181890"/>
              <a:chOff x="9541498" y="3352649"/>
              <a:chExt cx="2819399" cy="1181890"/>
            </a:xfrm>
          </p:grpSpPr>
          <p:grpSp>
            <p:nvGrpSpPr>
              <p:cNvPr id="65" name="Group 64">
                <a:extLst>
                  <a:ext uri="{FF2B5EF4-FFF2-40B4-BE49-F238E27FC236}">
                    <a16:creationId xmlns:a16="http://schemas.microsoft.com/office/drawing/2014/main" id="{F5CBB0F1-33A0-B848-AEC6-66B691B34DBB}"/>
                  </a:ext>
                </a:extLst>
              </p:cNvPr>
              <p:cNvGrpSpPr/>
              <p:nvPr userDrawn="1"/>
            </p:nvGrpSpPr>
            <p:grpSpPr>
              <a:xfrm>
                <a:off x="9541498" y="3352649"/>
                <a:ext cx="2735150" cy="1181890"/>
                <a:chOff x="9541498" y="3751132"/>
                <a:chExt cx="2735150" cy="1181890"/>
              </a:xfrm>
            </p:grpSpPr>
            <p:grpSp>
              <p:nvGrpSpPr>
                <p:cNvPr id="67" name="Group 66">
                  <a:extLst>
                    <a:ext uri="{FF2B5EF4-FFF2-40B4-BE49-F238E27FC236}">
                      <a16:creationId xmlns:a16="http://schemas.microsoft.com/office/drawing/2014/main" id="{03F2917F-C153-2942-A4B6-49A4E36D77AB}"/>
                    </a:ext>
                  </a:extLst>
                </p:cNvPr>
                <p:cNvGrpSpPr/>
                <p:nvPr userDrawn="1"/>
              </p:nvGrpSpPr>
              <p:grpSpPr>
                <a:xfrm>
                  <a:off x="9541498" y="3751132"/>
                  <a:ext cx="2735150" cy="1181890"/>
                  <a:chOff x="9296568" y="4910411"/>
                  <a:chExt cx="2735150" cy="1181890"/>
                </a:xfrm>
              </p:grpSpPr>
              <p:sp>
                <p:nvSpPr>
                  <p:cNvPr id="69" name="Rectangle 68">
                    <a:extLst>
                      <a:ext uri="{FF2B5EF4-FFF2-40B4-BE49-F238E27FC236}">
                        <a16:creationId xmlns:a16="http://schemas.microsoft.com/office/drawing/2014/main" id="{B5844928-AA43-6F43-95BF-04E9F8E68971}"/>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0" name="TextBox 69">
                    <a:extLst>
                      <a:ext uri="{FF2B5EF4-FFF2-40B4-BE49-F238E27FC236}">
                        <a16:creationId xmlns:a16="http://schemas.microsoft.com/office/drawing/2014/main" id="{FAC98037-9593-B049-B52F-EF5DCA059A8C}"/>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71" name="TextBox 70">
                    <a:extLst>
                      <a:ext uri="{FF2B5EF4-FFF2-40B4-BE49-F238E27FC236}">
                        <a16:creationId xmlns:a16="http://schemas.microsoft.com/office/drawing/2014/main" id="{4D2AD801-2308-3340-97D8-0632AC94F34D}"/>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8" name="Graphic 67">
                  <a:extLst>
                    <a:ext uri="{FF2B5EF4-FFF2-40B4-BE49-F238E27FC236}">
                      <a16:creationId xmlns:a16="http://schemas.microsoft.com/office/drawing/2014/main" id="{F21B9FC7-C293-1549-8933-036DDC5FF38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66" name="Picture 65">
                <a:extLst>
                  <a:ext uri="{FF2B5EF4-FFF2-40B4-BE49-F238E27FC236}">
                    <a16:creationId xmlns:a16="http://schemas.microsoft.com/office/drawing/2014/main" id="{F11CFBEB-E67B-1F49-94BF-A4A0B914B7A5}"/>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42041135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Content and Photo">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423DF32C-150B-B744-A7E1-5C3269E4E6AA}"/>
              </a:ext>
            </a:extLst>
          </p:cNvPr>
          <p:cNvSpPr>
            <a:spLocks noGrp="1"/>
          </p:cNvSpPr>
          <p:nvPr>
            <p:ph type="pic" sz="quarter" idx="25" hasCustomPrompt="1"/>
          </p:nvPr>
        </p:nvSpPr>
        <p:spPr>
          <a:xfrm>
            <a:off x="6383867" y="1112839"/>
            <a:ext cx="5808133" cy="5053013"/>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1"/>
                </a:solidFill>
              </a:defRPr>
            </a:lvl1pPr>
          </a:lstStyle>
          <a:p>
            <a:r>
              <a:rPr lang="en-US" dirty="0"/>
              <a:t>Click icon to add photo</a:t>
            </a:r>
          </a:p>
        </p:txBody>
      </p:sp>
      <p:sp>
        <p:nvSpPr>
          <p:cNvPr id="3" name="Title 2">
            <a:extLst>
              <a:ext uri="{FF2B5EF4-FFF2-40B4-BE49-F238E27FC236}">
                <a16:creationId xmlns:a16="http://schemas.microsoft.com/office/drawing/2014/main" id="{44C2598A-7FBA-894D-9FD9-C59942BC6A93}"/>
              </a:ext>
            </a:extLst>
          </p:cNvPr>
          <p:cNvSpPr>
            <a:spLocks noGrp="1"/>
          </p:cNvSpPr>
          <p:nvPr>
            <p:ph type="title" hasCustomPrompt="1"/>
          </p:nvPr>
        </p:nvSpPr>
        <p:spPr/>
        <p:txBody>
          <a:bodyPr/>
          <a:lstStyle>
            <a:lvl1pPr>
              <a:defRPr/>
            </a:lvl1pPr>
          </a:lstStyle>
          <a:p>
            <a:r>
              <a:rPr lang="en-US" dirty="0"/>
              <a:t>CLICK TO ADD Slide TITLE. ALL CAPS. TWO LINES max.</a:t>
            </a:r>
          </a:p>
        </p:txBody>
      </p:sp>
      <p:sp>
        <p:nvSpPr>
          <p:cNvPr id="1000" name="Footnotes Placeholder">
            <a:extLst>
              <a:ext uri="{FF2B5EF4-FFF2-40B4-BE49-F238E27FC236}">
                <a16:creationId xmlns:a16="http://schemas.microsoft.com/office/drawing/2014/main" id="{78B27A02-1C02-184E-8B71-04A32B7B0FFF}"/>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500" name="Caption">
            <a:extLst>
              <a:ext uri="{FF2B5EF4-FFF2-40B4-BE49-F238E27FC236}">
                <a16:creationId xmlns:a16="http://schemas.microsoft.com/office/drawing/2014/main" id="{E3703CA0-7C6E-BE4A-9549-3CD18BE408F5}"/>
              </a:ext>
            </a:extLst>
          </p:cNvPr>
          <p:cNvSpPr>
            <a:spLocks noGrp="1"/>
          </p:cNvSpPr>
          <p:nvPr>
            <p:ph type="body" sz="quarter" idx="500" hasCustomPrompt="1"/>
          </p:nvPr>
        </p:nvSpPr>
        <p:spPr>
          <a:xfrm>
            <a:off x="7947046" y="5812143"/>
            <a:ext cx="3657167"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6" name="Date Placeholder 5">
            <a:extLst>
              <a:ext uri="{FF2B5EF4-FFF2-40B4-BE49-F238E27FC236}">
                <a16:creationId xmlns:a16="http://schemas.microsoft.com/office/drawing/2014/main" id="{77B9ACC9-FEEA-594F-95EA-7E74907FD326}"/>
              </a:ext>
            </a:extLst>
          </p:cNvPr>
          <p:cNvSpPr>
            <a:spLocks noGrp="1"/>
          </p:cNvSpPr>
          <p:nvPr>
            <p:ph type="dt" sz="half" idx="101"/>
          </p:nvPr>
        </p:nvSpPr>
        <p:spPr/>
        <p:txBody>
          <a:bodyPr/>
          <a:lstStyle/>
          <a:p>
            <a:endParaRPr lang="en-US" dirty="0"/>
          </a:p>
        </p:txBody>
      </p:sp>
      <p:sp>
        <p:nvSpPr>
          <p:cNvPr id="7" name="Footer Placeholder 6">
            <a:extLst>
              <a:ext uri="{FF2B5EF4-FFF2-40B4-BE49-F238E27FC236}">
                <a16:creationId xmlns:a16="http://schemas.microsoft.com/office/drawing/2014/main" id="{4DC1EDE3-F4CF-9F41-BC8A-2E7BCECD6FFF}"/>
              </a:ext>
            </a:extLst>
          </p:cNvPr>
          <p:cNvSpPr>
            <a:spLocks noGrp="1"/>
          </p:cNvSpPr>
          <p:nvPr>
            <p:ph type="ftr" sz="quarter" idx="102"/>
          </p:nvPr>
        </p:nvSpPr>
        <p:spPr/>
        <p:txBody>
          <a:bodyPr/>
          <a:lstStyle/>
          <a:p>
            <a:endParaRPr lang="en-US" dirty="0"/>
          </a:p>
        </p:txBody>
      </p:sp>
      <p:sp>
        <p:nvSpPr>
          <p:cNvPr id="9" name="Slide Number Placeholder 8">
            <a:extLst>
              <a:ext uri="{FF2B5EF4-FFF2-40B4-BE49-F238E27FC236}">
                <a16:creationId xmlns:a16="http://schemas.microsoft.com/office/drawing/2014/main" id="{ADC54D9D-3175-B84D-96C6-75A1EF65E81A}"/>
              </a:ext>
            </a:extLst>
          </p:cNvPr>
          <p:cNvSpPr>
            <a:spLocks noGrp="1"/>
          </p:cNvSpPr>
          <p:nvPr>
            <p:ph type="sldNum" sz="quarter" idx="103"/>
          </p:nvPr>
        </p:nvSpPr>
        <p:spPr/>
        <p:txBody>
          <a:bodyPr/>
          <a:lstStyle/>
          <a:p>
            <a:pPr marL="12700"/>
            <a:fld id="{078C017C-E1B9-8443-B047-B08AAA027B45}" type="slidenum">
              <a:rPr lang="en-US" smtClean="0"/>
              <a:pPr marL="12700"/>
              <a:t>‹#›</a:t>
            </a:fld>
            <a:endParaRPr lang="en-US" dirty="0"/>
          </a:p>
        </p:txBody>
      </p:sp>
      <p:sp>
        <p:nvSpPr>
          <p:cNvPr id="200" name="First Content Placeholder">
            <a:extLst>
              <a:ext uri="{FF2B5EF4-FFF2-40B4-BE49-F238E27FC236}">
                <a16:creationId xmlns:a16="http://schemas.microsoft.com/office/drawing/2014/main" id="{1C1B5872-F27A-8540-9155-0506D8591D38}"/>
              </a:ext>
            </a:extLst>
          </p:cNvPr>
          <p:cNvSpPr>
            <a:spLocks noGrp="1"/>
          </p:cNvSpPr>
          <p:nvPr>
            <p:ph type="body" sz="quarter" idx="200"/>
          </p:nvPr>
        </p:nvSpPr>
        <p:spPr>
          <a:xfrm>
            <a:off x="575733" y="1233488"/>
            <a:ext cx="5520267"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24" name="Group 123">
            <a:extLst>
              <a:ext uri="{FF2B5EF4-FFF2-40B4-BE49-F238E27FC236}">
                <a16:creationId xmlns:a16="http://schemas.microsoft.com/office/drawing/2014/main" id="{4733A701-C28D-D14B-8A54-4FABF63CD244}"/>
              </a:ext>
            </a:extLst>
          </p:cNvPr>
          <p:cNvGrpSpPr/>
          <p:nvPr userDrawn="1"/>
        </p:nvGrpSpPr>
        <p:grpSpPr>
          <a:xfrm>
            <a:off x="12532243" y="-2"/>
            <a:ext cx="3965960" cy="9769405"/>
            <a:chOff x="9399182" y="-2"/>
            <a:chExt cx="2974470" cy="9769405"/>
          </a:xfrm>
        </p:grpSpPr>
        <p:sp>
          <p:nvSpPr>
            <p:cNvPr id="125" name="Rectangle 124">
              <a:extLst>
                <a:ext uri="{FF2B5EF4-FFF2-40B4-BE49-F238E27FC236}">
                  <a16:creationId xmlns:a16="http://schemas.microsoft.com/office/drawing/2014/main" id="{751DA6CE-8EF3-4A45-8D22-D0DF488812BC}"/>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126" name="Picture 125">
              <a:extLst>
                <a:ext uri="{FF2B5EF4-FFF2-40B4-BE49-F238E27FC236}">
                  <a16:creationId xmlns:a16="http://schemas.microsoft.com/office/drawing/2014/main" id="{B1044BAF-5A45-8449-B9C7-80FE332259FA}"/>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127" name="Group 126">
              <a:extLst>
                <a:ext uri="{FF2B5EF4-FFF2-40B4-BE49-F238E27FC236}">
                  <a16:creationId xmlns:a16="http://schemas.microsoft.com/office/drawing/2014/main" id="{BA68E120-F0E4-E945-800D-04C9368C1492}"/>
                </a:ext>
              </a:extLst>
            </p:cNvPr>
            <p:cNvGrpSpPr/>
            <p:nvPr userDrawn="1"/>
          </p:nvGrpSpPr>
          <p:grpSpPr>
            <a:xfrm>
              <a:off x="9541497" y="162442"/>
              <a:ext cx="2819400" cy="814510"/>
              <a:chOff x="-3644733" y="165205"/>
              <a:chExt cx="2819400" cy="814510"/>
            </a:xfrm>
          </p:grpSpPr>
          <p:sp>
            <p:nvSpPr>
              <p:cNvPr id="163" name="Rectangle 162">
                <a:extLst>
                  <a:ext uri="{FF2B5EF4-FFF2-40B4-BE49-F238E27FC236}">
                    <a16:creationId xmlns:a16="http://schemas.microsoft.com/office/drawing/2014/main" id="{A2492CFD-ACE4-D440-8AB8-5C71505FB95A}"/>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4" name="TextBox 163">
                <a:extLst>
                  <a:ext uri="{FF2B5EF4-FFF2-40B4-BE49-F238E27FC236}">
                    <a16:creationId xmlns:a16="http://schemas.microsoft.com/office/drawing/2014/main" id="{D4154661-313C-224F-BD94-A7239272105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65" name="Picture 164">
                <a:extLst>
                  <a:ext uri="{FF2B5EF4-FFF2-40B4-BE49-F238E27FC236}">
                    <a16:creationId xmlns:a16="http://schemas.microsoft.com/office/drawing/2014/main" id="{73A77609-877B-8A42-8CB0-F890A6AF4803}"/>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128" name="Group 127">
              <a:extLst>
                <a:ext uri="{FF2B5EF4-FFF2-40B4-BE49-F238E27FC236}">
                  <a16:creationId xmlns:a16="http://schemas.microsoft.com/office/drawing/2014/main" id="{B5788AF6-D5BE-4D46-A7FD-EEA5EC2271BC}"/>
                </a:ext>
              </a:extLst>
            </p:cNvPr>
            <p:cNvGrpSpPr/>
            <p:nvPr userDrawn="1"/>
          </p:nvGrpSpPr>
          <p:grpSpPr>
            <a:xfrm>
              <a:off x="9521833" y="3755578"/>
              <a:ext cx="2754815" cy="6013825"/>
              <a:chOff x="9521833" y="2566288"/>
              <a:chExt cx="2754815" cy="6013825"/>
            </a:xfrm>
          </p:grpSpPr>
          <p:sp>
            <p:nvSpPr>
              <p:cNvPr id="139" name="TextBox 138">
                <a:extLst>
                  <a:ext uri="{FF2B5EF4-FFF2-40B4-BE49-F238E27FC236}">
                    <a16:creationId xmlns:a16="http://schemas.microsoft.com/office/drawing/2014/main" id="{40357B56-9945-894E-8D94-FE78A1E1BBDA}"/>
                  </a:ext>
                </a:extLst>
              </p:cNvPr>
              <p:cNvSpPr txBox="1"/>
              <p:nvPr userDrawn="1"/>
            </p:nvSpPr>
            <p:spPr>
              <a:xfrm>
                <a:off x="9558507" y="256628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140" name="Straight Connector 139">
                <a:extLst>
                  <a:ext uri="{FF2B5EF4-FFF2-40B4-BE49-F238E27FC236}">
                    <a16:creationId xmlns:a16="http://schemas.microsoft.com/office/drawing/2014/main" id="{C48E1D43-565E-C748-AA09-8B2024B0024A}"/>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9609B6B1-808D-2F47-BA9D-5471F55D00F3}"/>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42" name="Group 141">
                <a:extLst>
                  <a:ext uri="{FF2B5EF4-FFF2-40B4-BE49-F238E27FC236}">
                    <a16:creationId xmlns:a16="http://schemas.microsoft.com/office/drawing/2014/main" id="{B05A4C93-6C32-F549-B7C2-5264AE3CC159}"/>
                  </a:ext>
                </a:extLst>
              </p:cNvPr>
              <p:cNvGrpSpPr/>
              <p:nvPr userDrawn="1"/>
            </p:nvGrpSpPr>
            <p:grpSpPr>
              <a:xfrm>
                <a:off x="9541497" y="7168798"/>
                <a:ext cx="2735151" cy="1411315"/>
                <a:chOff x="9296567" y="4910411"/>
                <a:chExt cx="2735151" cy="1411315"/>
              </a:xfrm>
            </p:grpSpPr>
            <p:sp>
              <p:nvSpPr>
                <p:cNvPr id="157" name="Rectangle 156">
                  <a:extLst>
                    <a:ext uri="{FF2B5EF4-FFF2-40B4-BE49-F238E27FC236}">
                      <a16:creationId xmlns:a16="http://schemas.microsoft.com/office/drawing/2014/main" id="{BDC5CF10-ABF4-3548-B7A9-AFF61FDC6756}"/>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8" name="TextBox 157">
                  <a:extLst>
                    <a:ext uri="{FF2B5EF4-FFF2-40B4-BE49-F238E27FC236}">
                      <a16:creationId xmlns:a16="http://schemas.microsoft.com/office/drawing/2014/main" id="{697C1DF9-78D8-F946-8AEA-97C6739BC23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59" name="Graphic 158">
                  <a:extLst>
                    <a:ext uri="{FF2B5EF4-FFF2-40B4-BE49-F238E27FC236}">
                      <a16:creationId xmlns:a16="http://schemas.microsoft.com/office/drawing/2014/main" id="{5C2FF1FF-B1B7-6545-806F-1BDC3027171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60" name="TextBox 159">
                  <a:extLst>
                    <a:ext uri="{FF2B5EF4-FFF2-40B4-BE49-F238E27FC236}">
                      <a16:creationId xmlns:a16="http://schemas.microsoft.com/office/drawing/2014/main" id="{FA3C0A73-D511-3B49-8AC7-02179A31268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1" name="TextBox 160">
                  <a:extLst>
                    <a:ext uri="{FF2B5EF4-FFF2-40B4-BE49-F238E27FC236}">
                      <a16:creationId xmlns:a16="http://schemas.microsoft.com/office/drawing/2014/main" id="{8EA9CE81-F075-DE47-82D8-6F158387D04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2" name="TextBox 161">
                  <a:extLst>
                    <a:ext uri="{FF2B5EF4-FFF2-40B4-BE49-F238E27FC236}">
                      <a16:creationId xmlns:a16="http://schemas.microsoft.com/office/drawing/2014/main" id="{78807420-9DBC-9A45-8A89-7CD0F4D92B9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43" name="Group 142">
                <a:extLst>
                  <a:ext uri="{FF2B5EF4-FFF2-40B4-BE49-F238E27FC236}">
                    <a16:creationId xmlns:a16="http://schemas.microsoft.com/office/drawing/2014/main" id="{5C351591-2472-904B-8759-942A88D16B9D}"/>
                  </a:ext>
                </a:extLst>
              </p:cNvPr>
              <p:cNvGrpSpPr/>
              <p:nvPr userDrawn="1"/>
            </p:nvGrpSpPr>
            <p:grpSpPr>
              <a:xfrm>
                <a:off x="9541497" y="5812142"/>
                <a:ext cx="2735151" cy="1280928"/>
                <a:chOff x="9286315" y="6976989"/>
                <a:chExt cx="2735151" cy="1280928"/>
              </a:xfrm>
            </p:grpSpPr>
            <p:sp>
              <p:nvSpPr>
                <p:cNvPr id="152" name="Rectangle 151">
                  <a:extLst>
                    <a:ext uri="{FF2B5EF4-FFF2-40B4-BE49-F238E27FC236}">
                      <a16:creationId xmlns:a16="http://schemas.microsoft.com/office/drawing/2014/main" id="{BE2203C4-AADF-9846-8B18-491BE1A24360}"/>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3" name="TextBox 152">
                  <a:extLst>
                    <a:ext uri="{FF2B5EF4-FFF2-40B4-BE49-F238E27FC236}">
                      <a16:creationId xmlns:a16="http://schemas.microsoft.com/office/drawing/2014/main" id="{0030A937-6F39-054A-AED5-ADF5A04739AF}"/>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54" name="Graphic 153">
                  <a:extLst>
                    <a:ext uri="{FF2B5EF4-FFF2-40B4-BE49-F238E27FC236}">
                      <a16:creationId xmlns:a16="http://schemas.microsoft.com/office/drawing/2014/main" id="{0537737C-2115-B947-9A78-0777F840E7B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55" name="TextBox 154">
                  <a:extLst>
                    <a:ext uri="{FF2B5EF4-FFF2-40B4-BE49-F238E27FC236}">
                      <a16:creationId xmlns:a16="http://schemas.microsoft.com/office/drawing/2014/main" id="{8BA15225-069B-8742-A8D7-CAC9185D509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56" name="Picture 155">
                  <a:extLst>
                    <a:ext uri="{FF2B5EF4-FFF2-40B4-BE49-F238E27FC236}">
                      <a16:creationId xmlns:a16="http://schemas.microsoft.com/office/drawing/2014/main" id="{8144153B-0D79-E944-B51D-5835E26BED66}"/>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44" name="Group 143">
                <a:extLst>
                  <a:ext uri="{FF2B5EF4-FFF2-40B4-BE49-F238E27FC236}">
                    <a16:creationId xmlns:a16="http://schemas.microsoft.com/office/drawing/2014/main" id="{E9E4EBA5-7235-1749-BE4E-7F57283F44A6}"/>
                  </a:ext>
                </a:extLst>
              </p:cNvPr>
              <p:cNvGrpSpPr/>
              <p:nvPr userDrawn="1"/>
            </p:nvGrpSpPr>
            <p:grpSpPr>
              <a:xfrm>
                <a:off x="9521833" y="2891408"/>
                <a:ext cx="2617883" cy="651460"/>
                <a:chOff x="12352022" y="513115"/>
                <a:chExt cx="2617883" cy="651460"/>
              </a:xfrm>
            </p:grpSpPr>
            <p:sp>
              <p:nvSpPr>
                <p:cNvPr id="149" name="TextBox 148">
                  <a:extLst>
                    <a:ext uri="{FF2B5EF4-FFF2-40B4-BE49-F238E27FC236}">
                      <a16:creationId xmlns:a16="http://schemas.microsoft.com/office/drawing/2014/main" id="{F2698A1D-5AA4-DC44-9F55-CBD096FE57F1}"/>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50" name="TextBox 149">
                  <a:extLst>
                    <a:ext uri="{FF2B5EF4-FFF2-40B4-BE49-F238E27FC236}">
                      <a16:creationId xmlns:a16="http://schemas.microsoft.com/office/drawing/2014/main" id="{3AE86D23-8305-5A45-A571-52B2F5C0990D}"/>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51" name="TextBox 150">
                  <a:extLst>
                    <a:ext uri="{FF2B5EF4-FFF2-40B4-BE49-F238E27FC236}">
                      <a16:creationId xmlns:a16="http://schemas.microsoft.com/office/drawing/2014/main" id="{C22F969C-FAF1-8246-BD84-28276607268B}"/>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145" name="TextBox 144">
                <a:extLst>
                  <a:ext uri="{FF2B5EF4-FFF2-40B4-BE49-F238E27FC236}">
                    <a16:creationId xmlns:a16="http://schemas.microsoft.com/office/drawing/2014/main" id="{94AAA41A-0A99-B540-9DFB-E702DDC79CE0}"/>
                  </a:ext>
                </a:extLst>
              </p:cNvPr>
              <p:cNvSpPr txBox="1"/>
              <p:nvPr userDrawn="1"/>
            </p:nvSpPr>
            <p:spPr>
              <a:xfrm>
                <a:off x="9674267" y="391052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46" name="TextBox 145">
                <a:extLst>
                  <a:ext uri="{FF2B5EF4-FFF2-40B4-BE49-F238E27FC236}">
                    <a16:creationId xmlns:a16="http://schemas.microsoft.com/office/drawing/2014/main" id="{4FB277D0-59CC-B04A-AF4B-F5F46BEA5970}"/>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47" name="TextBox 146">
                <a:extLst>
                  <a:ext uri="{FF2B5EF4-FFF2-40B4-BE49-F238E27FC236}">
                    <a16:creationId xmlns:a16="http://schemas.microsoft.com/office/drawing/2014/main" id="{D2A1627A-335B-1447-896B-7A24744C3AFE}"/>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48" name="TextBox 147">
                <a:extLst>
                  <a:ext uri="{FF2B5EF4-FFF2-40B4-BE49-F238E27FC236}">
                    <a16:creationId xmlns:a16="http://schemas.microsoft.com/office/drawing/2014/main" id="{D1D1A24B-457A-C34F-BF91-92618BD9AA84}"/>
                  </a:ext>
                </a:extLst>
              </p:cNvPr>
              <p:cNvSpPr txBox="1"/>
              <p:nvPr userDrawn="1"/>
            </p:nvSpPr>
            <p:spPr>
              <a:xfrm>
                <a:off x="9674267" y="5476430"/>
                <a:ext cx="2374733"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129" name="TextBox 128">
              <a:extLst>
                <a:ext uri="{FF2B5EF4-FFF2-40B4-BE49-F238E27FC236}">
                  <a16:creationId xmlns:a16="http://schemas.microsoft.com/office/drawing/2014/main" id="{44275E70-9A90-8248-B103-32F4FC330EA0}"/>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130" name="Straight Connector 129">
              <a:extLst>
                <a:ext uri="{FF2B5EF4-FFF2-40B4-BE49-F238E27FC236}">
                  <a16:creationId xmlns:a16="http://schemas.microsoft.com/office/drawing/2014/main" id="{3206D460-1991-A942-841E-D63D3918283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F4DDB051-6B6F-BC48-8BB7-4040D84AAB04}"/>
                </a:ext>
              </a:extLst>
            </p:cNvPr>
            <p:cNvGrpSpPr/>
            <p:nvPr userDrawn="1"/>
          </p:nvGrpSpPr>
          <p:grpSpPr>
            <a:xfrm>
              <a:off x="9554253" y="2414886"/>
              <a:ext cx="2819399" cy="1181890"/>
              <a:chOff x="9541498" y="3352649"/>
              <a:chExt cx="2819399" cy="1181890"/>
            </a:xfrm>
          </p:grpSpPr>
          <p:grpSp>
            <p:nvGrpSpPr>
              <p:cNvPr id="132" name="Group 131">
                <a:extLst>
                  <a:ext uri="{FF2B5EF4-FFF2-40B4-BE49-F238E27FC236}">
                    <a16:creationId xmlns:a16="http://schemas.microsoft.com/office/drawing/2014/main" id="{766FADBE-8E34-814E-96B3-2AEADDB68211}"/>
                  </a:ext>
                </a:extLst>
              </p:cNvPr>
              <p:cNvGrpSpPr/>
              <p:nvPr userDrawn="1"/>
            </p:nvGrpSpPr>
            <p:grpSpPr>
              <a:xfrm>
                <a:off x="9541498" y="3352649"/>
                <a:ext cx="2735150" cy="1181890"/>
                <a:chOff x="9541498" y="3751132"/>
                <a:chExt cx="2735150" cy="1181890"/>
              </a:xfrm>
            </p:grpSpPr>
            <p:grpSp>
              <p:nvGrpSpPr>
                <p:cNvPr id="134" name="Group 133">
                  <a:extLst>
                    <a:ext uri="{FF2B5EF4-FFF2-40B4-BE49-F238E27FC236}">
                      <a16:creationId xmlns:a16="http://schemas.microsoft.com/office/drawing/2014/main" id="{AD0934A4-4B6D-554D-99CA-06DCE1F3AD20}"/>
                    </a:ext>
                  </a:extLst>
                </p:cNvPr>
                <p:cNvGrpSpPr/>
                <p:nvPr userDrawn="1"/>
              </p:nvGrpSpPr>
              <p:grpSpPr>
                <a:xfrm>
                  <a:off x="9541498" y="3751132"/>
                  <a:ext cx="2735150" cy="1181890"/>
                  <a:chOff x="9296568" y="4910411"/>
                  <a:chExt cx="2735150" cy="1181890"/>
                </a:xfrm>
              </p:grpSpPr>
              <p:sp>
                <p:nvSpPr>
                  <p:cNvPr id="136" name="Rectangle 135">
                    <a:extLst>
                      <a:ext uri="{FF2B5EF4-FFF2-40B4-BE49-F238E27FC236}">
                        <a16:creationId xmlns:a16="http://schemas.microsoft.com/office/drawing/2014/main" id="{53182B15-F43E-0147-B7E0-9BED83FA6B8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7" name="TextBox 136">
                    <a:extLst>
                      <a:ext uri="{FF2B5EF4-FFF2-40B4-BE49-F238E27FC236}">
                        <a16:creationId xmlns:a16="http://schemas.microsoft.com/office/drawing/2014/main" id="{A7FE4E2B-60F9-B74B-9322-B2A84ADC3AEC}"/>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38" name="TextBox 137">
                    <a:extLst>
                      <a:ext uri="{FF2B5EF4-FFF2-40B4-BE49-F238E27FC236}">
                        <a16:creationId xmlns:a16="http://schemas.microsoft.com/office/drawing/2014/main" id="{45C5FDA9-51EB-994D-A9B6-D74A75ECC8CA}"/>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35" name="Graphic 134">
                  <a:extLst>
                    <a:ext uri="{FF2B5EF4-FFF2-40B4-BE49-F238E27FC236}">
                      <a16:creationId xmlns:a16="http://schemas.microsoft.com/office/drawing/2014/main" id="{10990A9D-3395-D041-92DA-7AF631B6320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33" name="Picture 132">
                <a:extLst>
                  <a:ext uri="{FF2B5EF4-FFF2-40B4-BE49-F238E27FC236}">
                    <a16:creationId xmlns:a16="http://schemas.microsoft.com/office/drawing/2014/main" id="{A163CE1E-05FE-3244-A292-D0B3E311C30C}"/>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48073940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Default Text Over Photo">
    <p:bg>
      <p:bgPr>
        <a:solidFill>
          <a:schemeClr val="bg1"/>
        </a:solidFill>
        <a:effectLst/>
      </p:bgPr>
    </p:bg>
    <p:spTree>
      <p:nvGrpSpPr>
        <p:cNvPr id="1" name=""/>
        <p:cNvGrpSpPr/>
        <p:nvPr/>
      </p:nvGrpSpPr>
      <p:grpSpPr>
        <a:xfrm>
          <a:off x="0" y="0"/>
          <a:ext cx="0" cy="0"/>
          <a:chOff x="0" y="0"/>
          <a:chExt cx="0" cy="0"/>
        </a:xfrm>
      </p:grpSpPr>
      <p:sp>
        <p:nvSpPr>
          <p:cNvPr id="49" name="TextBox 48">
            <a:extLst>
              <a:ext uri="{FF2B5EF4-FFF2-40B4-BE49-F238E27FC236}">
                <a16:creationId xmlns:a16="http://schemas.microsoft.com/office/drawing/2014/main" id="{53978DEE-ECAD-2749-B8B1-A2F8338F3B0F}"/>
              </a:ext>
            </a:extLst>
          </p:cNvPr>
          <p:cNvSpPr txBox="1">
            <a:spLocks/>
          </p:cNvSpPr>
          <p:nvPr userDrawn="1"/>
        </p:nvSpPr>
        <p:spPr>
          <a:xfrm>
            <a:off x="0" y="6200777"/>
            <a:ext cx="12192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1400" dirty="0"/>
          </a:p>
        </p:txBody>
      </p:sp>
      <p:sp>
        <p:nvSpPr>
          <p:cNvPr id="59" name="Picture Placeholder 58">
            <a:extLst>
              <a:ext uri="{FF2B5EF4-FFF2-40B4-BE49-F238E27FC236}">
                <a16:creationId xmlns:a16="http://schemas.microsoft.com/office/drawing/2014/main" id="{AEA78B6A-E41B-1349-9FFB-DF8D93561279}"/>
              </a:ext>
            </a:extLst>
          </p:cNvPr>
          <p:cNvSpPr>
            <a:spLocks noGrp="1"/>
          </p:cNvSpPr>
          <p:nvPr>
            <p:ph type="pic" sz="quarter" idx="10" hasCustomPrompt="1"/>
          </p:nvPr>
        </p:nvSpPr>
        <p:spPr>
          <a:xfrm>
            <a:off x="0" y="1112838"/>
            <a:ext cx="12192000" cy="5745162"/>
          </a:xfrm>
          <a:custGeom>
            <a:avLst/>
            <a:gdLst>
              <a:gd name="connsiteX0" fmla="*/ 8381735 w 9144000"/>
              <a:gd name="connsiteY0" fmla="*/ 5463184 h 5745162"/>
              <a:gd name="connsiteX1" fmla="*/ 8398942 w 9144000"/>
              <a:gd name="connsiteY1" fmla="*/ 5465039 h 5745162"/>
              <a:gd name="connsiteX2" fmla="*/ 8407847 w 9144000"/>
              <a:gd name="connsiteY2" fmla="*/ 5471828 h 5745162"/>
              <a:gd name="connsiteX3" fmla="*/ 8413547 w 9144000"/>
              <a:gd name="connsiteY3" fmla="*/ 5482153 h 5745162"/>
              <a:gd name="connsiteX4" fmla="*/ 8415584 w 9144000"/>
              <a:gd name="connsiteY4" fmla="*/ 5495365 h 5745162"/>
              <a:gd name="connsiteX5" fmla="*/ 8413646 w 9144000"/>
              <a:gd name="connsiteY5" fmla="*/ 5508436 h 5745162"/>
              <a:gd name="connsiteX6" fmla="*/ 8407947 w 9144000"/>
              <a:gd name="connsiteY6" fmla="*/ 5518831 h 5745162"/>
              <a:gd name="connsiteX7" fmla="*/ 8375887 w 9144000"/>
              <a:gd name="connsiteY7" fmla="*/ 5525676 h 5745162"/>
              <a:gd name="connsiteX8" fmla="*/ 8366910 w 9144000"/>
              <a:gd name="connsiteY8" fmla="*/ 5518831 h 5745162"/>
              <a:gd name="connsiteX9" fmla="*/ 8361211 w 9144000"/>
              <a:gd name="connsiteY9" fmla="*/ 5508436 h 5745162"/>
              <a:gd name="connsiteX10" fmla="*/ 8359045 w 9144000"/>
              <a:gd name="connsiteY10" fmla="*/ 5495365 h 5745162"/>
              <a:gd name="connsiteX11" fmla="*/ 8361097 w 9144000"/>
              <a:gd name="connsiteY11" fmla="*/ 5482153 h 5745162"/>
              <a:gd name="connsiteX12" fmla="*/ 8366796 w 9144000"/>
              <a:gd name="connsiteY12" fmla="*/ 5471828 h 5745162"/>
              <a:gd name="connsiteX13" fmla="*/ 8381735 w 9144000"/>
              <a:gd name="connsiteY13" fmla="*/ 5463184 h 5745162"/>
              <a:gd name="connsiteX14" fmla="*/ 8525633 w 9144000"/>
              <a:gd name="connsiteY14" fmla="*/ 5440648 h 5745162"/>
              <a:gd name="connsiteX15" fmla="*/ 8525633 w 9144000"/>
              <a:gd name="connsiteY15" fmla="*/ 5486594 h 5745162"/>
              <a:gd name="connsiteX16" fmla="*/ 8525633 w 9144000"/>
              <a:gd name="connsiteY16" fmla="*/ 5549935 h 5745162"/>
              <a:gd name="connsiteX17" fmla="*/ 8595623 w 9144000"/>
              <a:gd name="connsiteY17" fmla="*/ 5549935 h 5745162"/>
              <a:gd name="connsiteX18" fmla="*/ 8596022 w 9144000"/>
              <a:gd name="connsiteY18" fmla="*/ 5549935 h 5745162"/>
              <a:gd name="connsiteX19" fmla="*/ 8596022 w 9144000"/>
              <a:gd name="connsiteY19" fmla="*/ 5532934 h 5745162"/>
              <a:gd name="connsiteX20" fmla="*/ 8595623 w 9144000"/>
              <a:gd name="connsiteY20" fmla="*/ 5532934 h 5745162"/>
              <a:gd name="connsiteX21" fmla="*/ 8595623 w 9144000"/>
              <a:gd name="connsiteY21" fmla="*/ 5526836 h 5745162"/>
              <a:gd name="connsiteX22" fmla="*/ 8551295 w 9144000"/>
              <a:gd name="connsiteY22" fmla="*/ 5526836 h 5745162"/>
              <a:gd name="connsiteX23" fmla="*/ 8551295 w 9144000"/>
              <a:gd name="connsiteY23" fmla="*/ 5505511 h 5745162"/>
              <a:gd name="connsiteX24" fmla="*/ 8591705 w 9144000"/>
              <a:gd name="connsiteY24" fmla="*/ 5505511 h 5745162"/>
              <a:gd name="connsiteX25" fmla="*/ 8591705 w 9144000"/>
              <a:gd name="connsiteY25" fmla="*/ 5483439 h 5745162"/>
              <a:gd name="connsiteX26" fmla="*/ 8551295 w 9144000"/>
              <a:gd name="connsiteY26" fmla="*/ 5483439 h 5745162"/>
              <a:gd name="connsiteX27" fmla="*/ 8551295 w 9144000"/>
              <a:gd name="connsiteY27" fmla="*/ 5463917 h 5745162"/>
              <a:gd name="connsiteX28" fmla="*/ 8595623 w 9144000"/>
              <a:gd name="connsiteY28" fmla="*/ 5463917 h 5745162"/>
              <a:gd name="connsiteX29" fmla="*/ 8595623 w 9144000"/>
              <a:gd name="connsiteY29" fmla="*/ 5457649 h 5745162"/>
              <a:gd name="connsiteX30" fmla="*/ 8596022 w 9144000"/>
              <a:gd name="connsiteY30" fmla="*/ 5457649 h 5745162"/>
              <a:gd name="connsiteX31" fmla="*/ 8596022 w 9144000"/>
              <a:gd name="connsiteY31" fmla="*/ 5440648 h 5745162"/>
              <a:gd name="connsiteX32" fmla="*/ 8595623 w 9144000"/>
              <a:gd name="connsiteY32" fmla="*/ 5440648 h 5745162"/>
              <a:gd name="connsiteX33" fmla="*/ 8547362 w 9144000"/>
              <a:gd name="connsiteY33" fmla="*/ 5440648 h 5745162"/>
              <a:gd name="connsiteX34" fmla="*/ 8448177 w 9144000"/>
              <a:gd name="connsiteY34" fmla="*/ 5440648 h 5745162"/>
              <a:gd name="connsiteX35" fmla="*/ 8448177 w 9144000"/>
              <a:gd name="connsiteY35" fmla="*/ 5486594 h 5745162"/>
              <a:gd name="connsiteX36" fmla="*/ 8448177 w 9144000"/>
              <a:gd name="connsiteY36" fmla="*/ 5549935 h 5745162"/>
              <a:gd name="connsiteX37" fmla="*/ 8518167 w 9144000"/>
              <a:gd name="connsiteY37" fmla="*/ 5549935 h 5745162"/>
              <a:gd name="connsiteX38" fmla="*/ 8518552 w 9144000"/>
              <a:gd name="connsiteY38" fmla="*/ 5549935 h 5745162"/>
              <a:gd name="connsiteX39" fmla="*/ 8518552 w 9144000"/>
              <a:gd name="connsiteY39" fmla="*/ 5532934 h 5745162"/>
              <a:gd name="connsiteX40" fmla="*/ 8518167 w 9144000"/>
              <a:gd name="connsiteY40" fmla="*/ 5532934 h 5745162"/>
              <a:gd name="connsiteX41" fmla="*/ 8518167 w 9144000"/>
              <a:gd name="connsiteY41" fmla="*/ 5526836 h 5745162"/>
              <a:gd name="connsiteX42" fmla="*/ 8473825 w 9144000"/>
              <a:gd name="connsiteY42" fmla="*/ 5526836 h 5745162"/>
              <a:gd name="connsiteX43" fmla="*/ 8473825 w 9144000"/>
              <a:gd name="connsiteY43" fmla="*/ 5505511 h 5745162"/>
              <a:gd name="connsiteX44" fmla="*/ 8514235 w 9144000"/>
              <a:gd name="connsiteY44" fmla="*/ 5505511 h 5745162"/>
              <a:gd name="connsiteX45" fmla="*/ 8514235 w 9144000"/>
              <a:gd name="connsiteY45" fmla="*/ 5483439 h 5745162"/>
              <a:gd name="connsiteX46" fmla="*/ 8473825 w 9144000"/>
              <a:gd name="connsiteY46" fmla="*/ 5483439 h 5745162"/>
              <a:gd name="connsiteX47" fmla="*/ 8473825 w 9144000"/>
              <a:gd name="connsiteY47" fmla="*/ 5463917 h 5745162"/>
              <a:gd name="connsiteX48" fmla="*/ 8518167 w 9144000"/>
              <a:gd name="connsiteY48" fmla="*/ 5463917 h 5745162"/>
              <a:gd name="connsiteX49" fmla="*/ 8518167 w 9144000"/>
              <a:gd name="connsiteY49" fmla="*/ 5457649 h 5745162"/>
              <a:gd name="connsiteX50" fmla="*/ 8518552 w 9144000"/>
              <a:gd name="connsiteY50" fmla="*/ 5457649 h 5745162"/>
              <a:gd name="connsiteX51" fmla="*/ 8518552 w 9144000"/>
              <a:gd name="connsiteY51" fmla="*/ 5440648 h 5745162"/>
              <a:gd name="connsiteX52" fmla="*/ 8518167 w 9144000"/>
              <a:gd name="connsiteY52" fmla="*/ 5440648 h 5745162"/>
              <a:gd name="connsiteX53" fmla="*/ 8469892 w 9144000"/>
              <a:gd name="connsiteY53" fmla="*/ 5440648 h 5745162"/>
              <a:gd name="connsiteX54" fmla="*/ 8387913 w 9144000"/>
              <a:gd name="connsiteY54" fmla="*/ 5440615 h 5745162"/>
              <a:gd name="connsiteX55" fmla="*/ 8365286 w 9144000"/>
              <a:gd name="connsiteY55" fmla="*/ 5444841 h 5745162"/>
              <a:gd name="connsiteX56" fmla="*/ 8357150 w 9144000"/>
              <a:gd name="connsiteY56" fmla="*/ 5448968 h 5745162"/>
              <a:gd name="connsiteX57" fmla="*/ 8332784 w 9144000"/>
              <a:gd name="connsiteY57" fmla="*/ 5500534 h 5745162"/>
              <a:gd name="connsiteX58" fmla="*/ 8336389 w 9144000"/>
              <a:gd name="connsiteY58" fmla="*/ 5517014 h 5745162"/>
              <a:gd name="connsiteX59" fmla="*/ 8364431 w 9144000"/>
              <a:gd name="connsiteY59" fmla="*/ 5545747 h 5745162"/>
              <a:gd name="connsiteX60" fmla="*/ 8386916 w 9144000"/>
              <a:gd name="connsiteY60" fmla="*/ 5549973 h 5745162"/>
              <a:gd name="connsiteX61" fmla="*/ 8409486 w 9144000"/>
              <a:gd name="connsiteY61" fmla="*/ 5545747 h 5745162"/>
              <a:gd name="connsiteX62" fmla="*/ 8426926 w 9144000"/>
              <a:gd name="connsiteY62" fmla="*/ 5534268 h 5745162"/>
              <a:gd name="connsiteX63" fmla="*/ 8438240 w 9144000"/>
              <a:gd name="connsiteY63" fmla="*/ 5517014 h 5745162"/>
              <a:gd name="connsiteX64" fmla="*/ 8442258 w 9144000"/>
              <a:gd name="connsiteY64" fmla="*/ 5495365 h 5745162"/>
              <a:gd name="connsiteX65" fmla="*/ 8438397 w 9144000"/>
              <a:gd name="connsiteY65" fmla="*/ 5473631 h 5745162"/>
              <a:gd name="connsiteX66" fmla="*/ 8427439 w 9144000"/>
              <a:gd name="connsiteY66" fmla="*/ 5456320 h 5745162"/>
              <a:gd name="connsiteX67" fmla="*/ 8410341 w 9144000"/>
              <a:gd name="connsiteY67" fmla="*/ 5444841 h 5745162"/>
              <a:gd name="connsiteX68" fmla="*/ 8387913 w 9144000"/>
              <a:gd name="connsiteY68" fmla="*/ 5440615 h 5745162"/>
              <a:gd name="connsiteX69" fmla="*/ 8245203 w 9144000"/>
              <a:gd name="connsiteY69" fmla="*/ 5440268 h 5745162"/>
              <a:gd name="connsiteX70" fmla="*/ 8261546 w 9144000"/>
              <a:gd name="connsiteY70" fmla="*/ 5474340 h 5745162"/>
              <a:gd name="connsiteX71" fmla="*/ 8288505 w 9144000"/>
              <a:gd name="connsiteY71" fmla="*/ 5474340 h 5745162"/>
              <a:gd name="connsiteX72" fmla="*/ 8274156 w 9144000"/>
              <a:gd name="connsiteY72" fmla="*/ 5440268 h 5745162"/>
              <a:gd name="connsiteX73" fmla="*/ 8325053 w 9144000"/>
              <a:gd name="connsiteY73" fmla="*/ 5440254 h 5745162"/>
              <a:gd name="connsiteX74" fmla="*/ 8299363 w 9144000"/>
              <a:gd name="connsiteY74" fmla="*/ 5499384 h 5745162"/>
              <a:gd name="connsiteX75" fmla="*/ 8292395 w 9144000"/>
              <a:gd name="connsiteY75" fmla="*/ 5483045 h 5745162"/>
              <a:gd name="connsiteX76" fmla="*/ 8265650 w 9144000"/>
              <a:gd name="connsiteY76" fmla="*/ 5483045 h 5745162"/>
              <a:gd name="connsiteX77" fmla="*/ 8297582 w 9144000"/>
              <a:gd name="connsiteY77" fmla="*/ 5549710 h 5745162"/>
              <a:gd name="connsiteX78" fmla="*/ 8300545 w 9144000"/>
              <a:gd name="connsiteY78" fmla="*/ 5549710 h 5745162"/>
              <a:gd name="connsiteX79" fmla="*/ 8352283 w 9144000"/>
              <a:gd name="connsiteY79" fmla="*/ 5440254 h 5745162"/>
              <a:gd name="connsiteX80" fmla="*/ 8704282 w 9144000"/>
              <a:gd name="connsiteY80" fmla="*/ 5402716 h 5745162"/>
              <a:gd name="connsiteX81" fmla="*/ 8704282 w 9144000"/>
              <a:gd name="connsiteY81" fmla="*/ 5577644 h 5745162"/>
              <a:gd name="connsiteX82" fmla="*/ 8723671 w 9144000"/>
              <a:gd name="connsiteY82" fmla="*/ 5577644 h 5745162"/>
              <a:gd name="connsiteX83" fmla="*/ 8723671 w 9144000"/>
              <a:gd name="connsiteY83" fmla="*/ 5402716 h 5745162"/>
              <a:gd name="connsiteX84" fmla="*/ 0 w 9144000"/>
              <a:gd name="connsiteY84" fmla="*/ 0 h 5745162"/>
              <a:gd name="connsiteX85" fmla="*/ 9144000 w 9144000"/>
              <a:gd name="connsiteY85" fmla="*/ 0 h 5745162"/>
              <a:gd name="connsiteX86" fmla="*/ 9144000 w 9144000"/>
              <a:gd name="connsiteY86" fmla="*/ 5101843 h 5745162"/>
              <a:gd name="connsiteX87" fmla="*/ 9144000 w 9144000"/>
              <a:gd name="connsiteY87" fmla="*/ 5284313 h 5745162"/>
              <a:gd name="connsiteX88" fmla="*/ 9144000 w 9144000"/>
              <a:gd name="connsiteY88" fmla="*/ 5288954 h 5745162"/>
              <a:gd name="connsiteX89" fmla="*/ 9144000 w 9144000"/>
              <a:gd name="connsiteY89" fmla="*/ 5322124 h 5745162"/>
              <a:gd name="connsiteX90" fmla="*/ 9144000 w 9144000"/>
              <a:gd name="connsiteY90" fmla="*/ 5745162 h 5745162"/>
              <a:gd name="connsiteX91" fmla="*/ 8995529 w 9144000"/>
              <a:gd name="connsiteY91" fmla="*/ 5745162 h 5745162"/>
              <a:gd name="connsiteX92" fmla="*/ 7924718 w 9144000"/>
              <a:gd name="connsiteY92" fmla="*/ 5745162 h 5745162"/>
              <a:gd name="connsiteX93" fmla="*/ 0 w 9144000"/>
              <a:gd name="connsiteY93" fmla="*/ 5745162 h 5745162"/>
              <a:gd name="connsiteX94" fmla="*/ 0 w 9144000"/>
              <a:gd name="connsiteY94" fmla="*/ 5322124 h 5745162"/>
              <a:gd name="connsiteX95" fmla="*/ 0 w 9144000"/>
              <a:gd name="connsiteY95" fmla="*/ 5288954 h 5745162"/>
              <a:gd name="connsiteX96" fmla="*/ 0 w 9144000"/>
              <a:gd name="connsiteY96" fmla="*/ 5284313 h 5745162"/>
              <a:gd name="connsiteX97" fmla="*/ 0 w 9144000"/>
              <a:gd name="connsiteY97" fmla="*/ 5101843 h 57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144000" h="5745162">
                <a:moveTo>
                  <a:pt x="8381735" y="5463184"/>
                </a:moveTo>
                <a:cubicBezTo>
                  <a:pt x="8387385" y="5461991"/>
                  <a:pt x="8393413" y="5462547"/>
                  <a:pt x="8398942" y="5465039"/>
                </a:cubicBezTo>
                <a:cubicBezTo>
                  <a:pt x="8402361" y="5466657"/>
                  <a:pt x="8405396" y="5468970"/>
                  <a:pt x="8407847" y="5471828"/>
                </a:cubicBezTo>
                <a:cubicBezTo>
                  <a:pt x="8410387" y="5474885"/>
                  <a:pt x="8412320" y="5478388"/>
                  <a:pt x="8413547" y="5482153"/>
                </a:cubicBezTo>
                <a:cubicBezTo>
                  <a:pt x="8414952" y="5486417"/>
                  <a:pt x="8415640" y="5490880"/>
                  <a:pt x="8415584" y="5495365"/>
                </a:cubicBezTo>
                <a:cubicBezTo>
                  <a:pt x="8415665" y="5499797"/>
                  <a:pt x="8415011" y="5504213"/>
                  <a:pt x="8413646" y="5508436"/>
                </a:cubicBezTo>
                <a:cubicBezTo>
                  <a:pt x="8412411" y="5512218"/>
                  <a:pt x="8410478" y="5515742"/>
                  <a:pt x="8407947" y="5518831"/>
                </a:cubicBezTo>
                <a:cubicBezTo>
                  <a:pt x="8399972" y="5527877"/>
                  <a:pt x="8386928" y="5530662"/>
                  <a:pt x="8375887" y="5525676"/>
                </a:cubicBezTo>
                <a:cubicBezTo>
                  <a:pt x="8372423" y="5524073"/>
                  <a:pt x="8369358" y="5521736"/>
                  <a:pt x="8366910" y="5518831"/>
                </a:cubicBezTo>
                <a:cubicBezTo>
                  <a:pt x="8364379" y="5515742"/>
                  <a:pt x="8362446" y="5512218"/>
                  <a:pt x="8361211" y="5508436"/>
                </a:cubicBezTo>
                <a:cubicBezTo>
                  <a:pt x="8359769" y="5504225"/>
                  <a:pt x="8359038" y="5499809"/>
                  <a:pt x="8359045" y="5495365"/>
                </a:cubicBezTo>
                <a:cubicBezTo>
                  <a:pt x="8358993" y="5490879"/>
                  <a:pt x="8359686" y="5486416"/>
                  <a:pt x="8361097" y="5482153"/>
                </a:cubicBezTo>
                <a:cubicBezTo>
                  <a:pt x="8362323" y="5478388"/>
                  <a:pt x="8364257" y="5474885"/>
                  <a:pt x="8366796" y="5471828"/>
                </a:cubicBezTo>
                <a:cubicBezTo>
                  <a:pt x="8370813" y="5467320"/>
                  <a:pt x="8376085" y="5464377"/>
                  <a:pt x="8381735" y="5463184"/>
                </a:cubicBezTo>
                <a:close/>
                <a:moveTo>
                  <a:pt x="8525633" y="5440648"/>
                </a:moveTo>
                <a:lnTo>
                  <a:pt x="8525633" y="5486594"/>
                </a:lnTo>
                <a:lnTo>
                  <a:pt x="8525633" y="5549935"/>
                </a:lnTo>
                <a:lnTo>
                  <a:pt x="8595623" y="5549935"/>
                </a:lnTo>
                <a:lnTo>
                  <a:pt x="8596022" y="5549935"/>
                </a:lnTo>
                <a:lnTo>
                  <a:pt x="8596022" y="5532934"/>
                </a:lnTo>
                <a:lnTo>
                  <a:pt x="8595623" y="5532934"/>
                </a:lnTo>
                <a:lnTo>
                  <a:pt x="8595623" y="5526836"/>
                </a:lnTo>
                <a:lnTo>
                  <a:pt x="8551295" y="5526836"/>
                </a:lnTo>
                <a:lnTo>
                  <a:pt x="8551295" y="5505511"/>
                </a:lnTo>
                <a:lnTo>
                  <a:pt x="8591705" y="5505511"/>
                </a:lnTo>
                <a:lnTo>
                  <a:pt x="8591705" y="5483439"/>
                </a:lnTo>
                <a:lnTo>
                  <a:pt x="8551295" y="5483439"/>
                </a:lnTo>
                <a:lnTo>
                  <a:pt x="8551295" y="5463917"/>
                </a:lnTo>
                <a:lnTo>
                  <a:pt x="8595623" y="5463917"/>
                </a:lnTo>
                <a:lnTo>
                  <a:pt x="8595623" y="5457649"/>
                </a:lnTo>
                <a:lnTo>
                  <a:pt x="8596022" y="5457649"/>
                </a:lnTo>
                <a:lnTo>
                  <a:pt x="8596022" y="5440648"/>
                </a:lnTo>
                <a:lnTo>
                  <a:pt x="8595623" y="5440648"/>
                </a:lnTo>
                <a:lnTo>
                  <a:pt x="8547362" y="5440648"/>
                </a:lnTo>
                <a:close/>
                <a:moveTo>
                  <a:pt x="8448177" y="5440648"/>
                </a:moveTo>
                <a:lnTo>
                  <a:pt x="8448177" y="5486594"/>
                </a:lnTo>
                <a:lnTo>
                  <a:pt x="8448177" y="5549935"/>
                </a:lnTo>
                <a:lnTo>
                  <a:pt x="8518167" y="5549935"/>
                </a:lnTo>
                <a:lnTo>
                  <a:pt x="8518552" y="5549935"/>
                </a:lnTo>
                <a:lnTo>
                  <a:pt x="8518552" y="5532934"/>
                </a:lnTo>
                <a:lnTo>
                  <a:pt x="8518167" y="5532934"/>
                </a:lnTo>
                <a:lnTo>
                  <a:pt x="8518167" y="5526836"/>
                </a:lnTo>
                <a:lnTo>
                  <a:pt x="8473825" y="5526836"/>
                </a:lnTo>
                <a:lnTo>
                  <a:pt x="8473825" y="5505511"/>
                </a:lnTo>
                <a:lnTo>
                  <a:pt x="8514235" y="5505511"/>
                </a:lnTo>
                <a:lnTo>
                  <a:pt x="8514235" y="5483439"/>
                </a:lnTo>
                <a:lnTo>
                  <a:pt x="8473825" y="5483439"/>
                </a:lnTo>
                <a:lnTo>
                  <a:pt x="8473825" y="5463917"/>
                </a:lnTo>
                <a:lnTo>
                  <a:pt x="8518167" y="5463917"/>
                </a:lnTo>
                <a:lnTo>
                  <a:pt x="8518167" y="5457649"/>
                </a:lnTo>
                <a:lnTo>
                  <a:pt x="8518552" y="5457649"/>
                </a:lnTo>
                <a:lnTo>
                  <a:pt x="8518552" y="5440648"/>
                </a:lnTo>
                <a:lnTo>
                  <a:pt x="8518167" y="5440648"/>
                </a:lnTo>
                <a:lnTo>
                  <a:pt x="8469892" y="5440648"/>
                </a:lnTo>
                <a:close/>
                <a:moveTo>
                  <a:pt x="8387913" y="5440615"/>
                </a:moveTo>
                <a:cubicBezTo>
                  <a:pt x="8380162" y="5440531"/>
                  <a:pt x="8372471" y="5441967"/>
                  <a:pt x="8365286" y="5444841"/>
                </a:cubicBezTo>
                <a:cubicBezTo>
                  <a:pt x="8362463" y="5445992"/>
                  <a:pt x="8359742" y="5447373"/>
                  <a:pt x="8357150" y="5448968"/>
                </a:cubicBezTo>
                <a:lnTo>
                  <a:pt x="8332784" y="5500534"/>
                </a:lnTo>
                <a:cubicBezTo>
                  <a:pt x="8333178" y="5506170"/>
                  <a:pt x="8334392" y="5511720"/>
                  <a:pt x="8336389" y="5517014"/>
                </a:cubicBezTo>
                <a:cubicBezTo>
                  <a:pt x="8341193" y="5530088"/>
                  <a:pt x="8351385" y="5540532"/>
                  <a:pt x="8364431" y="5545747"/>
                </a:cubicBezTo>
                <a:cubicBezTo>
                  <a:pt x="8371564" y="5548631"/>
                  <a:pt x="8379210" y="5550068"/>
                  <a:pt x="8386916" y="5549973"/>
                </a:cubicBezTo>
                <a:cubicBezTo>
                  <a:pt x="8394648" y="5550060"/>
                  <a:pt x="8402321" y="5548624"/>
                  <a:pt x="8409486" y="5545747"/>
                </a:cubicBezTo>
                <a:cubicBezTo>
                  <a:pt x="8416013" y="5543105"/>
                  <a:pt x="8421943" y="5539203"/>
                  <a:pt x="8426926" y="5534268"/>
                </a:cubicBezTo>
                <a:cubicBezTo>
                  <a:pt x="8431850" y="5529341"/>
                  <a:pt x="8435700" y="5523468"/>
                  <a:pt x="8438240" y="5517014"/>
                </a:cubicBezTo>
                <a:cubicBezTo>
                  <a:pt x="8440974" y="5510120"/>
                  <a:pt x="8442338" y="5502769"/>
                  <a:pt x="8442258" y="5495365"/>
                </a:cubicBezTo>
                <a:cubicBezTo>
                  <a:pt x="8442328" y="5487947"/>
                  <a:pt x="8441019" y="5480581"/>
                  <a:pt x="8438397" y="5473631"/>
                </a:cubicBezTo>
                <a:cubicBezTo>
                  <a:pt x="8435967" y="5467187"/>
                  <a:pt x="8432239" y="5461298"/>
                  <a:pt x="8427439" y="5456320"/>
                </a:cubicBezTo>
                <a:cubicBezTo>
                  <a:pt x="8422597" y="5451374"/>
                  <a:pt x="8416777" y="5447467"/>
                  <a:pt x="8410341" y="5444841"/>
                </a:cubicBezTo>
                <a:cubicBezTo>
                  <a:pt x="8403230" y="5441951"/>
                  <a:pt x="8395601" y="5440514"/>
                  <a:pt x="8387913" y="5440615"/>
                </a:cubicBezTo>
                <a:close/>
                <a:moveTo>
                  <a:pt x="8245203" y="5440268"/>
                </a:moveTo>
                <a:lnTo>
                  <a:pt x="8261546" y="5474340"/>
                </a:lnTo>
                <a:lnTo>
                  <a:pt x="8288505" y="5474340"/>
                </a:lnTo>
                <a:lnTo>
                  <a:pt x="8274156" y="5440268"/>
                </a:lnTo>
                <a:close/>
                <a:moveTo>
                  <a:pt x="8325053" y="5440254"/>
                </a:moveTo>
                <a:lnTo>
                  <a:pt x="8299363" y="5499384"/>
                </a:lnTo>
                <a:lnTo>
                  <a:pt x="8292395" y="5483045"/>
                </a:lnTo>
                <a:lnTo>
                  <a:pt x="8265650" y="5483045"/>
                </a:lnTo>
                <a:lnTo>
                  <a:pt x="8297582" y="5549710"/>
                </a:lnTo>
                <a:lnTo>
                  <a:pt x="8300545" y="5549710"/>
                </a:lnTo>
                <a:lnTo>
                  <a:pt x="8352283" y="5440254"/>
                </a:lnTo>
                <a:close/>
                <a:moveTo>
                  <a:pt x="8704282" y="5402716"/>
                </a:moveTo>
                <a:lnTo>
                  <a:pt x="8704282" y="5577644"/>
                </a:lnTo>
                <a:lnTo>
                  <a:pt x="8723671" y="5577644"/>
                </a:lnTo>
                <a:lnTo>
                  <a:pt x="8723671" y="5402716"/>
                </a:lnTo>
                <a:close/>
                <a:moveTo>
                  <a:pt x="0" y="0"/>
                </a:moveTo>
                <a:lnTo>
                  <a:pt x="9144000" y="0"/>
                </a:lnTo>
                <a:lnTo>
                  <a:pt x="9144000" y="5101843"/>
                </a:lnTo>
                <a:lnTo>
                  <a:pt x="9144000" y="5284313"/>
                </a:lnTo>
                <a:lnTo>
                  <a:pt x="9144000" y="5288954"/>
                </a:lnTo>
                <a:lnTo>
                  <a:pt x="9144000" y="5322124"/>
                </a:lnTo>
                <a:lnTo>
                  <a:pt x="9144000" y="5745162"/>
                </a:lnTo>
                <a:lnTo>
                  <a:pt x="8995529" y="5745162"/>
                </a:lnTo>
                <a:lnTo>
                  <a:pt x="7924718" y="5745162"/>
                </a:lnTo>
                <a:lnTo>
                  <a:pt x="0" y="5745162"/>
                </a:lnTo>
                <a:lnTo>
                  <a:pt x="0" y="5322124"/>
                </a:lnTo>
                <a:lnTo>
                  <a:pt x="0" y="5288954"/>
                </a:lnTo>
                <a:lnTo>
                  <a:pt x="0" y="5284313"/>
                </a:lnTo>
                <a:lnTo>
                  <a:pt x="0" y="5101843"/>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 Drag image onto slide to add photo </a:t>
            </a:r>
          </a:p>
        </p:txBody>
      </p:sp>
      <p:sp>
        <p:nvSpPr>
          <p:cNvPr id="200" name="First Content Placeholder">
            <a:extLst>
              <a:ext uri="{FF2B5EF4-FFF2-40B4-BE49-F238E27FC236}">
                <a16:creationId xmlns:a16="http://schemas.microsoft.com/office/drawing/2014/main" id="{630CB258-15BC-1643-9DB4-368468698F13}"/>
              </a:ext>
            </a:extLst>
          </p:cNvPr>
          <p:cNvSpPr>
            <a:spLocks noGrp="1"/>
          </p:cNvSpPr>
          <p:nvPr>
            <p:ph type="body" sz="quarter" idx="200"/>
          </p:nvPr>
        </p:nvSpPr>
        <p:spPr>
          <a:xfrm>
            <a:off x="0" y="1112838"/>
            <a:ext cx="6096000" cy="5745162"/>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63B11128-F69D-DC4E-8CD4-B5A9A92E8D6E}"/>
              </a:ext>
            </a:extLst>
          </p:cNvPr>
          <p:cNvSpPr>
            <a:spLocks noGrp="1"/>
          </p:cNvSpPr>
          <p:nvPr>
            <p:ph type="title" hasCustomPrompt="1"/>
          </p:nvPr>
        </p:nvSpPr>
        <p:spPr/>
        <p:txBody>
          <a:bodyPr/>
          <a:lstStyle>
            <a:lvl1pPr>
              <a:defRPr/>
            </a:lvl1pPr>
          </a:lstStyle>
          <a:p>
            <a:r>
              <a:rPr lang="en-US" dirty="0"/>
              <a:t>CLICK TO ADD Slide TITLE. ALL CAPS. TWO LINES max.</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575733" y="6200775"/>
            <a:ext cx="4934115"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2" name="Date Placeholder 1">
            <a:extLst>
              <a:ext uri="{FF2B5EF4-FFF2-40B4-BE49-F238E27FC236}">
                <a16:creationId xmlns:a16="http://schemas.microsoft.com/office/drawing/2014/main" id="{F97A898C-B866-B14B-9178-5A34D2335457}"/>
              </a:ext>
            </a:extLst>
          </p:cNvPr>
          <p:cNvSpPr>
            <a:spLocks noGrp="1"/>
          </p:cNvSpPr>
          <p:nvPr>
            <p:ph type="dt" sz="half" idx="110"/>
          </p:nvPr>
        </p:nvSpPr>
        <p:spPr/>
        <p:txBody>
          <a:bodyPr/>
          <a:lstStyle/>
          <a:p>
            <a:endParaRPr lang="en-US" dirty="0"/>
          </a:p>
        </p:txBody>
      </p:sp>
      <p:sp>
        <p:nvSpPr>
          <p:cNvPr id="5" name="Footer Placeholder 4">
            <a:extLst>
              <a:ext uri="{FF2B5EF4-FFF2-40B4-BE49-F238E27FC236}">
                <a16:creationId xmlns:a16="http://schemas.microsoft.com/office/drawing/2014/main" id="{26F97896-B943-434D-88CF-4C1DD9A124EB}"/>
              </a:ext>
            </a:extLst>
          </p:cNvPr>
          <p:cNvSpPr>
            <a:spLocks noGrp="1"/>
          </p:cNvSpPr>
          <p:nvPr>
            <p:ph type="ftr" sz="quarter" idx="111"/>
          </p:nvPr>
        </p:nvSpPr>
        <p:spPr/>
        <p:txBody>
          <a:bodyPr/>
          <a:lstStyle/>
          <a:p>
            <a:endParaRPr lang="en-US" dirty="0"/>
          </a:p>
        </p:txBody>
      </p:sp>
      <p:sp>
        <p:nvSpPr>
          <p:cNvPr id="500" name="Caption">
            <a:extLst>
              <a:ext uri="{FF2B5EF4-FFF2-40B4-BE49-F238E27FC236}">
                <a16:creationId xmlns:a16="http://schemas.microsoft.com/office/drawing/2014/main" id="{FD347B14-43C4-154A-92C4-BB860714839D}"/>
              </a:ext>
            </a:extLst>
          </p:cNvPr>
          <p:cNvSpPr>
            <a:spLocks noGrp="1"/>
          </p:cNvSpPr>
          <p:nvPr>
            <p:ph type="body" sz="quarter" idx="500" hasCustomPrompt="1"/>
          </p:nvPr>
        </p:nvSpPr>
        <p:spPr>
          <a:xfrm>
            <a:off x="7947046" y="6200776"/>
            <a:ext cx="3657167"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48" name="Slide Number Placeholder 3">
            <a:extLst>
              <a:ext uri="{FF2B5EF4-FFF2-40B4-BE49-F238E27FC236}">
                <a16:creationId xmlns:a16="http://schemas.microsoft.com/office/drawing/2014/main" id="{92E106F0-9484-5947-ACF2-FD796A463D32}"/>
              </a:ext>
            </a:extLst>
          </p:cNvPr>
          <p:cNvSpPr>
            <a:spLocks noGrp="1"/>
          </p:cNvSpPr>
          <p:nvPr userDrawn="1">
            <p:ph type="sldNum" sz="quarter" idx="112"/>
          </p:nvPr>
        </p:nvSpPr>
        <p:spPr>
          <a:xfrm>
            <a:off x="11720052" y="6516149"/>
            <a:ext cx="467272" cy="174625"/>
          </a:xfrm>
          <a:noFill/>
        </p:spPr>
        <p:txBody>
          <a:bodyPr/>
          <a:lstStyle>
            <a:lvl1pPr>
              <a:defRPr>
                <a:solidFill>
                  <a:schemeClr val="bg1"/>
                </a:solidFill>
              </a:defRPr>
            </a:lvl1pPr>
          </a:lstStyle>
          <a:p>
            <a:pPr marL="12700"/>
            <a:fld id="{078C017C-E1B9-8443-B047-B08AAA027B45}" type="slidenum">
              <a:rPr lang="en-US" smtClean="0"/>
              <a:pPr marL="12700"/>
              <a:t>‹#›</a:t>
            </a:fld>
            <a:endParaRPr lang="en-US" dirty="0"/>
          </a:p>
        </p:txBody>
      </p:sp>
      <p:grpSp>
        <p:nvGrpSpPr>
          <p:cNvPr id="6" name="Group 5">
            <a:extLst>
              <a:ext uri="{FF2B5EF4-FFF2-40B4-BE49-F238E27FC236}">
                <a16:creationId xmlns:a16="http://schemas.microsoft.com/office/drawing/2014/main" id="{B104F9D3-21BC-F941-8399-CF9E0BBD5283}"/>
              </a:ext>
            </a:extLst>
          </p:cNvPr>
          <p:cNvGrpSpPr/>
          <p:nvPr userDrawn="1"/>
        </p:nvGrpSpPr>
        <p:grpSpPr>
          <a:xfrm>
            <a:off x="12532244" y="-2"/>
            <a:ext cx="3948953" cy="11187339"/>
            <a:chOff x="9399182" y="-2"/>
            <a:chExt cx="2961715" cy="11187339"/>
          </a:xfrm>
        </p:grpSpPr>
        <p:sp>
          <p:nvSpPr>
            <p:cNvPr id="45" name="Rectangle 44">
              <a:extLst>
                <a:ext uri="{FF2B5EF4-FFF2-40B4-BE49-F238E27FC236}">
                  <a16:creationId xmlns:a16="http://schemas.microsoft.com/office/drawing/2014/main" id="{E43CC0CC-412F-694E-BA2F-CCF91349B581}"/>
                </a:ext>
              </a:extLst>
            </p:cNvPr>
            <p:cNvSpPr/>
            <p:nvPr userDrawn="1"/>
          </p:nvSpPr>
          <p:spPr>
            <a:xfrm>
              <a:off x="9399182" y="-2"/>
              <a:ext cx="2798651" cy="1101500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46" name="Picture 45">
              <a:extLst>
                <a:ext uri="{FF2B5EF4-FFF2-40B4-BE49-F238E27FC236}">
                  <a16:creationId xmlns:a16="http://schemas.microsoft.com/office/drawing/2014/main" id="{EA9F5F80-B9F9-0F44-B698-DF454AA644DD}"/>
                </a:ext>
              </a:extLst>
            </p:cNvPr>
            <p:cNvPicPr>
              <a:picLocks noChangeAspect="1"/>
            </p:cNvPicPr>
            <p:nvPr userDrawn="1"/>
          </p:nvPicPr>
          <p:blipFill rotWithShape="1">
            <a:blip r:embed="rId2"/>
            <a:srcRect t="17021" r="58309" b="16813"/>
            <a:stretch/>
          </p:blipFill>
          <p:spPr>
            <a:xfrm>
              <a:off x="9558505" y="1321569"/>
              <a:ext cx="2639327" cy="1095417"/>
            </a:xfrm>
            <a:prstGeom prst="rect">
              <a:avLst/>
            </a:prstGeom>
          </p:spPr>
        </p:pic>
        <p:sp>
          <p:nvSpPr>
            <p:cNvPr id="47" name="Rectangle 46">
              <a:extLst>
                <a:ext uri="{FF2B5EF4-FFF2-40B4-BE49-F238E27FC236}">
                  <a16:creationId xmlns:a16="http://schemas.microsoft.com/office/drawing/2014/main" id="{6BB1AE2B-CA0A-8D42-82DE-43E63DE4AC0D}"/>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1" name="TextBox 50">
              <a:extLst>
                <a:ext uri="{FF2B5EF4-FFF2-40B4-BE49-F238E27FC236}">
                  <a16:creationId xmlns:a16="http://schemas.microsoft.com/office/drawing/2014/main" id="{9AB55C23-AD36-AE4E-9421-68AD42E3CAAC}"/>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3" name="Picture 52">
              <a:extLst>
                <a:ext uri="{FF2B5EF4-FFF2-40B4-BE49-F238E27FC236}">
                  <a16:creationId xmlns:a16="http://schemas.microsoft.com/office/drawing/2014/main" id="{1108CC98-FEA9-DC4C-807D-C762CA96FAAF}"/>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03" name="TextBox 102">
              <a:extLst>
                <a:ext uri="{FF2B5EF4-FFF2-40B4-BE49-F238E27FC236}">
                  <a16:creationId xmlns:a16="http://schemas.microsoft.com/office/drawing/2014/main" id="{12194029-9A74-1343-8288-8CF894102496}"/>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104" name="Straight Connector 103">
              <a:extLst>
                <a:ext uri="{FF2B5EF4-FFF2-40B4-BE49-F238E27FC236}">
                  <a16:creationId xmlns:a16="http://schemas.microsoft.com/office/drawing/2014/main" id="{E41EA862-645E-0F49-9B37-60C68EF7C6A8}"/>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196F6A19-D6A3-6947-9A53-F14EEAE75208}"/>
                </a:ext>
              </a:extLst>
            </p:cNvPr>
            <p:cNvGrpSpPr/>
            <p:nvPr userDrawn="1"/>
          </p:nvGrpSpPr>
          <p:grpSpPr>
            <a:xfrm>
              <a:off x="9521833" y="3751281"/>
              <a:ext cx="2754815" cy="7436056"/>
              <a:chOff x="9521833" y="2531409"/>
              <a:chExt cx="2754815" cy="7436056"/>
            </a:xfrm>
          </p:grpSpPr>
          <p:sp>
            <p:nvSpPr>
              <p:cNvPr id="54" name="TextBox 53">
                <a:extLst>
                  <a:ext uri="{FF2B5EF4-FFF2-40B4-BE49-F238E27FC236}">
                    <a16:creationId xmlns:a16="http://schemas.microsoft.com/office/drawing/2014/main" id="{A4D10D26-A257-FE41-BFB0-8F5ED90CC342}"/>
                  </a:ext>
                </a:extLst>
              </p:cNvPr>
              <p:cNvSpPr txBox="1"/>
              <p:nvPr userDrawn="1"/>
            </p:nvSpPr>
            <p:spPr>
              <a:xfrm>
                <a:off x="9558507" y="3953640"/>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55" name="Straight Connector 54">
                <a:extLst>
                  <a:ext uri="{FF2B5EF4-FFF2-40B4-BE49-F238E27FC236}">
                    <a16:creationId xmlns:a16="http://schemas.microsoft.com/office/drawing/2014/main" id="{CCBA4925-27F7-0840-AB2A-43828EF3AD6C}"/>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586850C-9180-FA4E-968E-FF19A860A64D}"/>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sp>
            <p:nvSpPr>
              <p:cNvPr id="61" name="Rectangle 60">
                <a:extLst>
                  <a:ext uri="{FF2B5EF4-FFF2-40B4-BE49-F238E27FC236}">
                    <a16:creationId xmlns:a16="http://schemas.microsoft.com/office/drawing/2014/main" id="{6261B6DE-3D1B-B646-8CA5-3B37F32A674F}"/>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2" name="TextBox 61">
                <a:extLst>
                  <a:ext uri="{FF2B5EF4-FFF2-40B4-BE49-F238E27FC236}">
                    <a16:creationId xmlns:a16="http://schemas.microsoft.com/office/drawing/2014/main" id="{B35D847C-FBAE-9141-80AA-E929009454B3}"/>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73" name="Graphic 72">
                <a:extLst>
                  <a:ext uri="{FF2B5EF4-FFF2-40B4-BE49-F238E27FC236}">
                    <a16:creationId xmlns:a16="http://schemas.microsoft.com/office/drawing/2014/main" id="{7E3A8F17-D7F3-FB43-8FFE-8437E55D771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74" name="TextBox 73">
                <a:extLst>
                  <a:ext uri="{FF2B5EF4-FFF2-40B4-BE49-F238E27FC236}">
                    <a16:creationId xmlns:a16="http://schemas.microsoft.com/office/drawing/2014/main" id="{3F05BF82-935B-0D48-A2E9-BD0093B49F2C}"/>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8" name="TextBox 77">
                <a:extLst>
                  <a:ext uri="{FF2B5EF4-FFF2-40B4-BE49-F238E27FC236}">
                    <a16:creationId xmlns:a16="http://schemas.microsoft.com/office/drawing/2014/main" id="{B65235D7-20FA-AA4C-B70A-258CF74C09E1}"/>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9" name="TextBox 78">
                <a:extLst>
                  <a:ext uri="{FF2B5EF4-FFF2-40B4-BE49-F238E27FC236}">
                    <a16:creationId xmlns:a16="http://schemas.microsoft.com/office/drawing/2014/main" id="{27581D51-2E99-9242-ABB1-C15D65232A7A}"/>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85" name="Rectangle 84">
                <a:extLst>
                  <a:ext uri="{FF2B5EF4-FFF2-40B4-BE49-F238E27FC236}">
                    <a16:creationId xmlns:a16="http://schemas.microsoft.com/office/drawing/2014/main" id="{C5CEAEDC-18E3-9E45-9236-4044DE7F605B}"/>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6" name="TextBox 85">
                <a:extLst>
                  <a:ext uri="{FF2B5EF4-FFF2-40B4-BE49-F238E27FC236}">
                    <a16:creationId xmlns:a16="http://schemas.microsoft.com/office/drawing/2014/main" id="{8CF43F75-DCAC-3A4B-856C-20394D3967E0}"/>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7" name="Graphic 86">
                <a:extLst>
                  <a:ext uri="{FF2B5EF4-FFF2-40B4-BE49-F238E27FC236}">
                    <a16:creationId xmlns:a16="http://schemas.microsoft.com/office/drawing/2014/main" id="{757374C0-8D98-8A47-BE70-BB1D3E4F133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89" name="TextBox 88">
                <a:extLst>
                  <a:ext uri="{FF2B5EF4-FFF2-40B4-BE49-F238E27FC236}">
                    <a16:creationId xmlns:a16="http://schemas.microsoft.com/office/drawing/2014/main" id="{7E869158-45ED-B645-9955-8A67BA7702F6}"/>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90" name="Picture 89">
                <a:extLst>
                  <a:ext uri="{FF2B5EF4-FFF2-40B4-BE49-F238E27FC236}">
                    <a16:creationId xmlns:a16="http://schemas.microsoft.com/office/drawing/2014/main" id="{BC30FFF4-CDB9-3B4D-9B7E-D33DD4F29647}"/>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91" name="TextBox 90">
                <a:extLst>
                  <a:ext uri="{FF2B5EF4-FFF2-40B4-BE49-F238E27FC236}">
                    <a16:creationId xmlns:a16="http://schemas.microsoft.com/office/drawing/2014/main" id="{248967FA-A69C-BF4E-83CA-ACF61244C965}"/>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2" name="TextBox 91">
                <a:extLst>
                  <a:ext uri="{FF2B5EF4-FFF2-40B4-BE49-F238E27FC236}">
                    <a16:creationId xmlns:a16="http://schemas.microsoft.com/office/drawing/2014/main" id="{28A219F0-9820-E94D-9B0B-FC1451A729F1}"/>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7" name="TextBox 96">
                <a:extLst>
                  <a:ext uri="{FF2B5EF4-FFF2-40B4-BE49-F238E27FC236}">
                    <a16:creationId xmlns:a16="http://schemas.microsoft.com/office/drawing/2014/main" id="{6B1FFA28-D937-0546-81ED-6A667496097F}"/>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sp>
            <p:nvSpPr>
              <p:cNvPr id="98" name="TextBox 97">
                <a:extLst>
                  <a:ext uri="{FF2B5EF4-FFF2-40B4-BE49-F238E27FC236}">
                    <a16:creationId xmlns:a16="http://schemas.microsoft.com/office/drawing/2014/main" id="{68994775-7F6D-024C-A545-1FD8DA0B5066}"/>
                  </a:ext>
                </a:extLst>
              </p:cNvPr>
              <p:cNvSpPr txBox="1"/>
              <p:nvPr userDrawn="1"/>
            </p:nvSpPr>
            <p:spPr>
              <a:xfrm>
                <a:off x="9674267" y="5297872"/>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99" name="TextBox 98">
                <a:extLst>
                  <a:ext uri="{FF2B5EF4-FFF2-40B4-BE49-F238E27FC236}">
                    <a16:creationId xmlns:a16="http://schemas.microsoft.com/office/drawing/2014/main" id="{AC1A251F-EFCC-D040-AD73-5A844F6C8923}"/>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00" name="TextBox 99">
                <a:extLst>
                  <a:ext uri="{FF2B5EF4-FFF2-40B4-BE49-F238E27FC236}">
                    <a16:creationId xmlns:a16="http://schemas.microsoft.com/office/drawing/2014/main" id="{0F0507AD-9F18-6D4E-9209-0C54CEF82012}"/>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02" name="TextBox 101">
                <a:extLst>
                  <a:ext uri="{FF2B5EF4-FFF2-40B4-BE49-F238E27FC236}">
                    <a16:creationId xmlns:a16="http://schemas.microsoft.com/office/drawing/2014/main" id="{4827295A-AD1C-9B4E-9832-4C95BEE1E2CF}"/>
                  </a:ext>
                </a:extLst>
              </p:cNvPr>
              <p:cNvSpPr txBox="1"/>
              <p:nvPr userDrawn="1"/>
            </p:nvSpPr>
            <p:spPr>
              <a:xfrm>
                <a:off x="9674267" y="6863782"/>
                <a:ext cx="2374733"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05" name="Rectangle 104">
                <a:extLst>
                  <a:ext uri="{FF2B5EF4-FFF2-40B4-BE49-F238E27FC236}">
                    <a16:creationId xmlns:a16="http://schemas.microsoft.com/office/drawing/2014/main" id="{6C8F933F-D9D9-7549-9AF5-2C614E0FD4B9}"/>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6" name="TextBox 105">
                <a:extLst>
                  <a:ext uri="{FF2B5EF4-FFF2-40B4-BE49-F238E27FC236}">
                    <a16:creationId xmlns:a16="http://schemas.microsoft.com/office/drawing/2014/main" id="{BFF57C2F-17D2-C542-9688-994363166A69}"/>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07" name="Graphic 106">
                <a:extLst>
                  <a:ext uri="{FF2B5EF4-FFF2-40B4-BE49-F238E27FC236}">
                    <a16:creationId xmlns:a16="http://schemas.microsoft.com/office/drawing/2014/main" id="{8F010FD2-F208-734E-83F5-73F06D91019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08" name="TextBox 107">
                <a:extLst>
                  <a:ext uri="{FF2B5EF4-FFF2-40B4-BE49-F238E27FC236}">
                    <a16:creationId xmlns:a16="http://schemas.microsoft.com/office/drawing/2014/main" id="{FE457EE7-A96E-FF4C-93C4-103A4656AC92}"/>
                  </a:ext>
                </a:extLst>
              </p:cNvPr>
              <p:cNvSpPr txBox="1"/>
              <p:nvPr userDrawn="1"/>
            </p:nvSpPr>
            <p:spPr>
              <a:xfrm>
                <a:off x="9701720" y="2924393"/>
                <a:ext cx="2214055" cy="53707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nvGrpSpPr>
            <p:cNvPr id="3" name="Group 2">
              <a:extLst>
                <a:ext uri="{FF2B5EF4-FFF2-40B4-BE49-F238E27FC236}">
                  <a16:creationId xmlns:a16="http://schemas.microsoft.com/office/drawing/2014/main" id="{0F981F28-9C61-BC4E-BB91-07F303CF4C2D}"/>
                </a:ext>
              </a:extLst>
            </p:cNvPr>
            <p:cNvGrpSpPr/>
            <p:nvPr userDrawn="1"/>
          </p:nvGrpSpPr>
          <p:grpSpPr>
            <a:xfrm>
              <a:off x="9540503" y="2468708"/>
              <a:ext cx="2806644" cy="1181890"/>
              <a:chOff x="9554253" y="2414886"/>
              <a:chExt cx="2806644" cy="1181890"/>
            </a:xfrm>
          </p:grpSpPr>
          <p:grpSp>
            <p:nvGrpSpPr>
              <p:cNvPr id="58" name="Group 57">
                <a:extLst>
                  <a:ext uri="{FF2B5EF4-FFF2-40B4-BE49-F238E27FC236}">
                    <a16:creationId xmlns:a16="http://schemas.microsoft.com/office/drawing/2014/main" id="{0DF2DCCF-DC2F-E347-A31C-CDF68A9AF8AC}"/>
                  </a:ext>
                </a:extLst>
              </p:cNvPr>
              <p:cNvGrpSpPr/>
              <p:nvPr userDrawn="1"/>
            </p:nvGrpSpPr>
            <p:grpSpPr>
              <a:xfrm>
                <a:off x="9554253" y="2414886"/>
                <a:ext cx="2735150" cy="1181890"/>
                <a:chOff x="9541498" y="3751132"/>
                <a:chExt cx="2735150" cy="1181890"/>
              </a:xfrm>
            </p:grpSpPr>
            <p:grpSp>
              <p:nvGrpSpPr>
                <p:cNvPr id="60" name="Group 59">
                  <a:extLst>
                    <a:ext uri="{FF2B5EF4-FFF2-40B4-BE49-F238E27FC236}">
                      <a16:creationId xmlns:a16="http://schemas.microsoft.com/office/drawing/2014/main" id="{672EE88A-201E-864B-915E-E26EB55300E2}"/>
                    </a:ext>
                  </a:extLst>
                </p:cNvPr>
                <p:cNvGrpSpPr/>
                <p:nvPr userDrawn="1"/>
              </p:nvGrpSpPr>
              <p:grpSpPr>
                <a:xfrm>
                  <a:off x="9541498" y="3751132"/>
                  <a:ext cx="2735150" cy="1181890"/>
                  <a:chOff x="9296568" y="4910411"/>
                  <a:chExt cx="2735150" cy="1181890"/>
                </a:xfrm>
              </p:grpSpPr>
              <p:sp>
                <p:nvSpPr>
                  <p:cNvPr id="64" name="Rectangle 63">
                    <a:extLst>
                      <a:ext uri="{FF2B5EF4-FFF2-40B4-BE49-F238E27FC236}">
                        <a16:creationId xmlns:a16="http://schemas.microsoft.com/office/drawing/2014/main" id="{1ACA2DCD-6D06-6E48-ADC7-E4700B8E7ED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5" name="TextBox 64">
                    <a:extLst>
                      <a:ext uri="{FF2B5EF4-FFF2-40B4-BE49-F238E27FC236}">
                        <a16:creationId xmlns:a16="http://schemas.microsoft.com/office/drawing/2014/main" id="{766699C1-6810-F840-B15E-9FDBF86672FE}"/>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6" name="TextBox 65">
                    <a:extLst>
                      <a:ext uri="{FF2B5EF4-FFF2-40B4-BE49-F238E27FC236}">
                        <a16:creationId xmlns:a16="http://schemas.microsoft.com/office/drawing/2014/main" id="{46B5DD35-B22A-0445-8540-375CCBA7046C}"/>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3" name="Graphic 62">
                  <a:extLst>
                    <a:ext uri="{FF2B5EF4-FFF2-40B4-BE49-F238E27FC236}">
                      <a16:creationId xmlns:a16="http://schemas.microsoft.com/office/drawing/2014/main" id="{9D9E4893-D645-1746-AECB-65B57D82B9E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1" name="Picture 10">
                <a:extLst>
                  <a:ext uri="{FF2B5EF4-FFF2-40B4-BE49-F238E27FC236}">
                    <a16:creationId xmlns:a16="http://schemas.microsoft.com/office/drawing/2014/main" id="{670B2B87-7712-C049-9036-20C3AD85D78B}"/>
                  </a:ext>
                </a:extLst>
              </p:cNvPr>
              <p:cNvPicPr>
                <a:picLocks noChangeAspect="1"/>
              </p:cNvPicPr>
              <p:nvPr userDrawn="1"/>
            </p:nvPicPr>
            <p:blipFill rotWithShape="1">
              <a:blip r:embed="rId9"/>
              <a:srcRect t="5468" r="25071" b="3995"/>
              <a:stretch/>
            </p:blipFill>
            <p:spPr>
              <a:xfrm>
                <a:off x="10779975" y="2820522"/>
                <a:ext cx="1580922" cy="695279"/>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536790862"/>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Default Text Over Photo (Full)">
    <p:bg>
      <p:bgPr>
        <a:solidFill>
          <a:schemeClr val="bg1"/>
        </a:solidFill>
        <a:effectLst/>
      </p:bgPr>
    </p:bg>
    <p:spTree>
      <p:nvGrpSpPr>
        <p:cNvPr id="1" name=""/>
        <p:cNvGrpSpPr/>
        <p:nvPr/>
      </p:nvGrpSpPr>
      <p:grpSpPr>
        <a:xfrm>
          <a:off x="0" y="0"/>
          <a:ext cx="0" cy="0"/>
          <a:chOff x="0" y="0"/>
          <a:chExt cx="0" cy="0"/>
        </a:xfrm>
      </p:grpSpPr>
      <p:sp>
        <p:nvSpPr>
          <p:cNvPr id="143" name="TextBox 142">
            <a:extLst>
              <a:ext uri="{FF2B5EF4-FFF2-40B4-BE49-F238E27FC236}">
                <a16:creationId xmlns:a16="http://schemas.microsoft.com/office/drawing/2014/main" id="{46481346-5599-134A-9D85-7AA21E57226F}"/>
              </a:ext>
            </a:extLst>
          </p:cNvPr>
          <p:cNvSpPr txBox="1">
            <a:spLocks/>
          </p:cNvSpPr>
          <p:nvPr userDrawn="1"/>
        </p:nvSpPr>
        <p:spPr>
          <a:xfrm>
            <a:off x="0" y="6200777"/>
            <a:ext cx="12192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1400" dirty="0"/>
          </a:p>
        </p:txBody>
      </p:sp>
      <p:sp>
        <p:nvSpPr>
          <p:cNvPr id="102" name="Picture Placeholder 101">
            <a:extLst>
              <a:ext uri="{FF2B5EF4-FFF2-40B4-BE49-F238E27FC236}">
                <a16:creationId xmlns:a16="http://schemas.microsoft.com/office/drawing/2014/main" id="{FD73EF23-017D-BB49-A247-140CD91DD7D7}"/>
              </a:ext>
            </a:extLst>
          </p:cNvPr>
          <p:cNvSpPr>
            <a:spLocks noGrp="1"/>
          </p:cNvSpPr>
          <p:nvPr>
            <p:ph type="pic" sz="quarter" idx="10" hasCustomPrompt="1"/>
          </p:nvPr>
        </p:nvSpPr>
        <p:spPr>
          <a:xfrm>
            <a:off x="0" y="0"/>
            <a:ext cx="12192000" cy="6858000"/>
          </a:xfrm>
          <a:custGeom>
            <a:avLst/>
            <a:gdLst>
              <a:gd name="connsiteX0" fmla="*/ 8381735 w 9144000"/>
              <a:gd name="connsiteY0" fmla="*/ 6576022 h 6858000"/>
              <a:gd name="connsiteX1" fmla="*/ 8398942 w 9144000"/>
              <a:gd name="connsiteY1" fmla="*/ 6577877 h 6858000"/>
              <a:gd name="connsiteX2" fmla="*/ 8407847 w 9144000"/>
              <a:gd name="connsiteY2" fmla="*/ 6584666 h 6858000"/>
              <a:gd name="connsiteX3" fmla="*/ 8413547 w 9144000"/>
              <a:gd name="connsiteY3" fmla="*/ 6594991 h 6858000"/>
              <a:gd name="connsiteX4" fmla="*/ 8415584 w 9144000"/>
              <a:gd name="connsiteY4" fmla="*/ 6608203 h 6858000"/>
              <a:gd name="connsiteX5" fmla="*/ 8413646 w 9144000"/>
              <a:gd name="connsiteY5" fmla="*/ 6621274 h 6858000"/>
              <a:gd name="connsiteX6" fmla="*/ 8407947 w 9144000"/>
              <a:gd name="connsiteY6" fmla="*/ 6631669 h 6858000"/>
              <a:gd name="connsiteX7" fmla="*/ 8375887 w 9144000"/>
              <a:gd name="connsiteY7" fmla="*/ 6638514 h 6858000"/>
              <a:gd name="connsiteX8" fmla="*/ 8366910 w 9144000"/>
              <a:gd name="connsiteY8" fmla="*/ 6631669 h 6858000"/>
              <a:gd name="connsiteX9" fmla="*/ 8361211 w 9144000"/>
              <a:gd name="connsiteY9" fmla="*/ 6621274 h 6858000"/>
              <a:gd name="connsiteX10" fmla="*/ 8359045 w 9144000"/>
              <a:gd name="connsiteY10" fmla="*/ 6608203 h 6858000"/>
              <a:gd name="connsiteX11" fmla="*/ 8361097 w 9144000"/>
              <a:gd name="connsiteY11" fmla="*/ 6594991 h 6858000"/>
              <a:gd name="connsiteX12" fmla="*/ 8366796 w 9144000"/>
              <a:gd name="connsiteY12" fmla="*/ 6584666 h 6858000"/>
              <a:gd name="connsiteX13" fmla="*/ 8381735 w 9144000"/>
              <a:gd name="connsiteY13" fmla="*/ 6576022 h 6858000"/>
              <a:gd name="connsiteX14" fmla="*/ 8525633 w 9144000"/>
              <a:gd name="connsiteY14" fmla="*/ 6553486 h 6858000"/>
              <a:gd name="connsiteX15" fmla="*/ 8525633 w 9144000"/>
              <a:gd name="connsiteY15" fmla="*/ 6599432 h 6858000"/>
              <a:gd name="connsiteX16" fmla="*/ 8525633 w 9144000"/>
              <a:gd name="connsiteY16" fmla="*/ 6662773 h 6858000"/>
              <a:gd name="connsiteX17" fmla="*/ 8595623 w 9144000"/>
              <a:gd name="connsiteY17" fmla="*/ 6662773 h 6858000"/>
              <a:gd name="connsiteX18" fmla="*/ 8596022 w 9144000"/>
              <a:gd name="connsiteY18" fmla="*/ 6662773 h 6858000"/>
              <a:gd name="connsiteX19" fmla="*/ 8596022 w 9144000"/>
              <a:gd name="connsiteY19" fmla="*/ 6645772 h 6858000"/>
              <a:gd name="connsiteX20" fmla="*/ 8595623 w 9144000"/>
              <a:gd name="connsiteY20" fmla="*/ 6645772 h 6858000"/>
              <a:gd name="connsiteX21" fmla="*/ 8595623 w 9144000"/>
              <a:gd name="connsiteY21" fmla="*/ 6639674 h 6858000"/>
              <a:gd name="connsiteX22" fmla="*/ 8551295 w 9144000"/>
              <a:gd name="connsiteY22" fmla="*/ 6639674 h 6858000"/>
              <a:gd name="connsiteX23" fmla="*/ 8551295 w 9144000"/>
              <a:gd name="connsiteY23" fmla="*/ 6618349 h 6858000"/>
              <a:gd name="connsiteX24" fmla="*/ 8591705 w 9144000"/>
              <a:gd name="connsiteY24" fmla="*/ 6618349 h 6858000"/>
              <a:gd name="connsiteX25" fmla="*/ 8591705 w 9144000"/>
              <a:gd name="connsiteY25" fmla="*/ 6596277 h 6858000"/>
              <a:gd name="connsiteX26" fmla="*/ 8551295 w 9144000"/>
              <a:gd name="connsiteY26" fmla="*/ 6596277 h 6858000"/>
              <a:gd name="connsiteX27" fmla="*/ 8551295 w 9144000"/>
              <a:gd name="connsiteY27" fmla="*/ 6576755 h 6858000"/>
              <a:gd name="connsiteX28" fmla="*/ 8595623 w 9144000"/>
              <a:gd name="connsiteY28" fmla="*/ 6576755 h 6858000"/>
              <a:gd name="connsiteX29" fmla="*/ 8595623 w 9144000"/>
              <a:gd name="connsiteY29" fmla="*/ 6570487 h 6858000"/>
              <a:gd name="connsiteX30" fmla="*/ 8596022 w 9144000"/>
              <a:gd name="connsiteY30" fmla="*/ 6570487 h 6858000"/>
              <a:gd name="connsiteX31" fmla="*/ 8596022 w 9144000"/>
              <a:gd name="connsiteY31" fmla="*/ 6553486 h 6858000"/>
              <a:gd name="connsiteX32" fmla="*/ 8595623 w 9144000"/>
              <a:gd name="connsiteY32" fmla="*/ 6553486 h 6858000"/>
              <a:gd name="connsiteX33" fmla="*/ 8547362 w 9144000"/>
              <a:gd name="connsiteY33" fmla="*/ 6553486 h 6858000"/>
              <a:gd name="connsiteX34" fmla="*/ 8448177 w 9144000"/>
              <a:gd name="connsiteY34" fmla="*/ 6553486 h 6858000"/>
              <a:gd name="connsiteX35" fmla="*/ 8448177 w 9144000"/>
              <a:gd name="connsiteY35" fmla="*/ 6599432 h 6858000"/>
              <a:gd name="connsiteX36" fmla="*/ 8448177 w 9144000"/>
              <a:gd name="connsiteY36" fmla="*/ 6662773 h 6858000"/>
              <a:gd name="connsiteX37" fmla="*/ 8518167 w 9144000"/>
              <a:gd name="connsiteY37" fmla="*/ 6662773 h 6858000"/>
              <a:gd name="connsiteX38" fmla="*/ 8518552 w 9144000"/>
              <a:gd name="connsiteY38" fmla="*/ 6662773 h 6858000"/>
              <a:gd name="connsiteX39" fmla="*/ 8518552 w 9144000"/>
              <a:gd name="connsiteY39" fmla="*/ 6645772 h 6858000"/>
              <a:gd name="connsiteX40" fmla="*/ 8518167 w 9144000"/>
              <a:gd name="connsiteY40" fmla="*/ 6645772 h 6858000"/>
              <a:gd name="connsiteX41" fmla="*/ 8518167 w 9144000"/>
              <a:gd name="connsiteY41" fmla="*/ 6639674 h 6858000"/>
              <a:gd name="connsiteX42" fmla="*/ 8473825 w 9144000"/>
              <a:gd name="connsiteY42" fmla="*/ 6639674 h 6858000"/>
              <a:gd name="connsiteX43" fmla="*/ 8473825 w 9144000"/>
              <a:gd name="connsiteY43" fmla="*/ 6618349 h 6858000"/>
              <a:gd name="connsiteX44" fmla="*/ 8514235 w 9144000"/>
              <a:gd name="connsiteY44" fmla="*/ 6618349 h 6858000"/>
              <a:gd name="connsiteX45" fmla="*/ 8514235 w 9144000"/>
              <a:gd name="connsiteY45" fmla="*/ 6596277 h 6858000"/>
              <a:gd name="connsiteX46" fmla="*/ 8473825 w 9144000"/>
              <a:gd name="connsiteY46" fmla="*/ 6596277 h 6858000"/>
              <a:gd name="connsiteX47" fmla="*/ 8473825 w 9144000"/>
              <a:gd name="connsiteY47" fmla="*/ 6576755 h 6858000"/>
              <a:gd name="connsiteX48" fmla="*/ 8518167 w 9144000"/>
              <a:gd name="connsiteY48" fmla="*/ 6576755 h 6858000"/>
              <a:gd name="connsiteX49" fmla="*/ 8518167 w 9144000"/>
              <a:gd name="connsiteY49" fmla="*/ 6570487 h 6858000"/>
              <a:gd name="connsiteX50" fmla="*/ 8518552 w 9144000"/>
              <a:gd name="connsiteY50" fmla="*/ 6570487 h 6858000"/>
              <a:gd name="connsiteX51" fmla="*/ 8518552 w 9144000"/>
              <a:gd name="connsiteY51" fmla="*/ 6553486 h 6858000"/>
              <a:gd name="connsiteX52" fmla="*/ 8518167 w 9144000"/>
              <a:gd name="connsiteY52" fmla="*/ 6553486 h 6858000"/>
              <a:gd name="connsiteX53" fmla="*/ 8469892 w 9144000"/>
              <a:gd name="connsiteY53" fmla="*/ 6553486 h 6858000"/>
              <a:gd name="connsiteX54" fmla="*/ 8387913 w 9144000"/>
              <a:gd name="connsiteY54" fmla="*/ 6553453 h 6858000"/>
              <a:gd name="connsiteX55" fmla="*/ 8365286 w 9144000"/>
              <a:gd name="connsiteY55" fmla="*/ 6557679 h 6858000"/>
              <a:gd name="connsiteX56" fmla="*/ 8357150 w 9144000"/>
              <a:gd name="connsiteY56" fmla="*/ 6561806 h 6858000"/>
              <a:gd name="connsiteX57" fmla="*/ 8332784 w 9144000"/>
              <a:gd name="connsiteY57" fmla="*/ 6613372 h 6858000"/>
              <a:gd name="connsiteX58" fmla="*/ 8336389 w 9144000"/>
              <a:gd name="connsiteY58" fmla="*/ 6629852 h 6858000"/>
              <a:gd name="connsiteX59" fmla="*/ 8364431 w 9144000"/>
              <a:gd name="connsiteY59" fmla="*/ 6658585 h 6858000"/>
              <a:gd name="connsiteX60" fmla="*/ 8386916 w 9144000"/>
              <a:gd name="connsiteY60" fmla="*/ 6662811 h 6858000"/>
              <a:gd name="connsiteX61" fmla="*/ 8409486 w 9144000"/>
              <a:gd name="connsiteY61" fmla="*/ 6658585 h 6858000"/>
              <a:gd name="connsiteX62" fmla="*/ 8426926 w 9144000"/>
              <a:gd name="connsiteY62" fmla="*/ 6647106 h 6858000"/>
              <a:gd name="connsiteX63" fmla="*/ 8438240 w 9144000"/>
              <a:gd name="connsiteY63" fmla="*/ 6629852 h 6858000"/>
              <a:gd name="connsiteX64" fmla="*/ 8442258 w 9144000"/>
              <a:gd name="connsiteY64" fmla="*/ 6608203 h 6858000"/>
              <a:gd name="connsiteX65" fmla="*/ 8438397 w 9144000"/>
              <a:gd name="connsiteY65" fmla="*/ 6586469 h 6858000"/>
              <a:gd name="connsiteX66" fmla="*/ 8427439 w 9144000"/>
              <a:gd name="connsiteY66" fmla="*/ 6569158 h 6858000"/>
              <a:gd name="connsiteX67" fmla="*/ 8410341 w 9144000"/>
              <a:gd name="connsiteY67" fmla="*/ 6557679 h 6858000"/>
              <a:gd name="connsiteX68" fmla="*/ 8387913 w 9144000"/>
              <a:gd name="connsiteY68" fmla="*/ 6553453 h 6858000"/>
              <a:gd name="connsiteX69" fmla="*/ 8245203 w 9144000"/>
              <a:gd name="connsiteY69" fmla="*/ 6553106 h 6858000"/>
              <a:gd name="connsiteX70" fmla="*/ 8261546 w 9144000"/>
              <a:gd name="connsiteY70" fmla="*/ 6587178 h 6858000"/>
              <a:gd name="connsiteX71" fmla="*/ 8288505 w 9144000"/>
              <a:gd name="connsiteY71" fmla="*/ 6587178 h 6858000"/>
              <a:gd name="connsiteX72" fmla="*/ 8274156 w 9144000"/>
              <a:gd name="connsiteY72" fmla="*/ 6553106 h 6858000"/>
              <a:gd name="connsiteX73" fmla="*/ 8325053 w 9144000"/>
              <a:gd name="connsiteY73" fmla="*/ 6553092 h 6858000"/>
              <a:gd name="connsiteX74" fmla="*/ 8299363 w 9144000"/>
              <a:gd name="connsiteY74" fmla="*/ 6612222 h 6858000"/>
              <a:gd name="connsiteX75" fmla="*/ 8292395 w 9144000"/>
              <a:gd name="connsiteY75" fmla="*/ 6595883 h 6858000"/>
              <a:gd name="connsiteX76" fmla="*/ 8265650 w 9144000"/>
              <a:gd name="connsiteY76" fmla="*/ 6595883 h 6858000"/>
              <a:gd name="connsiteX77" fmla="*/ 8297582 w 9144000"/>
              <a:gd name="connsiteY77" fmla="*/ 6662548 h 6858000"/>
              <a:gd name="connsiteX78" fmla="*/ 8300545 w 9144000"/>
              <a:gd name="connsiteY78" fmla="*/ 6662548 h 6858000"/>
              <a:gd name="connsiteX79" fmla="*/ 8352283 w 9144000"/>
              <a:gd name="connsiteY79" fmla="*/ 6553092 h 6858000"/>
              <a:gd name="connsiteX80" fmla="*/ 8704282 w 9144000"/>
              <a:gd name="connsiteY80" fmla="*/ 6515554 h 6858000"/>
              <a:gd name="connsiteX81" fmla="*/ 8704282 w 9144000"/>
              <a:gd name="connsiteY81" fmla="*/ 6690482 h 6858000"/>
              <a:gd name="connsiteX82" fmla="*/ 8723671 w 9144000"/>
              <a:gd name="connsiteY82" fmla="*/ 6690482 h 6858000"/>
              <a:gd name="connsiteX83" fmla="*/ 8723671 w 9144000"/>
              <a:gd name="connsiteY83" fmla="*/ 6515554 h 6858000"/>
              <a:gd name="connsiteX84" fmla="*/ 0 w 9144000"/>
              <a:gd name="connsiteY84" fmla="*/ 0 h 6858000"/>
              <a:gd name="connsiteX85" fmla="*/ 9144000 w 9144000"/>
              <a:gd name="connsiteY85" fmla="*/ 0 h 6858000"/>
              <a:gd name="connsiteX86" fmla="*/ 9144000 w 9144000"/>
              <a:gd name="connsiteY86" fmla="*/ 6214681 h 6858000"/>
              <a:gd name="connsiteX87" fmla="*/ 9144000 w 9144000"/>
              <a:gd name="connsiteY87" fmla="*/ 6397151 h 6858000"/>
              <a:gd name="connsiteX88" fmla="*/ 9144000 w 9144000"/>
              <a:gd name="connsiteY88" fmla="*/ 6401792 h 6858000"/>
              <a:gd name="connsiteX89" fmla="*/ 9144000 w 9144000"/>
              <a:gd name="connsiteY89" fmla="*/ 6434962 h 6858000"/>
              <a:gd name="connsiteX90" fmla="*/ 9144000 w 9144000"/>
              <a:gd name="connsiteY90" fmla="*/ 6858000 h 6858000"/>
              <a:gd name="connsiteX91" fmla="*/ 8995529 w 9144000"/>
              <a:gd name="connsiteY91" fmla="*/ 6858000 h 6858000"/>
              <a:gd name="connsiteX92" fmla="*/ 7924718 w 9144000"/>
              <a:gd name="connsiteY92" fmla="*/ 6858000 h 6858000"/>
              <a:gd name="connsiteX93" fmla="*/ 0 w 9144000"/>
              <a:gd name="connsiteY93" fmla="*/ 6858000 h 6858000"/>
              <a:gd name="connsiteX94" fmla="*/ 0 w 9144000"/>
              <a:gd name="connsiteY94" fmla="*/ 6434962 h 6858000"/>
              <a:gd name="connsiteX95" fmla="*/ 0 w 9144000"/>
              <a:gd name="connsiteY95" fmla="*/ 6401792 h 6858000"/>
              <a:gd name="connsiteX96" fmla="*/ 0 w 9144000"/>
              <a:gd name="connsiteY96" fmla="*/ 6397151 h 6858000"/>
              <a:gd name="connsiteX97" fmla="*/ 0 w 9144000"/>
              <a:gd name="connsiteY97" fmla="*/ 62146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144000" h="6858000">
                <a:moveTo>
                  <a:pt x="8381735" y="6576022"/>
                </a:moveTo>
                <a:cubicBezTo>
                  <a:pt x="8387385" y="6574829"/>
                  <a:pt x="8393413" y="6575385"/>
                  <a:pt x="8398942" y="6577877"/>
                </a:cubicBezTo>
                <a:cubicBezTo>
                  <a:pt x="8402361" y="6579495"/>
                  <a:pt x="8405396" y="6581808"/>
                  <a:pt x="8407847" y="6584666"/>
                </a:cubicBezTo>
                <a:cubicBezTo>
                  <a:pt x="8410387" y="6587723"/>
                  <a:pt x="8412320" y="6591226"/>
                  <a:pt x="8413547" y="6594991"/>
                </a:cubicBezTo>
                <a:cubicBezTo>
                  <a:pt x="8414952" y="6599255"/>
                  <a:pt x="8415640" y="6603718"/>
                  <a:pt x="8415584" y="6608203"/>
                </a:cubicBezTo>
                <a:cubicBezTo>
                  <a:pt x="8415665" y="6612635"/>
                  <a:pt x="8415011" y="6617051"/>
                  <a:pt x="8413646" y="6621274"/>
                </a:cubicBezTo>
                <a:cubicBezTo>
                  <a:pt x="8412411" y="6625056"/>
                  <a:pt x="8410478" y="6628580"/>
                  <a:pt x="8407947" y="6631669"/>
                </a:cubicBezTo>
                <a:cubicBezTo>
                  <a:pt x="8399972" y="6640715"/>
                  <a:pt x="8386928" y="6643500"/>
                  <a:pt x="8375887" y="6638514"/>
                </a:cubicBezTo>
                <a:cubicBezTo>
                  <a:pt x="8372423" y="6636911"/>
                  <a:pt x="8369358" y="6634574"/>
                  <a:pt x="8366910" y="6631669"/>
                </a:cubicBezTo>
                <a:cubicBezTo>
                  <a:pt x="8364379" y="6628580"/>
                  <a:pt x="8362446" y="6625056"/>
                  <a:pt x="8361211" y="6621274"/>
                </a:cubicBezTo>
                <a:cubicBezTo>
                  <a:pt x="8359769" y="6617063"/>
                  <a:pt x="8359038" y="6612647"/>
                  <a:pt x="8359045" y="6608203"/>
                </a:cubicBezTo>
                <a:cubicBezTo>
                  <a:pt x="8358993" y="6603717"/>
                  <a:pt x="8359686" y="6599254"/>
                  <a:pt x="8361097" y="6594991"/>
                </a:cubicBezTo>
                <a:cubicBezTo>
                  <a:pt x="8362323" y="6591226"/>
                  <a:pt x="8364257" y="6587723"/>
                  <a:pt x="8366796" y="6584666"/>
                </a:cubicBezTo>
                <a:cubicBezTo>
                  <a:pt x="8370813" y="6580158"/>
                  <a:pt x="8376085" y="6577215"/>
                  <a:pt x="8381735" y="6576022"/>
                </a:cubicBezTo>
                <a:close/>
                <a:moveTo>
                  <a:pt x="8525633" y="6553486"/>
                </a:moveTo>
                <a:lnTo>
                  <a:pt x="8525633" y="6599432"/>
                </a:lnTo>
                <a:lnTo>
                  <a:pt x="8525633" y="6662773"/>
                </a:lnTo>
                <a:lnTo>
                  <a:pt x="8595623" y="6662773"/>
                </a:lnTo>
                <a:lnTo>
                  <a:pt x="8596022" y="6662773"/>
                </a:lnTo>
                <a:lnTo>
                  <a:pt x="8596022" y="6645772"/>
                </a:lnTo>
                <a:lnTo>
                  <a:pt x="8595623" y="6645772"/>
                </a:lnTo>
                <a:lnTo>
                  <a:pt x="8595623" y="6639674"/>
                </a:lnTo>
                <a:lnTo>
                  <a:pt x="8551295" y="6639674"/>
                </a:lnTo>
                <a:lnTo>
                  <a:pt x="8551295" y="6618349"/>
                </a:lnTo>
                <a:lnTo>
                  <a:pt x="8591705" y="6618349"/>
                </a:lnTo>
                <a:lnTo>
                  <a:pt x="8591705" y="6596277"/>
                </a:lnTo>
                <a:lnTo>
                  <a:pt x="8551295" y="6596277"/>
                </a:lnTo>
                <a:lnTo>
                  <a:pt x="8551295" y="6576755"/>
                </a:lnTo>
                <a:lnTo>
                  <a:pt x="8595623" y="6576755"/>
                </a:lnTo>
                <a:lnTo>
                  <a:pt x="8595623" y="6570487"/>
                </a:lnTo>
                <a:lnTo>
                  <a:pt x="8596022" y="6570487"/>
                </a:lnTo>
                <a:lnTo>
                  <a:pt x="8596022" y="6553486"/>
                </a:lnTo>
                <a:lnTo>
                  <a:pt x="8595623" y="6553486"/>
                </a:lnTo>
                <a:lnTo>
                  <a:pt x="8547362" y="6553486"/>
                </a:lnTo>
                <a:close/>
                <a:moveTo>
                  <a:pt x="8448177" y="6553486"/>
                </a:moveTo>
                <a:lnTo>
                  <a:pt x="8448177" y="6599432"/>
                </a:lnTo>
                <a:lnTo>
                  <a:pt x="8448177" y="6662773"/>
                </a:lnTo>
                <a:lnTo>
                  <a:pt x="8518167" y="6662773"/>
                </a:lnTo>
                <a:lnTo>
                  <a:pt x="8518552" y="6662773"/>
                </a:lnTo>
                <a:lnTo>
                  <a:pt x="8518552" y="6645772"/>
                </a:lnTo>
                <a:lnTo>
                  <a:pt x="8518167" y="6645772"/>
                </a:lnTo>
                <a:lnTo>
                  <a:pt x="8518167" y="6639674"/>
                </a:lnTo>
                <a:lnTo>
                  <a:pt x="8473825" y="6639674"/>
                </a:lnTo>
                <a:lnTo>
                  <a:pt x="8473825" y="6618349"/>
                </a:lnTo>
                <a:lnTo>
                  <a:pt x="8514235" y="6618349"/>
                </a:lnTo>
                <a:lnTo>
                  <a:pt x="8514235" y="6596277"/>
                </a:lnTo>
                <a:lnTo>
                  <a:pt x="8473825" y="6596277"/>
                </a:lnTo>
                <a:lnTo>
                  <a:pt x="8473825" y="6576755"/>
                </a:lnTo>
                <a:lnTo>
                  <a:pt x="8518167" y="6576755"/>
                </a:lnTo>
                <a:lnTo>
                  <a:pt x="8518167" y="6570487"/>
                </a:lnTo>
                <a:lnTo>
                  <a:pt x="8518552" y="6570487"/>
                </a:lnTo>
                <a:lnTo>
                  <a:pt x="8518552" y="6553486"/>
                </a:lnTo>
                <a:lnTo>
                  <a:pt x="8518167" y="6553486"/>
                </a:lnTo>
                <a:lnTo>
                  <a:pt x="8469892" y="6553486"/>
                </a:lnTo>
                <a:close/>
                <a:moveTo>
                  <a:pt x="8387913" y="6553453"/>
                </a:moveTo>
                <a:cubicBezTo>
                  <a:pt x="8380162" y="6553369"/>
                  <a:pt x="8372471" y="6554805"/>
                  <a:pt x="8365286" y="6557679"/>
                </a:cubicBezTo>
                <a:cubicBezTo>
                  <a:pt x="8362463" y="6558830"/>
                  <a:pt x="8359742" y="6560211"/>
                  <a:pt x="8357150" y="6561806"/>
                </a:cubicBezTo>
                <a:lnTo>
                  <a:pt x="8332784" y="6613372"/>
                </a:lnTo>
                <a:cubicBezTo>
                  <a:pt x="8333178" y="6619008"/>
                  <a:pt x="8334392" y="6624558"/>
                  <a:pt x="8336389" y="6629852"/>
                </a:cubicBezTo>
                <a:cubicBezTo>
                  <a:pt x="8341193" y="6642926"/>
                  <a:pt x="8351385" y="6653370"/>
                  <a:pt x="8364431" y="6658585"/>
                </a:cubicBezTo>
                <a:cubicBezTo>
                  <a:pt x="8371564" y="6661469"/>
                  <a:pt x="8379210" y="6662906"/>
                  <a:pt x="8386916" y="6662811"/>
                </a:cubicBezTo>
                <a:cubicBezTo>
                  <a:pt x="8394648" y="6662898"/>
                  <a:pt x="8402321" y="6661462"/>
                  <a:pt x="8409486" y="6658585"/>
                </a:cubicBezTo>
                <a:cubicBezTo>
                  <a:pt x="8416013" y="6655943"/>
                  <a:pt x="8421943" y="6652041"/>
                  <a:pt x="8426926" y="6647106"/>
                </a:cubicBezTo>
                <a:cubicBezTo>
                  <a:pt x="8431850" y="6642179"/>
                  <a:pt x="8435700" y="6636306"/>
                  <a:pt x="8438240" y="6629852"/>
                </a:cubicBezTo>
                <a:cubicBezTo>
                  <a:pt x="8440974" y="6622958"/>
                  <a:pt x="8442338" y="6615607"/>
                  <a:pt x="8442258" y="6608203"/>
                </a:cubicBezTo>
                <a:cubicBezTo>
                  <a:pt x="8442328" y="6600785"/>
                  <a:pt x="8441019" y="6593419"/>
                  <a:pt x="8438397" y="6586469"/>
                </a:cubicBezTo>
                <a:cubicBezTo>
                  <a:pt x="8435967" y="6580025"/>
                  <a:pt x="8432239" y="6574136"/>
                  <a:pt x="8427439" y="6569158"/>
                </a:cubicBezTo>
                <a:cubicBezTo>
                  <a:pt x="8422597" y="6564212"/>
                  <a:pt x="8416777" y="6560305"/>
                  <a:pt x="8410341" y="6557679"/>
                </a:cubicBezTo>
                <a:cubicBezTo>
                  <a:pt x="8403230" y="6554789"/>
                  <a:pt x="8395601" y="6553352"/>
                  <a:pt x="8387913" y="6553453"/>
                </a:cubicBezTo>
                <a:close/>
                <a:moveTo>
                  <a:pt x="8245203" y="6553106"/>
                </a:moveTo>
                <a:lnTo>
                  <a:pt x="8261546" y="6587178"/>
                </a:lnTo>
                <a:lnTo>
                  <a:pt x="8288505" y="6587178"/>
                </a:lnTo>
                <a:lnTo>
                  <a:pt x="8274156" y="6553106"/>
                </a:lnTo>
                <a:close/>
                <a:moveTo>
                  <a:pt x="8325053" y="6553092"/>
                </a:moveTo>
                <a:lnTo>
                  <a:pt x="8299363" y="6612222"/>
                </a:lnTo>
                <a:lnTo>
                  <a:pt x="8292395" y="6595883"/>
                </a:lnTo>
                <a:lnTo>
                  <a:pt x="8265650" y="6595883"/>
                </a:lnTo>
                <a:lnTo>
                  <a:pt x="8297582" y="6662548"/>
                </a:lnTo>
                <a:lnTo>
                  <a:pt x="8300545" y="6662548"/>
                </a:lnTo>
                <a:lnTo>
                  <a:pt x="8352283" y="6553092"/>
                </a:lnTo>
                <a:close/>
                <a:moveTo>
                  <a:pt x="8704282" y="6515554"/>
                </a:moveTo>
                <a:lnTo>
                  <a:pt x="8704282" y="6690482"/>
                </a:lnTo>
                <a:lnTo>
                  <a:pt x="8723671" y="6690482"/>
                </a:lnTo>
                <a:lnTo>
                  <a:pt x="8723671" y="6515554"/>
                </a:lnTo>
                <a:close/>
                <a:moveTo>
                  <a:pt x="0" y="0"/>
                </a:moveTo>
                <a:lnTo>
                  <a:pt x="9144000" y="0"/>
                </a:lnTo>
                <a:lnTo>
                  <a:pt x="9144000" y="6214681"/>
                </a:lnTo>
                <a:lnTo>
                  <a:pt x="9144000" y="6397151"/>
                </a:lnTo>
                <a:lnTo>
                  <a:pt x="9144000" y="6401792"/>
                </a:lnTo>
                <a:lnTo>
                  <a:pt x="9144000" y="6434962"/>
                </a:lnTo>
                <a:lnTo>
                  <a:pt x="9144000" y="6858000"/>
                </a:lnTo>
                <a:lnTo>
                  <a:pt x="8995529" y="6858000"/>
                </a:lnTo>
                <a:lnTo>
                  <a:pt x="7924718" y="6858000"/>
                </a:lnTo>
                <a:lnTo>
                  <a:pt x="0" y="6858000"/>
                </a:lnTo>
                <a:lnTo>
                  <a:pt x="0" y="6434962"/>
                </a:lnTo>
                <a:lnTo>
                  <a:pt x="0" y="6401792"/>
                </a:lnTo>
                <a:lnTo>
                  <a:pt x="0" y="6397151"/>
                </a:lnTo>
                <a:lnTo>
                  <a:pt x="0" y="6214681"/>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 Drag image onto slide to add photo </a:t>
            </a:r>
          </a:p>
        </p:txBody>
      </p:sp>
      <p:grpSp>
        <p:nvGrpSpPr>
          <p:cNvPr id="6" name="Group 5">
            <a:extLst>
              <a:ext uri="{FF2B5EF4-FFF2-40B4-BE49-F238E27FC236}">
                <a16:creationId xmlns:a16="http://schemas.microsoft.com/office/drawing/2014/main" id="{CDC1CA07-8C63-8647-8A4A-38C9BB1B9E32}"/>
              </a:ext>
            </a:extLst>
          </p:cNvPr>
          <p:cNvGrpSpPr/>
          <p:nvPr userDrawn="1"/>
        </p:nvGrpSpPr>
        <p:grpSpPr>
          <a:xfrm>
            <a:off x="-339919" y="-244225"/>
            <a:ext cx="12877237"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99801"/>
                <a:ext cx="307777" cy="129266"/>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0" cy="235792"/>
              <a:chOff x="431800" y="-240735"/>
              <a:chExt cx="8280400"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914337" y="-176700"/>
                <a:ext cx="1315340"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0" y="-122839"/>
                <a:ext cx="3482537"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a:off x="5229677" y="-122839"/>
                <a:ext cx="348252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869729" y="3686135"/>
                  <a:ext cx="1478115" cy="8079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flipH="1">
                  <a:off x="-130672" y="4465589"/>
                  <a:ext cx="2" cy="1682549"/>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2" cy="1682546"/>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123421" y="6868673"/>
              <a:ext cx="2930114" cy="235790"/>
              <a:chOff x="3121388" y="6869197"/>
              <a:chExt cx="2930114"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121388" y="6954537"/>
                <a:ext cx="153888"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87991" y="6954537"/>
                <a:ext cx="170720"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69961" y="6954537"/>
                <a:ext cx="181541"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6096000"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575733" y="6200775"/>
            <a:ext cx="4934115"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fld id="{078C017C-E1B9-8443-B047-B08AAA027B45}" type="slidenum">
              <a:rPr lang="en-US" smtClean="0"/>
              <a:pPr marL="12700"/>
              <a:t>‹#›</a:t>
            </a:fld>
            <a:endParaRPr lang="en-US" dirty="0"/>
          </a:p>
        </p:txBody>
      </p:sp>
      <p:sp>
        <p:nvSpPr>
          <p:cNvPr id="500" name="Caption">
            <a:extLst>
              <a:ext uri="{FF2B5EF4-FFF2-40B4-BE49-F238E27FC236}">
                <a16:creationId xmlns:a16="http://schemas.microsoft.com/office/drawing/2014/main" id="{3907BEE1-E170-4B45-8716-60BA2FC22521}"/>
              </a:ext>
            </a:extLst>
          </p:cNvPr>
          <p:cNvSpPr>
            <a:spLocks noGrp="1"/>
          </p:cNvSpPr>
          <p:nvPr>
            <p:ph type="body" sz="quarter" idx="500" hasCustomPrompt="1"/>
          </p:nvPr>
        </p:nvSpPr>
        <p:spPr>
          <a:xfrm>
            <a:off x="7947046" y="6200776"/>
            <a:ext cx="3657167"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dirty="0"/>
              <a:t>Click to add photo caption</a:t>
            </a:r>
          </a:p>
        </p:txBody>
      </p:sp>
      <p:grpSp>
        <p:nvGrpSpPr>
          <p:cNvPr id="144" name="Group 143">
            <a:extLst>
              <a:ext uri="{FF2B5EF4-FFF2-40B4-BE49-F238E27FC236}">
                <a16:creationId xmlns:a16="http://schemas.microsoft.com/office/drawing/2014/main" id="{2368DF05-568B-8542-8C72-DF1F57E7755B}"/>
              </a:ext>
            </a:extLst>
          </p:cNvPr>
          <p:cNvGrpSpPr/>
          <p:nvPr userDrawn="1"/>
        </p:nvGrpSpPr>
        <p:grpSpPr>
          <a:xfrm>
            <a:off x="12532244" y="-2"/>
            <a:ext cx="3948953" cy="11187339"/>
            <a:chOff x="9399182" y="-2"/>
            <a:chExt cx="2961715" cy="11187339"/>
          </a:xfrm>
        </p:grpSpPr>
        <p:sp>
          <p:nvSpPr>
            <p:cNvPr id="145" name="Rectangle 144">
              <a:extLst>
                <a:ext uri="{FF2B5EF4-FFF2-40B4-BE49-F238E27FC236}">
                  <a16:creationId xmlns:a16="http://schemas.microsoft.com/office/drawing/2014/main" id="{46F9184D-8E86-4D45-B84F-2FFA5448B70D}"/>
                </a:ext>
              </a:extLst>
            </p:cNvPr>
            <p:cNvSpPr/>
            <p:nvPr userDrawn="1"/>
          </p:nvSpPr>
          <p:spPr>
            <a:xfrm>
              <a:off x="9399182" y="-2"/>
              <a:ext cx="2798651" cy="1101500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146" name="Picture 145">
              <a:extLst>
                <a:ext uri="{FF2B5EF4-FFF2-40B4-BE49-F238E27FC236}">
                  <a16:creationId xmlns:a16="http://schemas.microsoft.com/office/drawing/2014/main" id="{C603612C-55C8-C541-8D50-2F8B676C0A9B}"/>
                </a:ext>
              </a:extLst>
            </p:cNvPr>
            <p:cNvPicPr>
              <a:picLocks noChangeAspect="1"/>
            </p:cNvPicPr>
            <p:nvPr userDrawn="1"/>
          </p:nvPicPr>
          <p:blipFill rotWithShape="1">
            <a:blip r:embed="rId2"/>
            <a:srcRect t="17021" r="58309" b="16813"/>
            <a:stretch/>
          </p:blipFill>
          <p:spPr>
            <a:xfrm>
              <a:off x="9558505" y="1321569"/>
              <a:ext cx="2639327" cy="1095417"/>
            </a:xfrm>
            <a:prstGeom prst="rect">
              <a:avLst/>
            </a:prstGeom>
          </p:spPr>
        </p:pic>
        <p:sp>
          <p:nvSpPr>
            <p:cNvPr id="147" name="Rectangle 146">
              <a:extLst>
                <a:ext uri="{FF2B5EF4-FFF2-40B4-BE49-F238E27FC236}">
                  <a16:creationId xmlns:a16="http://schemas.microsoft.com/office/drawing/2014/main" id="{9A91BC00-A745-1C44-8C0F-2E56EB93F065}"/>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8" name="TextBox 147">
              <a:extLst>
                <a:ext uri="{FF2B5EF4-FFF2-40B4-BE49-F238E27FC236}">
                  <a16:creationId xmlns:a16="http://schemas.microsoft.com/office/drawing/2014/main" id="{9382585A-4F78-B447-8773-3700C9C77510}"/>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49" name="Picture 148">
              <a:extLst>
                <a:ext uri="{FF2B5EF4-FFF2-40B4-BE49-F238E27FC236}">
                  <a16:creationId xmlns:a16="http://schemas.microsoft.com/office/drawing/2014/main" id="{FA314583-5943-5747-A179-6750C843A6DA}"/>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50" name="TextBox 149">
              <a:extLst>
                <a:ext uri="{FF2B5EF4-FFF2-40B4-BE49-F238E27FC236}">
                  <a16:creationId xmlns:a16="http://schemas.microsoft.com/office/drawing/2014/main" id="{667736F2-0684-7049-915D-E1AE4FEF1C1F}"/>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151" name="Straight Connector 150">
              <a:extLst>
                <a:ext uri="{FF2B5EF4-FFF2-40B4-BE49-F238E27FC236}">
                  <a16:creationId xmlns:a16="http://schemas.microsoft.com/office/drawing/2014/main" id="{8B02C5E0-ADB8-2F46-8348-B72DA9D08CF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2" name="Group 151">
              <a:extLst>
                <a:ext uri="{FF2B5EF4-FFF2-40B4-BE49-F238E27FC236}">
                  <a16:creationId xmlns:a16="http://schemas.microsoft.com/office/drawing/2014/main" id="{CDE6DBBA-CE9A-2042-B7D5-0165AD2334E5}"/>
                </a:ext>
              </a:extLst>
            </p:cNvPr>
            <p:cNvGrpSpPr/>
            <p:nvPr userDrawn="1"/>
          </p:nvGrpSpPr>
          <p:grpSpPr>
            <a:xfrm>
              <a:off x="9521833" y="3751281"/>
              <a:ext cx="2754815" cy="7436056"/>
              <a:chOff x="9521833" y="2531409"/>
              <a:chExt cx="2754815" cy="7436056"/>
            </a:xfrm>
          </p:grpSpPr>
          <p:sp>
            <p:nvSpPr>
              <p:cNvPr id="161" name="TextBox 160">
                <a:extLst>
                  <a:ext uri="{FF2B5EF4-FFF2-40B4-BE49-F238E27FC236}">
                    <a16:creationId xmlns:a16="http://schemas.microsoft.com/office/drawing/2014/main" id="{A854AB62-018A-CB4B-8521-979E582C96DE}"/>
                  </a:ext>
                </a:extLst>
              </p:cNvPr>
              <p:cNvSpPr txBox="1"/>
              <p:nvPr userDrawn="1"/>
            </p:nvSpPr>
            <p:spPr>
              <a:xfrm>
                <a:off x="9558507" y="3953640"/>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162" name="Straight Connector 161">
                <a:extLst>
                  <a:ext uri="{FF2B5EF4-FFF2-40B4-BE49-F238E27FC236}">
                    <a16:creationId xmlns:a16="http://schemas.microsoft.com/office/drawing/2014/main" id="{511FF7D6-EE76-9E48-B953-E8C488A6DC3E}"/>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3" name="TextBox 162">
                <a:extLst>
                  <a:ext uri="{FF2B5EF4-FFF2-40B4-BE49-F238E27FC236}">
                    <a16:creationId xmlns:a16="http://schemas.microsoft.com/office/drawing/2014/main" id="{5EE5D691-B3DD-7940-A2EE-4F1242AE5D3A}"/>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sp>
            <p:nvSpPr>
              <p:cNvPr id="164" name="Rectangle 163">
                <a:extLst>
                  <a:ext uri="{FF2B5EF4-FFF2-40B4-BE49-F238E27FC236}">
                    <a16:creationId xmlns:a16="http://schemas.microsoft.com/office/drawing/2014/main" id="{DA9D6203-1E48-DF4B-BDC3-B397A843D5F5}"/>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65" name="TextBox 164">
                <a:extLst>
                  <a:ext uri="{FF2B5EF4-FFF2-40B4-BE49-F238E27FC236}">
                    <a16:creationId xmlns:a16="http://schemas.microsoft.com/office/drawing/2014/main" id="{C3359E59-5350-D34B-A3EA-40E99A3FD6B7}"/>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66" name="Graphic 165">
                <a:extLst>
                  <a:ext uri="{FF2B5EF4-FFF2-40B4-BE49-F238E27FC236}">
                    <a16:creationId xmlns:a16="http://schemas.microsoft.com/office/drawing/2014/main" id="{050619D2-D343-C74D-A7AE-31444836923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167" name="TextBox 166">
                <a:extLst>
                  <a:ext uri="{FF2B5EF4-FFF2-40B4-BE49-F238E27FC236}">
                    <a16:creationId xmlns:a16="http://schemas.microsoft.com/office/drawing/2014/main" id="{00C56975-AB4A-2543-A94B-0493E8E4AF6F}"/>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8" name="TextBox 167">
                <a:extLst>
                  <a:ext uri="{FF2B5EF4-FFF2-40B4-BE49-F238E27FC236}">
                    <a16:creationId xmlns:a16="http://schemas.microsoft.com/office/drawing/2014/main" id="{D124988A-7981-B841-BB41-B682BE6C4461}"/>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9" name="TextBox 168">
                <a:extLst>
                  <a:ext uri="{FF2B5EF4-FFF2-40B4-BE49-F238E27FC236}">
                    <a16:creationId xmlns:a16="http://schemas.microsoft.com/office/drawing/2014/main" id="{556222D6-2C29-844E-BCEB-F80A3A82B3EB}"/>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170" name="Rectangle 169">
                <a:extLst>
                  <a:ext uri="{FF2B5EF4-FFF2-40B4-BE49-F238E27FC236}">
                    <a16:creationId xmlns:a16="http://schemas.microsoft.com/office/drawing/2014/main" id="{A64B4767-3CEA-BC46-97EA-2C980219C696}"/>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1" name="TextBox 170">
                <a:extLst>
                  <a:ext uri="{FF2B5EF4-FFF2-40B4-BE49-F238E27FC236}">
                    <a16:creationId xmlns:a16="http://schemas.microsoft.com/office/drawing/2014/main" id="{2D773D81-6CE7-9842-A402-24F9E5DA7A41}"/>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72" name="Graphic 171">
                <a:extLst>
                  <a:ext uri="{FF2B5EF4-FFF2-40B4-BE49-F238E27FC236}">
                    <a16:creationId xmlns:a16="http://schemas.microsoft.com/office/drawing/2014/main" id="{36B14339-67DD-8D4B-B01C-96674861DC3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173" name="TextBox 172">
                <a:extLst>
                  <a:ext uri="{FF2B5EF4-FFF2-40B4-BE49-F238E27FC236}">
                    <a16:creationId xmlns:a16="http://schemas.microsoft.com/office/drawing/2014/main" id="{780D3816-2F37-C44F-BB3D-AAD1BD77FCFA}"/>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74" name="Picture 173">
                <a:extLst>
                  <a:ext uri="{FF2B5EF4-FFF2-40B4-BE49-F238E27FC236}">
                    <a16:creationId xmlns:a16="http://schemas.microsoft.com/office/drawing/2014/main" id="{0A78A0F4-3B2A-0840-B2ED-D10184A35C28}"/>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175" name="TextBox 174">
                <a:extLst>
                  <a:ext uri="{FF2B5EF4-FFF2-40B4-BE49-F238E27FC236}">
                    <a16:creationId xmlns:a16="http://schemas.microsoft.com/office/drawing/2014/main" id="{86D47968-FA35-774E-AF51-0C090A1928AC}"/>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76" name="TextBox 175">
                <a:extLst>
                  <a:ext uri="{FF2B5EF4-FFF2-40B4-BE49-F238E27FC236}">
                    <a16:creationId xmlns:a16="http://schemas.microsoft.com/office/drawing/2014/main" id="{12E64578-3F1D-6649-852E-6A3EAA8D6CBB}"/>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77" name="TextBox 176">
                <a:extLst>
                  <a:ext uri="{FF2B5EF4-FFF2-40B4-BE49-F238E27FC236}">
                    <a16:creationId xmlns:a16="http://schemas.microsoft.com/office/drawing/2014/main" id="{030BA93C-7BDC-A64D-B6DC-746732C83C30}"/>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sp>
            <p:nvSpPr>
              <p:cNvPr id="178" name="TextBox 177">
                <a:extLst>
                  <a:ext uri="{FF2B5EF4-FFF2-40B4-BE49-F238E27FC236}">
                    <a16:creationId xmlns:a16="http://schemas.microsoft.com/office/drawing/2014/main" id="{581B96C2-BEBF-A94F-82A9-8A26BA103B53}"/>
                  </a:ext>
                </a:extLst>
              </p:cNvPr>
              <p:cNvSpPr txBox="1"/>
              <p:nvPr userDrawn="1"/>
            </p:nvSpPr>
            <p:spPr>
              <a:xfrm>
                <a:off x="9674267" y="5297872"/>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79" name="TextBox 178">
                <a:extLst>
                  <a:ext uri="{FF2B5EF4-FFF2-40B4-BE49-F238E27FC236}">
                    <a16:creationId xmlns:a16="http://schemas.microsoft.com/office/drawing/2014/main" id="{0EFE05D7-5CE1-7146-8853-1139A08DF9E6}"/>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80" name="TextBox 179">
                <a:extLst>
                  <a:ext uri="{FF2B5EF4-FFF2-40B4-BE49-F238E27FC236}">
                    <a16:creationId xmlns:a16="http://schemas.microsoft.com/office/drawing/2014/main" id="{E8BD0C13-8FBE-394A-910E-10615590B6A1}"/>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81" name="TextBox 180">
                <a:extLst>
                  <a:ext uri="{FF2B5EF4-FFF2-40B4-BE49-F238E27FC236}">
                    <a16:creationId xmlns:a16="http://schemas.microsoft.com/office/drawing/2014/main" id="{D7FB5246-47EA-FD4F-8D6E-196E7AD7FA38}"/>
                  </a:ext>
                </a:extLst>
              </p:cNvPr>
              <p:cNvSpPr txBox="1"/>
              <p:nvPr userDrawn="1"/>
            </p:nvSpPr>
            <p:spPr>
              <a:xfrm>
                <a:off x="9674267" y="6863782"/>
                <a:ext cx="2374733"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82" name="Rectangle 181">
                <a:extLst>
                  <a:ext uri="{FF2B5EF4-FFF2-40B4-BE49-F238E27FC236}">
                    <a16:creationId xmlns:a16="http://schemas.microsoft.com/office/drawing/2014/main" id="{B89C480E-A71A-D44E-B608-4344003C99CB}"/>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83" name="TextBox 182">
                <a:extLst>
                  <a:ext uri="{FF2B5EF4-FFF2-40B4-BE49-F238E27FC236}">
                    <a16:creationId xmlns:a16="http://schemas.microsoft.com/office/drawing/2014/main" id="{DD62B91F-6210-1449-A8C8-796BD40FAB50}"/>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84" name="Graphic 183">
                <a:extLst>
                  <a:ext uri="{FF2B5EF4-FFF2-40B4-BE49-F238E27FC236}">
                    <a16:creationId xmlns:a16="http://schemas.microsoft.com/office/drawing/2014/main" id="{BC18E47A-0D07-5E4B-92C8-9B3BB2EA831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85" name="TextBox 184">
                <a:extLst>
                  <a:ext uri="{FF2B5EF4-FFF2-40B4-BE49-F238E27FC236}">
                    <a16:creationId xmlns:a16="http://schemas.microsoft.com/office/drawing/2014/main" id="{A34A608C-8516-8545-9041-572194C4BC91}"/>
                  </a:ext>
                </a:extLst>
              </p:cNvPr>
              <p:cNvSpPr txBox="1"/>
              <p:nvPr userDrawn="1"/>
            </p:nvSpPr>
            <p:spPr>
              <a:xfrm>
                <a:off x="9701720" y="2924393"/>
                <a:ext cx="2214055" cy="53707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nvGrpSpPr>
            <p:cNvPr id="153" name="Group 152">
              <a:extLst>
                <a:ext uri="{FF2B5EF4-FFF2-40B4-BE49-F238E27FC236}">
                  <a16:creationId xmlns:a16="http://schemas.microsoft.com/office/drawing/2014/main" id="{D31E61DD-2C09-1F45-A7EF-4AD5FA85F952}"/>
                </a:ext>
              </a:extLst>
            </p:cNvPr>
            <p:cNvGrpSpPr/>
            <p:nvPr userDrawn="1"/>
          </p:nvGrpSpPr>
          <p:grpSpPr>
            <a:xfrm>
              <a:off x="9540503" y="2468708"/>
              <a:ext cx="2806644" cy="1181890"/>
              <a:chOff x="9554253" y="2414886"/>
              <a:chExt cx="2806644" cy="1181890"/>
            </a:xfrm>
          </p:grpSpPr>
          <p:grpSp>
            <p:nvGrpSpPr>
              <p:cNvPr id="154" name="Group 153">
                <a:extLst>
                  <a:ext uri="{FF2B5EF4-FFF2-40B4-BE49-F238E27FC236}">
                    <a16:creationId xmlns:a16="http://schemas.microsoft.com/office/drawing/2014/main" id="{AE515DAB-7829-4E46-8033-92951355A1AC}"/>
                  </a:ext>
                </a:extLst>
              </p:cNvPr>
              <p:cNvGrpSpPr/>
              <p:nvPr userDrawn="1"/>
            </p:nvGrpSpPr>
            <p:grpSpPr>
              <a:xfrm>
                <a:off x="9554253" y="2414886"/>
                <a:ext cx="2735150" cy="1181890"/>
                <a:chOff x="9541498" y="3751132"/>
                <a:chExt cx="2735150" cy="1181890"/>
              </a:xfrm>
            </p:grpSpPr>
            <p:grpSp>
              <p:nvGrpSpPr>
                <p:cNvPr id="156" name="Group 155">
                  <a:extLst>
                    <a:ext uri="{FF2B5EF4-FFF2-40B4-BE49-F238E27FC236}">
                      <a16:creationId xmlns:a16="http://schemas.microsoft.com/office/drawing/2014/main" id="{5785614C-7308-5841-9902-E01FC7DF0F79}"/>
                    </a:ext>
                  </a:extLst>
                </p:cNvPr>
                <p:cNvGrpSpPr/>
                <p:nvPr userDrawn="1"/>
              </p:nvGrpSpPr>
              <p:grpSpPr>
                <a:xfrm>
                  <a:off x="9541498" y="3751132"/>
                  <a:ext cx="2735150" cy="1181890"/>
                  <a:chOff x="9296568" y="4910411"/>
                  <a:chExt cx="2735150" cy="1181890"/>
                </a:xfrm>
              </p:grpSpPr>
              <p:sp>
                <p:nvSpPr>
                  <p:cNvPr id="158" name="Rectangle 157">
                    <a:extLst>
                      <a:ext uri="{FF2B5EF4-FFF2-40B4-BE49-F238E27FC236}">
                        <a16:creationId xmlns:a16="http://schemas.microsoft.com/office/drawing/2014/main" id="{59501F35-B809-2B4D-94F5-1FBC3C009A86}"/>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9" name="TextBox 158">
                    <a:extLst>
                      <a:ext uri="{FF2B5EF4-FFF2-40B4-BE49-F238E27FC236}">
                        <a16:creationId xmlns:a16="http://schemas.microsoft.com/office/drawing/2014/main" id="{9CDE9FBA-1F86-8948-A493-6011E0A7AAC8}"/>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60" name="TextBox 159">
                    <a:extLst>
                      <a:ext uri="{FF2B5EF4-FFF2-40B4-BE49-F238E27FC236}">
                        <a16:creationId xmlns:a16="http://schemas.microsoft.com/office/drawing/2014/main" id="{45394A56-E008-A14E-AECC-1347077C6587}"/>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57" name="Graphic 156">
                  <a:extLst>
                    <a:ext uri="{FF2B5EF4-FFF2-40B4-BE49-F238E27FC236}">
                      <a16:creationId xmlns:a16="http://schemas.microsoft.com/office/drawing/2014/main" id="{33074372-DE62-C049-AC9B-F5C2A426647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55" name="Picture 154">
                <a:extLst>
                  <a:ext uri="{FF2B5EF4-FFF2-40B4-BE49-F238E27FC236}">
                    <a16:creationId xmlns:a16="http://schemas.microsoft.com/office/drawing/2014/main" id="{538972A4-60AB-0A4B-AD4C-080FA4770747}"/>
                  </a:ext>
                </a:extLst>
              </p:cNvPr>
              <p:cNvPicPr>
                <a:picLocks noChangeAspect="1"/>
              </p:cNvPicPr>
              <p:nvPr userDrawn="1"/>
            </p:nvPicPr>
            <p:blipFill rotWithShape="1">
              <a:blip r:embed="rId9"/>
              <a:srcRect t="5468" r="25071" b="3995"/>
              <a:stretch/>
            </p:blipFill>
            <p:spPr>
              <a:xfrm>
                <a:off x="10779975" y="2820522"/>
                <a:ext cx="1580922" cy="695279"/>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64437103"/>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Statistics Text Over Photo (Full)">
    <p:bg>
      <p:bgPr>
        <a:solidFill>
          <a:schemeClr val="bg1"/>
        </a:solidFill>
        <a:effectLst/>
      </p:bgPr>
    </p:bg>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041452B9-404B-4B43-893C-BB42AF2A9105}"/>
              </a:ext>
            </a:extLst>
          </p:cNvPr>
          <p:cNvSpPr txBox="1">
            <a:spLocks/>
          </p:cNvSpPr>
          <p:nvPr userDrawn="1"/>
        </p:nvSpPr>
        <p:spPr>
          <a:xfrm>
            <a:off x="0" y="6200777"/>
            <a:ext cx="12192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1400" dirty="0"/>
          </a:p>
        </p:txBody>
      </p:sp>
      <p:sp>
        <p:nvSpPr>
          <p:cNvPr id="93" name="Picture Placeholder 92">
            <a:extLst>
              <a:ext uri="{FF2B5EF4-FFF2-40B4-BE49-F238E27FC236}">
                <a16:creationId xmlns:a16="http://schemas.microsoft.com/office/drawing/2014/main" id="{96643F1E-EEDF-7D42-A27B-58F498588AD4}"/>
              </a:ext>
            </a:extLst>
          </p:cNvPr>
          <p:cNvSpPr>
            <a:spLocks noGrp="1"/>
          </p:cNvSpPr>
          <p:nvPr>
            <p:ph type="pic" sz="quarter" idx="10" hasCustomPrompt="1"/>
          </p:nvPr>
        </p:nvSpPr>
        <p:spPr>
          <a:xfrm>
            <a:off x="0" y="0"/>
            <a:ext cx="12192000" cy="6858000"/>
          </a:xfrm>
          <a:custGeom>
            <a:avLst/>
            <a:gdLst>
              <a:gd name="connsiteX0" fmla="*/ 8381735 w 9144000"/>
              <a:gd name="connsiteY0" fmla="*/ 6576022 h 6858000"/>
              <a:gd name="connsiteX1" fmla="*/ 8398942 w 9144000"/>
              <a:gd name="connsiteY1" fmla="*/ 6577877 h 6858000"/>
              <a:gd name="connsiteX2" fmla="*/ 8407847 w 9144000"/>
              <a:gd name="connsiteY2" fmla="*/ 6584666 h 6858000"/>
              <a:gd name="connsiteX3" fmla="*/ 8413547 w 9144000"/>
              <a:gd name="connsiteY3" fmla="*/ 6594991 h 6858000"/>
              <a:gd name="connsiteX4" fmla="*/ 8415584 w 9144000"/>
              <a:gd name="connsiteY4" fmla="*/ 6608203 h 6858000"/>
              <a:gd name="connsiteX5" fmla="*/ 8413646 w 9144000"/>
              <a:gd name="connsiteY5" fmla="*/ 6621274 h 6858000"/>
              <a:gd name="connsiteX6" fmla="*/ 8407947 w 9144000"/>
              <a:gd name="connsiteY6" fmla="*/ 6631669 h 6858000"/>
              <a:gd name="connsiteX7" fmla="*/ 8375887 w 9144000"/>
              <a:gd name="connsiteY7" fmla="*/ 6638514 h 6858000"/>
              <a:gd name="connsiteX8" fmla="*/ 8366910 w 9144000"/>
              <a:gd name="connsiteY8" fmla="*/ 6631669 h 6858000"/>
              <a:gd name="connsiteX9" fmla="*/ 8361211 w 9144000"/>
              <a:gd name="connsiteY9" fmla="*/ 6621274 h 6858000"/>
              <a:gd name="connsiteX10" fmla="*/ 8359045 w 9144000"/>
              <a:gd name="connsiteY10" fmla="*/ 6608203 h 6858000"/>
              <a:gd name="connsiteX11" fmla="*/ 8361097 w 9144000"/>
              <a:gd name="connsiteY11" fmla="*/ 6594991 h 6858000"/>
              <a:gd name="connsiteX12" fmla="*/ 8366796 w 9144000"/>
              <a:gd name="connsiteY12" fmla="*/ 6584666 h 6858000"/>
              <a:gd name="connsiteX13" fmla="*/ 8381735 w 9144000"/>
              <a:gd name="connsiteY13" fmla="*/ 6576022 h 6858000"/>
              <a:gd name="connsiteX14" fmla="*/ 8525633 w 9144000"/>
              <a:gd name="connsiteY14" fmla="*/ 6553486 h 6858000"/>
              <a:gd name="connsiteX15" fmla="*/ 8525633 w 9144000"/>
              <a:gd name="connsiteY15" fmla="*/ 6599432 h 6858000"/>
              <a:gd name="connsiteX16" fmla="*/ 8525633 w 9144000"/>
              <a:gd name="connsiteY16" fmla="*/ 6662773 h 6858000"/>
              <a:gd name="connsiteX17" fmla="*/ 8595623 w 9144000"/>
              <a:gd name="connsiteY17" fmla="*/ 6662773 h 6858000"/>
              <a:gd name="connsiteX18" fmla="*/ 8596022 w 9144000"/>
              <a:gd name="connsiteY18" fmla="*/ 6662773 h 6858000"/>
              <a:gd name="connsiteX19" fmla="*/ 8596022 w 9144000"/>
              <a:gd name="connsiteY19" fmla="*/ 6645772 h 6858000"/>
              <a:gd name="connsiteX20" fmla="*/ 8595623 w 9144000"/>
              <a:gd name="connsiteY20" fmla="*/ 6645772 h 6858000"/>
              <a:gd name="connsiteX21" fmla="*/ 8595623 w 9144000"/>
              <a:gd name="connsiteY21" fmla="*/ 6639674 h 6858000"/>
              <a:gd name="connsiteX22" fmla="*/ 8551295 w 9144000"/>
              <a:gd name="connsiteY22" fmla="*/ 6639674 h 6858000"/>
              <a:gd name="connsiteX23" fmla="*/ 8551295 w 9144000"/>
              <a:gd name="connsiteY23" fmla="*/ 6618349 h 6858000"/>
              <a:gd name="connsiteX24" fmla="*/ 8591705 w 9144000"/>
              <a:gd name="connsiteY24" fmla="*/ 6618349 h 6858000"/>
              <a:gd name="connsiteX25" fmla="*/ 8591705 w 9144000"/>
              <a:gd name="connsiteY25" fmla="*/ 6596277 h 6858000"/>
              <a:gd name="connsiteX26" fmla="*/ 8551295 w 9144000"/>
              <a:gd name="connsiteY26" fmla="*/ 6596277 h 6858000"/>
              <a:gd name="connsiteX27" fmla="*/ 8551295 w 9144000"/>
              <a:gd name="connsiteY27" fmla="*/ 6576755 h 6858000"/>
              <a:gd name="connsiteX28" fmla="*/ 8595623 w 9144000"/>
              <a:gd name="connsiteY28" fmla="*/ 6576755 h 6858000"/>
              <a:gd name="connsiteX29" fmla="*/ 8595623 w 9144000"/>
              <a:gd name="connsiteY29" fmla="*/ 6570487 h 6858000"/>
              <a:gd name="connsiteX30" fmla="*/ 8596022 w 9144000"/>
              <a:gd name="connsiteY30" fmla="*/ 6570487 h 6858000"/>
              <a:gd name="connsiteX31" fmla="*/ 8596022 w 9144000"/>
              <a:gd name="connsiteY31" fmla="*/ 6553486 h 6858000"/>
              <a:gd name="connsiteX32" fmla="*/ 8595623 w 9144000"/>
              <a:gd name="connsiteY32" fmla="*/ 6553486 h 6858000"/>
              <a:gd name="connsiteX33" fmla="*/ 8547362 w 9144000"/>
              <a:gd name="connsiteY33" fmla="*/ 6553486 h 6858000"/>
              <a:gd name="connsiteX34" fmla="*/ 8448177 w 9144000"/>
              <a:gd name="connsiteY34" fmla="*/ 6553486 h 6858000"/>
              <a:gd name="connsiteX35" fmla="*/ 8448177 w 9144000"/>
              <a:gd name="connsiteY35" fmla="*/ 6599432 h 6858000"/>
              <a:gd name="connsiteX36" fmla="*/ 8448177 w 9144000"/>
              <a:gd name="connsiteY36" fmla="*/ 6662773 h 6858000"/>
              <a:gd name="connsiteX37" fmla="*/ 8518167 w 9144000"/>
              <a:gd name="connsiteY37" fmla="*/ 6662773 h 6858000"/>
              <a:gd name="connsiteX38" fmla="*/ 8518552 w 9144000"/>
              <a:gd name="connsiteY38" fmla="*/ 6662773 h 6858000"/>
              <a:gd name="connsiteX39" fmla="*/ 8518552 w 9144000"/>
              <a:gd name="connsiteY39" fmla="*/ 6645772 h 6858000"/>
              <a:gd name="connsiteX40" fmla="*/ 8518167 w 9144000"/>
              <a:gd name="connsiteY40" fmla="*/ 6645772 h 6858000"/>
              <a:gd name="connsiteX41" fmla="*/ 8518167 w 9144000"/>
              <a:gd name="connsiteY41" fmla="*/ 6639674 h 6858000"/>
              <a:gd name="connsiteX42" fmla="*/ 8473825 w 9144000"/>
              <a:gd name="connsiteY42" fmla="*/ 6639674 h 6858000"/>
              <a:gd name="connsiteX43" fmla="*/ 8473825 w 9144000"/>
              <a:gd name="connsiteY43" fmla="*/ 6618349 h 6858000"/>
              <a:gd name="connsiteX44" fmla="*/ 8514235 w 9144000"/>
              <a:gd name="connsiteY44" fmla="*/ 6618349 h 6858000"/>
              <a:gd name="connsiteX45" fmla="*/ 8514235 w 9144000"/>
              <a:gd name="connsiteY45" fmla="*/ 6596277 h 6858000"/>
              <a:gd name="connsiteX46" fmla="*/ 8473825 w 9144000"/>
              <a:gd name="connsiteY46" fmla="*/ 6596277 h 6858000"/>
              <a:gd name="connsiteX47" fmla="*/ 8473825 w 9144000"/>
              <a:gd name="connsiteY47" fmla="*/ 6576755 h 6858000"/>
              <a:gd name="connsiteX48" fmla="*/ 8518167 w 9144000"/>
              <a:gd name="connsiteY48" fmla="*/ 6576755 h 6858000"/>
              <a:gd name="connsiteX49" fmla="*/ 8518167 w 9144000"/>
              <a:gd name="connsiteY49" fmla="*/ 6570487 h 6858000"/>
              <a:gd name="connsiteX50" fmla="*/ 8518552 w 9144000"/>
              <a:gd name="connsiteY50" fmla="*/ 6570487 h 6858000"/>
              <a:gd name="connsiteX51" fmla="*/ 8518552 w 9144000"/>
              <a:gd name="connsiteY51" fmla="*/ 6553486 h 6858000"/>
              <a:gd name="connsiteX52" fmla="*/ 8518167 w 9144000"/>
              <a:gd name="connsiteY52" fmla="*/ 6553486 h 6858000"/>
              <a:gd name="connsiteX53" fmla="*/ 8469892 w 9144000"/>
              <a:gd name="connsiteY53" fmla="*/ 6553486 h 6858000"/>
              <a:gd name="connsiteX54" fmla="*/ 8387913 w 9144000"/>
              <a:gd name="connsiteY54" fmla="*/ 6553453 h 6858000"/>
              <a:gd name="connsiteX55" fmla="*/ 8365286 w 9144000"/>
              <a:gd name="connsiteY55" fmla="*/ 6557679 h 6858000"/>
              <a:gd name="connsiteX56" fmla="*/ 8357150 w 9144000"/>
              <a:gd name="connsiteY56" fmla="*/ 6561806 h 6858000"/>
              <a:gd name="connsiteX57" fmla="*/ 8332784 w 9144000"/>
              <a:gd name="connsiteY57" fmla="*/ 6613372 h 6858000"/>
              <a:gd name="connsiteX58" fmla="*/ 8336389 w 9144000"/>
              <a:gd name="connsiteY58" fmla="*/ 6629852 h 6858000"/>
              <a:gd name="connsiteX59" fmla="*/ 8364431 w 9144000"/>
              <a:gd name="connsiteY59" fmla="*/ 6658585 h 6858000"/>
              <a:gd name="connsiteX60" fmla="*/ 8386916 w 9144000"/>
              <a:gd name="connsiteY60" fmla="*/ 6662811 h 6858000"/>
              <a:gd name="connsiteX61" fmla="*/ 8409486 w 9144000"/>
              <a:gd name="connsiteY61" fmla="*/ 6658585 h 6858000"/>
              <a:gd name="connsiteX62" fmla="*/ 8426926 w 9144000"/>
              <a:gd name="connsiteY62" fmla="*/ 6647106 h 6858000"/>
              <a:gd name="connsiteX63" fmla="*/ 8438240 w 9144000"/>
              <a:gd name="connsiteY63" fmla="*/ 6629852 h 6858000"/>
              <a:gd name="connsiteX64" fmla="*/ 8442258 w 9144000"/>
              <a:gd name="connsiteY64" fmla="*/ 6608203 h 6858000"/>
              <a:gd name="connsiteX65" fmla="*/ 8438397 w 9144000"/>
              <a:gd name="connsiteY65" fmla="*/ 6586469 h 6858000"/>
              <a:gd name="connsiteX66" fmla="*/ 8427439 w 9144000"/>
              <a:gd name="connsiteY66" fmla="*/ 6569158 h 6858000"/>
              <a:gd name="connsiteX67" fmla="*/ 8410341 w 9144000"/>
              <a:gd name="connsiteY67" fmla="*/ 6557679 h 6858000"/>
              <a:gd name="connsiteX68" fmla="*/ 8387913 w 9144000"/>
              <a:gd name="connsiteY68" fmla="*/ 6553453 h 6858000"/>
              <a:gd name="connsiteX69" fmla="*/ 8245203 w 9144000"/>
              <a:gd name="connsiteY69" fmla="*/ 6553106 h 6858000"/>
              <a:gd name="connsiteX70" fmla="*/ 8261546 w 9144000"/>
              <a:gd name="connsiteY70" fmla="*/ 6587178 h 6858000"/>
              <a:gd name="connsiteX71" fmla="*/ 8288505 w 9144000"/>
              <a:gd name="connsiteY71" fmla="*/ 6587178 h 6858000"/>
              <a:gd name="connsiteX72" fmla="*/ 8274156 w 9144000"/>
              <a:gd name="connsiteY72" fmla="*/ 6553106 h 6858000"/>
              <a:gd name="connsiteX73" fmla="*/ 8325053 w 9144000"/>
              <a:gd name="connsiteY73" fmla="*/ 6553092 h 6858000"/>
              <a:gd name="connsiteX74" fmla="*/ 8299363 w 9144000"/>
              <a:gd name="connsiteY74" fmla="*/ 6612222 h 6858000"/>
              <a:gd name="connsiteX75" fmla="*/ 8292395 w 9144000"/>
              <a:gd name="connsiteY75" fmla="*/ 6595883 h 6858000"/>
              <a:gd name="connsiteX76" fmla="*/ 8265650 w 9144000"/>
              <a:gd name="connsiteY76" fmla="*/ 6595883 h 6858000"/>
              <a:gd name="connsiteX77" fmla="*/ 8297582 w 9144000"/>
              <a:gd name="connsiteY77" fmla="*/ 6662548 h 6858000"/>
              <a:gd name="connsiteX78" fmla="*/ 8300545 w 9144000"/>
              <a:gd name="connsiteY78" fmla="*/ 6662548 h 6858000"/>
              <a:gd name="connsiteX79" fmla="*/ 8352283 w 9144000"/>
              <a:gd name="connsiteY79" fmla="*/ 6553092 h 6858000"/>
              <a:gd name="connsiteX80" fmla="*/ 8704282 w 9144000"/>
              <a:gd name="connsiteY80" fmla="*/ 6515554 h 6858000"/>
              <a:gd name="connsiteX81" fmla="*/ 8704282 w 9144000"/>
              <a:gd name="connsiteY81" fmla="*/ 6690482 h 6858000"/>
              <a:gd name="connsiteX82" fmla="*/ 8723671 w 9144000"/>
              <a:gd name="connsiteY82" fmla="*/ 6690482 h 6858000"/>
              <a:gd name="connsiteX83" fmla="*/ 8723671 w 9144000"/>
              <a:gd name="connsiteY83" fmla="*/ 6515554 h 6858000"/>
              <a:gd name="connsiteX84" fmla="*/ 0 w 9144000"/>
              <a:gd name="connsiteY84" fmla="*/ 0 h 6858000"/>
              <a:gd name="connsiteX85" fmla="*/ 9144000 w 9144000"/>
              <a:gd name="connsiteY85" fmla="*/ 0 h 6858000"/>
              <a:gd name="connsiteX86" fmla="*/ 9144000 w 9144000"/>
              <a:gd name="connsiteY86" fmla="*/ 6214681 h 6858000"/>
              <a:gd name="connsiteX87" fmla="*/ 9144000 w 9144000"/>
              <a:gd name="connsiteY87" fmla="*/ 6397151 h 6858000"/>
              <a:gd name="connsiteX88" fmla="*/ 9144000 w 9144000"/>
              <a:gd name="connsiteY88" fmla="*/ 6401792 h 6858000"/>
              <a:gd name="connsiteX89" fmla="*/ 9144000 w 9144000"/>
              <a:gd name="connsiteY89" fmla="*/ 6434962 h 6858000"/>
              <a:gd name="connsiteX90" fmla="*/ 9144000 w 9144000"/>
              <a:gd name="connsiteY90" fmla="*/ 6858000 h 6858000"/>
              <a:gd name="connsiteX91" fmla="*/ 8995529 w 9144000"/>
              <a:gd name="connsiteY91" fmla="*/ 6858000 h 6858000"/>
              <a:gd name="connsiteX92" fmla="*/ 7924718 w 9144000"/>
              <a:gd name="connsiteY92" fmla="*/ 6858000 h 6858000"/>
              <a:gd name="connsiteX93" fmla="*/ 0 w 9144000"/>
              <a:gd name="connsiteY93" fmla="*/ 6858000 h 6858000"/>
              <a:gd name="connsiteX94" fmla="*/ 0 w 9144000"/>
              <a:gd name="connsiteY94" fmla="*/ 6434962 h 6858000"/>
              <a:gd name="connsiteX95" fmla="*/ 0 w 9144000"/>
              <a:gd name="connsiteY95" fmla="*/ 6401792 h 6858000"/>
              <a:gd name="connsiteX96" fmla="*/ 0 w 9144000"/>
              <a:gd name="connsiteY96" fmla="*/ 6397151 h 6858000"/>
              <a:gd name="connsiteX97" fmla="*/ 0 w 9144000"/>
              <a:gd name="connsiteY97" fmla="*/ 62146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144000" h="6858000">
                <a:moveTo>
                  <a:pt x="8381735" y="6576022"/>
                </a:moveTo>
                <a:cubicBezTo>
                  <a:pt x="8387385" y="6574829"/>
                  <a:pt x="8393413" y="6575385"/>
                  <a:pt x="8398942" y="6577877"/>
                </a:cubicBezTo>
                <a:cubicBezTo>
                  <a:pt x="8402361" y="6579495"/>
                  <a:pt x="8405396" y="6581808"/>
                  <a:pt x="8407847" y="6584666"/>
                </a:cubicBezTo>
                <a:cubicBezTo>
                  <a:pt x="8410387" y="6587723"/>
                  <a:pt x="8412320" y="6591226"/>
                  <a:pt x="8413547" y="6594991"/>
                </a:cubicBezTo>
                <a:cubicBezTo>
                  <a:pt x="8414952" y="6599255"/>
                  <a:pt x="8415640" y="6603718"/>
                  <a:pt x="8415584" y="6608203"/>
                </a:cubicBezTo>
                <a:cubicBezTo>
                  <a:pt x="8415665" y="6612635"/>
                  <a:pt x="8415011" y="6617051"/>
                  <a:pt x="8413646" y="6621274"/>
                </a:cubicBezTo>
                <a:cubicBezTo>
                  <a:pt x="8412411" y="6625056"/>
                  <a:pt x="8410478" y="6628580"/>
                  <a:pt x="8407947" y="6631669"/>
                </a:cubicBezTo>
                <a:cubicBezTo>
                  <a:pt x="8399972" y="6640715"/>
                  <a:pt x="8386928" y="6643500"/>
                  <a:pt x="8375887" y="6638514"/>
                </a:cubicBezTo>
                <a:cubicBezTo>
                  <a:pt x="8372423" y="6636911"/>
                  <a:pt x="8369358" y="6634574"/>
                  <a:pt x="8366910" y="6631669"/>
                </a:cubicBezTo>
                <a:cubicBezTo>
                  <a:pt x="8364379" y="6628580"/>
                  <a:pt x="8362446" y="6625056"/>
                  <a:pt x="8361211" y="6621274"/>
                </a:cubicBezTo>
                <a:cubicBezTo>
                  <a:pt x="8359769" y="6617063"/>
                  <a:pt x="8359038" y="6612647"/>
                  <a:pt x="8359045" y="6608203"/>
                </a:cubicBezTo>
                <a:cubicBezTo>
                  <a:pt x="8358993" y="6603717"/>
                  <a:pt x="8359686" y="6599254"/>
                  <a:pt x="8361097" y="6594991"/>
                </a:cubicBezTo>
                <a:cubicBezTo>
                  <a:pt x="8362323" y="6591226"/>
                  <a:pt x="8364257" y="6587723"/>
                  <a:pt x="8366796" y="6584666"/>
                </a:cubicBezTo>
                <a:cubicBezTo>
                  <a:pt x="8370813" y="6580158"/>
                  <a:pt x="8376085" y="6577215"/>
                  <a:pt x="8381735" y="6576022"/>
                </a:cubicBezTo>
                <a:close/>
                <a:moveTo>
                  <a:pt x="8525633" y="6553486"/>
                </a:moveTo>
                <a:lnTo>
                  <a:pt x="8525633" y="6599432"/>
                </a:lnTo>
                <a:lnTo>
                  <a:pt x="8525633" y="6662773"/>
                </a:lnTo>
                <a:lnTo>
                  <a:pt x="8595623" y="6662773"/>
                </a:lnTo>
                <a:lnTo>
                  <a:pt x="8596022" y="6662773"/>
                </a:lnTo>
                <a:lnTo>
                  <a:pt x="8596022" y="6645772"/>
                </a:lnTo>
                <a:lnTo>
                  <a:pt x="8595623" y="6645772"/>
                </a:lnTo>
                <a:lnTo>
                  <a:pt x="8595623" y="6639674"/>
                </a:lnTo>
                <a:lnTo>
                  <a:pt x="8551295" y="6639674"/>
                </a:lnTo>
                <a:lnTo>
                  <a:pt x="8551295" y="6618349"/>
                </a:lnTo>
                <a:lnTo>
                  <a:pt x="8591705" y="6618349"/>
                </a:lnTo>
                <a:lnTo>
                  <a:pt x="8591705" y="6596277"/>
                </a:lnTo>
                <a:lnTo>
                  <a:pt x="8551295" y="6596277"/>
                </a:lnTo>
                <a:lnTo>
                  <a:pt x="8551295" y="6576755"/>
                </a:lnTo>
                <a:lnTo>
                  <a:pt x="8595623" y="6576755"/>
                </a:lnTo>
                <a:lnTo>
                  <a:pt x="8595623" y="6570487"/>
                </a:lnTo>
                <a:lnTo>
                  <a:pt x="8596022" y="6570487"/>
                </a:lnTo>
                <a:lnTo>
                  <a:pt x="8596022" y="6553486"/>
                </a:lnTo>
                <a:lnTo>
                  <a:pt x="8595623" y="6553486"/>
                </a:lnTo>
                <a:lnTo>
                  <a:pt x="8547362" y="6553486"/>
                </a:lnTo>
                <a:close/>
                <a:moveTo>
                  <a:pt x="8448177" y="6553486"/>
                </a:moveTo>
                <a:lnTo>
                  <a:pt x="8448177" y="6599432"/>
                </a:lnTo>
                <a:lnTo>
                  <a:pt x="8448177" y="6662773"/>
                </a:lnTo>
                <a:lnTo>
                  <a:pt x="8518167" y="6662773"/>
                </a:lnTo>
                <a:lnTo>
                  <a:pt x="8518552" y="6662773"/>
                </a:lnTo>
                <a:lnTo>
                  <a:pt x="8518552" y="6645772"/>
                </a:lnTo>
                <a:lnTo>
                  <a:pt x="8518167" y="6645772"/>
                </a:lnTo>
                <a:lnTo>
                  <a:pt x="8518167" y="6639674"/>
                </a:lnTo>
                <a:lnTo>
                  <a:pt x="8473825" y="6639674"/>
                </a:lnTo>
                <a:lnTo>
                  <a:pt x="8473825" y="6618349"/>
                </a:lnTo>
                <a:lnTo>
                  <a:pt x="8514235" y="6618349"/>
                </a:lnTo>
                <a:lnTo>
                  <a:pt x="8514235" y="6596277"/>
                </a:lnTo>
                <a:lnTo>
                  <a:pt x="8473825" y="6596277"/>
                </a:lnTo>
                <a:lnTo>
                  <a:pt x="8473825" y="6576755"/>
                </a:lnTo>
                <a:lnTo>
                  <a:pt x="8518167" y="6576755"/>
                </a:lnTo>
                <a:lnTo>
                  <a:pt x="8518167" y="6570487"/>
                </a:lnTo>
                <a:lnTo>
                  <a:pt x="8518552" y="6570487"/>
                </a:lnTo>
                <a:lnTo>
                  <a:pt x="8518552" y="6553486"/>
                </a:lnTo>
                <a:lnTo>
                  <a:pt x="8518167" y="6553486"/>
                </a:lnTo>
                <a:lnTo>
                  <a:pt x="8469892" y="6553486"/>
                </a:lnTo>
                <a:close/>
                <a:moveTo>
                  <a:pt x="8387913" y="6553453"/>
                </a:moveTo>
                <a:cubicBezTo>
                  <a:pt x="8380162" y="6553369"/>
                  <a:pt x="8372471" y="6554805"/>
                  <a:pt x="8365286" y="6557679"/>
                </a:cubicBezTo>
                <a:cubicBezTo>
                  <a:pt x="8362463" y="6558830"/>
                  <a:pt x="8359742" y="6560211"/>
                  <a:pt x="8357150" y="6561806"/>
                </a:cubicBezTo>
                <a:lnTo>
                  <a:pt x="8332784" y="6613372"/>
                </a:lnTo>
                <a:cubicBezTo>
                  <a:pt x="8333178" y="6619008"/>
                  <a:pt x="8334392" y="6624558"/>
                  <a:pt x="8336389" y="6629852"/>
                </a:cubicBezTo>
                <a:cubicBezTo>
                  <a:pt x="8341193" y="6642926"/>
                  <a:pt x="8351385" y="6653370"/>
                  <a:pt x="8364431" y="6658585"/>
                </a:cubicBezTo>
                <a:cubicBezTo>
                  <a:pt x="8371564" y="6661469"/>
                  <a:pt x="8379210" y="6662906"/>
                  <a:pt x="8386916" y="6662811"/>
                </a:cubicBezTo>
                <a:cubicBezTo>
                  <a:pt x="8394648" y="6662898"/>
                  <a:pt x="8402321" y="6661462"/>
                  <a:pt x="8409486" y="6658585"/>
                </a:cubicBezTo>
                <a:cubicBezTo>
                  <a:pt x="8416013" y="6655943"/>
                  <a:pt x="8421943" y="6652041"/>
                  <a:pt x="8426926" y="6647106"/>
                </a:cubicBezTo>
                <a:cubicBezTo>
                  <a:pt x="8431850" y="6642179"/>
                  <a:pt x="8435700" y="6636306"/>
                  <a:pt x="8438240" y="6629852"/>
                </a:cubicBezTo>
                <a:cubicBezTo>
                  <a:pt x="8440974" y="6622958"/>
                  <a:pt x="8442338" y="6615607"/>
                  <a:pt x="8442258" y="6608203"/>
                </a:cubicBezTo>
                <a:cubicBezTo>
                  <a:pt x="8442328" y="6600785"/>
                  <a:pt x="8441019" y="6593419"/>
                  <a:pt x="8438397" y="6586469"/>
                </a:cubicBezTo>
                <a:cubicBezTo>
                  <a:pt x="8435967" y="6580025"/>
                  <a:pt x="8432239" y="6574136"/>
                  <a:pt x="8427439" y="6569158"/>
                </a:cubicBezTo>
                <a:cubicBezTo>
                  <a:pt x="8422597" y="6564212"/>
                  <a:pt x="8416777" y="6560305"/>
                  <a:pt x="8410341" y="6557679"/>
                </a:cubicBezTo>
                <a:cubicBezTo>
                  <a:pt x="8403230" y="6554789"/>
                  <a:pt x="8395601" y="6553352"/>
                  <a:pt x="8387913" y="6553453"/>
                </a:cubicBezTo>
                <a:close/>
                <a:moveTo>
                  <a:pt x="8245203" y="6553106"/>
                </a:moveTo>
                <a:lnTo>
                  <a:pt x="8261546" y="6587178"/>
                </a:lnTo>
                <a:lnTo>
                  <a:pt x="8288505" y="6587178"/>
                </a:lnTo>
                <a:lnTo>
                  <a:pt x="8274156" y="6553106"/>
                </a:lnTo>
                <a:close/>
                <a:moveTo>
                  <a:pt x="8325053" y="6553092"/>
                </a:moveTo>
                <a:lnTo>
                  <a:pt x="8299363" y="6612222"/>
                </a:lnTo>
                <a:lnTo>
                  <a:pt x="8292395" y="6595883"/>
                </a:lnTo>
                <a:lnTo>
                  <a:pt x="8265650" y="6595883"/>
                </a:lnTo>
                <a:lnTo>
                  <a:pt x="8297582" y="6662548"/>
                </a:lnTo>
                <a:lnTo>
                  <a:pt x="8300545" y="6662548"/>
                </a:lnTo>
                <a:lnTo>
                  <a:pt x="8352283" y="6553092"/>
                </a:lnTo>
                <a:close/>
                <a:moveTo>
                  <a:pt x="8704282" y="6515554"/>
                </a:moveTo>
                <a:lnTo>
                  <a:pt x="8704282" y="6690482"/>
                </a:lnTo>
                <a:lnTo>
                  <a:pt x="8723671" y="6690482"/>
                </a:lnTo>
                <a:lnTo>
                  <a:pt x="8723671" y="6515554"/>
                </a:lnTo>
                <a:close/>
                <a:moveTo>
                  <a:pt x="0" y="0"/>
                </a:moveTo>
                <a:lnTo>
                  <a:pt x="9144000" y="0"/>
                </a:lnTo>
                <a:lnTo>
                  <a:pt x="9144000" y="6214681"/>
                </a:lnTo>
                <a:lnTo>
                  <a:pt x="9144000" y="6397151"/>
                </a:lnTo>
                <a:lnTo>
                  <a:pt x="9144000" y="6401792"/>
                </a:lnTo>
                <a:lnTo>
                  <a:pt x="9144000" y="6434962"/>
                </a:lnTo>
                <a:lnTo>
                  <a:pt x="9144000" y="6858000"/>
                </a:lnTo>
                <a:lnTo>
                  <a:pt x="8995529" y="6858000"/>
                </a:lnTo>
                <a:lnTo>
                  <a:pt x="7924718" y="6858000"/>
                </a:lnTo>
                <a:lnTo>
                  <a:pt x="0" y="6858000"/>
                </a:lnTo>
                <a:lnTo>
                  <a:pt x="0" y="6434962"/>
                </a:lnTo>
                <a:lnTo>
                  <a:pt x="0" y="6401792"/>
                </a:lnTo>
                <a:lnTo>
                  <a:pt x="0" y="6397151"/>
                </a:lnTo>
                <a:lnTo>
                  <a:pt x="0" y="6214681"/>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 Drag image onto slide to add photo </a:t>
            </a:r>
          </a:p>
        </p:txBody>
      </p:sp>
      <p:grpSp>
        <p:nvGrpSpPr>
          <p:cNvPr id="7" name="Group 6">
            <a:extLst>
              <a:ext uri="{FF2B5EF4-FFF2-40B4-BE49-F238E27FC236}">
                <a16:creationId xmlns:a16="http://schemas.microsoft.com/office/drawing/2014/main" id="{26ACA9DB-4044-6F42-96B1-45EBCD182B84}"/>
              </a:ext>
            </a:extLst>
          </p:cNvPr>
          <p:cNvGrpSpPr/>
          <p:nvPr userDrawn="1"/>
        </p:nvGrpSpPr>
        <p:grpSpPr>
          <a:xfrm>
            <a:off x="-339919" y="-244225"/>
            <a:ext cx="12877237"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99801"/>
                <a:ext cx="307777" cy="129266"/>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0" cy="235792"/>
              <a:chOff x="431800" y="-240735"/>
              <a:chExt cx="8280400"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914337" y="-176700"/>
                <a:ext cx="1315340"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0" y="-122839"/>
                <a:ext cx="3482537"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a:off x="5229677" y="-122839"/>
                <a:ext cx="348252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869729" y="3686135"/>
                  <a:ext cx="1478115" cy="8079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flipH="1">
                  <a:off x="-130672" y="4465589"/>
                  <a:ext cx="2" cy="1682549"/>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2" cy="1682546"/>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123421" y="6868673"/>
              <a:ext cx="2930114" cy="235790"/>
              <a:chOff x="3121388" y="6869197"/>
              <a:chExt cx="2930114"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121388" y="6954537"/>
                <a:ext cx="153888"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87991" y="6954537"/>
                <a:ext cx="170720"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69961" y="6954537"/>
                <a:ext cx="181541"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6096000"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sz="2800">
                <a:solidFill>
                  <a:schemeClr val="bg1"/>
                </a:solidFill>
              </a:defRPr>
            </a:lvl1pPr>
            <a:lvl2pPr>
              <a:defRPr>
                <a:solidFill>
                  <a:schemeClr val="bg1"/>
                </a:solidFill>
              </a:defRPr>
            </a:lvl2pPr>
            <a:lvl3pPr marL="0" indent="0">
              <a:buFontTx/>
              <a:buNone/>
              <a:defRPr>
                <a:solidFill>
                  <a:schemeClr val="bg1"/>
                </a:solidFill>
              </a:defRPr>
            </a:lvl3pPr>
            <a:lvl4pPr marL="0" indent="0">
              <a:buFontTx/>
              <a:buNone/>
              <a:defRPr>
                <a:solidFill>
                  <a:schemeClr val="bg1"/>
                </a:solidFill>
              </a:defRPr>
            </a:lvl4pPr>
            <a:lvl5pPr marL="0" indent="0">
              <a:buFontTx/>
              <a:buNone/>
              <a:defRPr>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575733" y="6200775"/>
            <a:ext cx="4934115"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fld id="{078C017C-E1B9-8443-B047-B08AAA027B45}" type="slidenum">
              <a:rPr lang="en-US" smtClean="0"/>
              <a:pPr marL="12700"/>
              <a:t>‹#›</a:t>
            </a:fld>
            <a:endParaRPr lang="en-US" dirty="0"/>
          </a:p>
        </p:txBody>
      </p:sp>
      <p:grpSp>
        <p:nvGrpSpPr>
          <p:cNvPr id="6" name="Group 5">
            <a:extLst>
              <a:ext uri="{FF2B5EF4-FFF2-40B4-BE49-F238E27FC236}">
                <a16:creationId xmlns:a16="http://schemas.microsoft.com/office/drawing/2014/main" id="{384FC32F-D780-2C41-B31E-1F1C7720CD48}"/>
              </a:ext>
            </a:extLst>
          </p:cNvPr>
          <p:cNvGrpSpPr/>
          <p:nvPr userDrawn="1"/>
        </p:nvGrpSpPr>
        <p:grpSpPr>
          <a:xfrm>
            <a:off x="12532244" y="-1"/>
            <a:ext cx="3948953" cy="9658589"/>
            <a:chOff x="9399182" y="-1"/>
            <a:chExt cx="2961715" cy="9658589"/>
          </a:xfrm>
        </p:grpSpPr>
        <p:sp>
          <p:nvSpPr>
            <p:cNvPr id="114" name="Rectangle 113">
              <a:extLst>
                <a:ext uri="{FF2B5EF4-FFF2-40B4-BE49-F238E27FC236}">
                  <a16:creationId xmlns:a16="http://schemas.microsoft.com/office/drawing/2014/main" id="{1F6701BF-092D-2F4F-9D3D-CB526578FD23}"/>
                </a:ext>
              </a:extLst>
            </p:cNvPr>
            <p:cNvSpPr/>
            <p:nvPr userDrawn="1"/>
          </p:nvSpPr>
          <p:spPr>
            <a:xfrm>
              <a:off x="9399182" y="-1"/>
              <a:ext cx="2798651" cy="94869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163" name="Picture 162">
              <a:extLst>
                <a:ext uri="{FF2B5EF4-FFF2-40B4-BE49-F238E27FC236}">
                  <a16:creationId xmlns:a16="http://schemas.microsoft.com/office/drawing/2014/main" id="{2D12CE45-289D-6B47-8827-232211E4A4E4}"/>
                </a:ext>
              </a:extLst>
            </p:cNvPr>
            <p:cNvPicPr>
              <a:picLocks noChangeAspect="1"/>
            </p:cNvPicPr>
            <p:nvPr userDrawn="1"/>
          </p:nvPicPr>
          <p:blipFill rotWithShape="1">
            <a:blip r:embed="rId2"/>
            <a:srcRect t="11482" r="50733" b="17784"/>
            <a:stretch/>
          </p:blipFill>
          <p:spPr>
            <a:xfrm>
              <a:off x="9558506" y="1332920"/>
              <a:ext cx="2639326" cy="746975"/>
            </a:xfrm>
            <a:prstGeom prst="rect">
              <a:avLst/>
            </a:prstGeom>
          </p:spPr>
        </p:pic>
        <p:grpSp>
          <p:nvGrpSpPr>
            <p:cNvPr id="115" name="Group 114">
              <a:extLst>
                <a:ext uri="{FF2B5EF4-FFF2-40B4-BE49-F238E27FC236}">
                  <a16:creationId xmlns:a16="http://schemas.microsoft.com/office/drawing/2014/main" id="{E06DB9A1-FD76-8C4E-AA60-A3215A54B22B}"/>
                </a:ext>
              </a:extLst>
            </p:cNvPr>
            <p:cNvGrpSpPr/>
            <p:nvPr userDrawn="1"/>
          </p:nvGrpSpPr>
          <p:grpSpPr>
            <a:xfrm>
              <a:off x="9541497" y="162442"/>
              <a:ext cx="2819400" cy="814510"/>
              <a:chOff x="-3644733" y="165205"/>
              <a:chExt cx="2819400" cy="814510"/>
            </a:xfrm>
          </p:grpSpPr>
          <p:sp>
            <p:nvSpPr>
              <p:cNvPr id="154" name="Rectangle 153">
                <a:extLst>
                  <a:ext uri="{FF2B5EF4-FFF2-40B4-BE49-F238E27FC236}">
                    <a16:creationId xmlns:a16="http://schemas.microsoft.com/office/drawing/2014/main" id="{9B6A22A1-5D5B-4A45-9873-94CDE4AF538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5" name="TextBox 154">
                <a:extLst>
                  <a:ext uri="{FF2B5EF4-FFF2-40B4-BE49-F238E27FC236}">
                    <a16:creationId xmlns:a16="http://schemas.microsoft.com/office/drawing/2014/main" id="{7ABB8F1D-E85A-ED44-9693-9F13743BAED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56" name="Picture 155">
                <a:extLst>
                  <a:ext uri="{FF2B5EF4-FFF2-40B4-BE49-F238E27FC236}">
                    <a16:creationId xmlns:a16="http://schemas.microsoft.com/office/drawing/2014/main" id="{20DBD003-BD74-534F-B6C9-503C1716230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116" name="TextBox 115">
              <a:extLst>
                <a:ext uri="{FF2B5EF4-FFF2-40B4-BE49-F238E27FC236}">
                  <a16:creationId xmlns:a16="http://schemas.microsoft.com/office/drawing/2014/main" id="{00987C7D-6B58-624B-A8C2-E1C8B5B41655}"/>
                </a:ext>
              </a:extLst>
            </p:cNvPr>
            <p:cNvSpPr txBox="1"/>
            <p:nvPr userDrawn="1"/>
          </p:nvSpPr>
          <p:spPr>
            <a:xfrm>
              <a:off x="9558507" y="3644763"/>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117" name="Straight Connector 116">
              <a:extLst>
                <a:ext uri="{FF2B5EF4-FFF2-40B4-BE49-F238E27FC236}">
                  <a16:creationId xmlns:a16="http://schemas.microsoft.com/office/drawing/2014/main" id="{76A5E172-F2DB-AB47-BF8B-E04905D4DF34}"/>
                </a:ext>
              </a:extLst>
            </p:cNvPr>
            <p:cNvCxnSpPr>
              <a:cxnSpLocks/>
            </p:cNvCxnSpPr>
            <p:nvPr userDrawn="1"/>
          </p:nvCxnSpPr>
          <p:spPr>
            <a:xfrm>
              <a:off x="9558507" y="384738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3686235-423F-604C-911D-620F011D49F8}"/>
                </a:ext>
              </a:extLst>
            </p:cNvPr>
            <p:cNvSpPr txBox="1"/>
            <p:nvPr userDrawn="1"/>
          </p:nvSpPr>
          <p:spPr>
            <a:xfrm>
              <a:off x="9686426" y="470569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19" name="Group 118">
              <a:extLst>
                <a:ext uri="{FF2B5EF4-FFF2-40B4-BE49-F238E27FC236}">
                  <a16:creationId xmlns:a16="http://schemas.microsoft.com/office/drawing/2014/main" id="{74431D0C-E5D7-5C4B-B34D-ED622DCEC90B}"/>
                </a:ext>
              </a:extLst>
            </p:cNvPr>
            <p:cNvGrpSpPr/>
            <p:nvPr userDrawn="1"/>
          </p:nvGrpSpPr>
          <p:grpSpPr>
            <a:xfrm>
              <a:off x="9541497" y="8247273"/>
              <a:ext cx="2735151" cy="1411315"/>
              <a:chOff x="9296567" y="4910411"/>
              <a:chExt cx="2735151" cy="1411315"/>
            </a:xfrm>
          </p:grpSpPr>
          <p:sp>
            <p:nvSpPr>
              <p:cNvPr id="148" name="Rectangle 147">
                <a:extLst>
                  <a:ext uri="{FF2B5EF4-FFF2-40B4-BE49-F238E27FC236}">
                    <a16:creationId xmlns:a16="http://schemas.microsoft.com/office/drawing/2014/main" id="{3EE33C6F-C414-704B-930C-49B6415FB0D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9" name="TextBox 148">
                <a:extLst>
                  <a:ext uri="{FF2B5EF4-FFF2-40B4-BE49-F238E27FC236}">
                    <a16:creationId xmlns:a16="http://schemas.microsoft.com/office/drawing/2014/main" id="{C7770F39-017B-9A4E-B2C7-C48397F86E0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50" name="Graphic 149">
                <a:extLst>
                  <a:ext uri="{FF2B5EF4-FFF2-40B4-BE49-F238E27FC236}">
                    <a16:creationId xmlns:a16="http://schemas.microsoft.com/office/drawing/2014/main" id="{2B06D124-E28F-144C-A1A8-A9F9DCEDD39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51" name="TextBox 150">
                <a:extLst>
                  <a:ext uri="{FF2B5EF4-FFF2-40B4-BE49-F238E27FC236}">
                    <a16:creationId xmlns:a16="http://schemas.microsoft.com/office/drawing/2014/main" id="{217354F4-3327-F641-8A6E-7CF3A11F0418}"/>
                  </a:ext>
                </a:extLst>
              </p:cNvPr>
              <p:cNvSpPr txBox="1"/>
              <p:nvPr userDrawn="1"/>
            </p:nvSpPr>
            <p:spPr>
              <a:xfrm>
                <a:off x="9471805" y="5619194"/>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52" name="TextBox 151">
                <a:extLst>
                  <a:ext uri="{FF2B5EF4-FFF2-40B4-BE49-F238E27FC236}">
                    <a16:creationId xmlns:a16="http://schemas.microsoft.com/office/drawing/2014/main" id="{C21E8267-10D6-A74C-9247-CF15A2756B5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53" name="TextBox 152">
                <a:extLst>
                  <a:ext uri="{FF2B5EF4-FFF2-40B4-BE49-F238E27FC236}">
                    <a16:creationId xmlns:a16="http://schemas.microsoft.com/office/drawing/2014/main" id="{33236540-7695-CC4F-8B5C-2A70FAD9ED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20" name="Group 119">
              <a:extLst>
                <a:ext uri="{FF2B5EF4-FFF2-40B4-BE49-F238E27FC236}">
                  <a16:creationId xmlns:a16="http://schemas.microsoft.com/office/drawing/2014/main" id="{1CC75D71-084C-2841-A6C3-E4B52088D324}"/>
                </a:ext>
              </a:extLst>
            </p:cNvPr>
            <p:cNvGrpSpPr/>
            <p:nvPr userDrawn="1"/>
          </p:nvGrpSpPr>
          <p:grpSpPr>
            <a:xfrm>
              <a:off x="9541497" y="6890617"/>
              <a:ext cx="2735151" cy="1280928"/>
              <a:chOff x="9286315" y="6976989"/>
              <a:chExt cx="2735151" cy="1280928"/>
            </a:xfrm>
          </p:grpSpPr>
          <p:sp>
            <p:nvSpPr>
              <p:cNvPr id="138" name="Rectangle 137">
                <a:extLst>
                  <a:ext uri="{FF2B5EF4-FFF2-40B4-BE49-F238E27FC236}">
                    <a16:creationId xmlns:a16="http://schemas.microsoft.com/office/drawing/2014/main" id="{80A4814C-F3C9-8E4D-A7A3-91D0BBB9B2D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4" name="TextBox 143">
                <a:extLst>
                  <a:ext uri="{FF2B5EF4-FFF2-40B4-BE49-F238E27FC236}">
                    <a16:creationId xmlns:a16="http://schemas.microsoft.com/office/drawing/2014/main" id="{9E22E78A-6530-6E49-B5B6-FE675F4954F7}"/>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45" name="Graphic 144">
                <a:extLst>
                  <a:ext uri="{FF2B5EF4-FFF2-40B4-BE49-F238E27FC236}">
                    <a16:creationId xmlns:a16="http://schemas.microsoft.com/office/drawing/2014/main" id="{DABEDA03-6252-DA49-BF04-D4C0068F703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46" name="TextBox 145">
                <a:extLst>
                  <a:ext uri="{FF2B5EF4-FFF2-40B4-BE49-F238E27FC236}">
                    <a16:creationId xmlns:a16="http://schemas.microsoft.com/office/drawing/2014/main" id="{8636DC60-0BA4-B64F-91F4-B8555CA43CB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47" name="Picture 146">
                <a:extLst>
                  <a:ext uri="{FF2B5EF4-FFF2-40B4-BE49-F238E27FC236}">
                    <a16:creationId xmlns:a16="http://schemas.microsoft.com/office/drawing/2014/main" id="{9C06CF34-F5E9-FF43-92FC-A8A12A5E751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1" name="Group 120">
              <a:extLst>
                <a:ext uri="{FF2B5EF4-FFF2-40B4-BE49-F238E27FC236}">
                  <a16:creationId xmlns:a16="http://schemas.microsoft.com/office/drawing/2014/main" id="{38052344-BDD9-5C4C-BCF9-CDD928F9ABEF}"/>
                </a:ext>
              </a:extLst>
            </p:cNvPr>
            <p:cNvGrpSpPr/>
            <p:nvPr userDrawn="1"/>
          </p:nvGrpSpPr>
          <p:grpSpPr>
            <a:xfrm>
              <a:off x="9521833" y="3969883"/>
              <a:ext cx="2617883" cy="651460"/>
              <a:chOff x="12352022" y="513115"/>
              <a:chExt cx="2617883" cy="651460"/>
            </a:xfrm>
          </p:grpSpPr>
          <p:sp>
            <p:nvSpPr>
              <p:cNvPr id="135" name="TextBox 134">
                <a:extLst>
                  <a:ext uri="{FF2B5EF4-FFF2-40B4-BE49-F238E27FC236}">
                    <a16:creationId xmlns:a16="http://schemas.microsoft.com/office/drawing/2014/main" id="{EA326582-6206-9448-AC3D-D3956871747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6" name="TextBox 135">
                <a:extLst>
                  <a:ext uri="{FF2B5EF4-FFF2-40B4-BE49-F238E27FC236}">
                    <a16:creationId xmlns:a16="http://schemas.microsoft.com/office/drawing/2014/main" id="{4064E1A2-6908-7D4E-AED8-AABD4AFAA4D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37" name="TextBox 136">
                <a:extLst>
                  <a:ext uri="{FF2B5EF4-FFF2-40B4-BE49-F238E27FC236}">
                    <a16:creationId xmlns:a16="http://schemas.microsoft.com/office/drawing/2014/main" id="{26F5F72F-54E6-6444-AD2C-1C7049E062D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122" name="TextBox 121">
              <a:extLst>
                <a:ext uri="{FF2B5EF4-FFF2-40B4-BE49-F238E27FC236}">
                  <a16:creationId xmlns:a16="http://schemas.microsoft.com/office/drawing/2014/main" id="{6ADF7B1D-21B9-4A43-9883-156AF8A7FE24}"/>
                </a:ext>
              </a:extLst>
            </p:cNvPr>
            <p:cNvSpPr txBox="1"/>
            <p:nvPr userDrawn="1"/>
          </p:nvSpPr>
          <p:spPr>
            <a:xfrm>
              <a:off x="9674267" y="4988995"/>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23" name="TextBox 122">
              <a:extLst>
                <a:ext uri="{FF2B5EF4-FFF2-40B4-BE49-F238E27FC236}">
                  <a16:creationId xmlns:a16="http://schemas.microsoft.com/office/drawing/2014/main" id="{FD008BFE-F284-7448-B84A-6DC42232D3A9}"/>
                </a:ext>
              </a:extLst>
            </p:cNvPr>
            <p:cNvSpPr txBox="1"/>
            <p:nvPr userDrawn="1"/>
          </p:nvSpPr>
          <p:spPr>
            <a:xfrm>
              <a:off x="9686426" y="540425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24" name="TextBox 123">
              <a:extLst>
                <a:ext uri="{FF2B5EF4-FFF2-40B4-BE49-F238E27FC236}">
                  <a16:creationId xmlns:a16="http://schemas.microsoft.com/office/drawing/2014/main" id="{3BA44DCB-A3AF-9546-85AA-0C8080A538B5}"/>
                </a:ext>
              </a:extLst>
            </p:cNvPr>
            <p:cNvSpPr txBox="1"/>
            <p:nvPr userDrawn="1"/>
          </p:nvSpPr>
          <p:spPr>
            <a:xfrm>
              <a:off x="9686426" y="612434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25" name="TextBox 124">
              <a:extLst>
                <a:ext uri="{FF2B5EF4-FFF2-40B4-BE49-F238E27FC236}">
                  <a16:creationId xmlns:a16="http://schemas.microsoft.com/office/drawing/2014/main" id="{495F74B5-1BAA-CF4B-B826-677D9A1B2C48}"/>
                </a:ext>
              </a:extLst>
            </p:cNvPr>
            <p:cNvSpPr txBox="1"/>
            <p:nvPr userDrawn="1"/>
          </p:nvSpPr>
          <p:spPr>
            <a:xfrm>
              <a:off x="9674267" y="6554905"/>
              <a:ext cx="2374733"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33" name="TextBox 132">
              <a:extLst>
                <a:ext uri="{FF2B5EF4-FFF2-40B4-BE49-F238E27FC236}">
                  <a16:creationId xmlns:a16="http://schemas.microsoft.com/office/drawing/2014/main" id="{3F7CB717-E705-2840-9197-C78C7B64E71A}"/>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134" name="Straight Connector 133">
              <a:extLst>
                <a:ext uri="{FF2B5EF4-FFF2-40B4-BE49-F238E27FC236}">
                  <a16:creationId xmlns:a16="http://schemas.microsoft.com/office/drawing/2014/main" id="{C57B530B-447D-4A4B-9F77-9EBFE3288785}"/>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62FAFE70-D4B2-8F4F-9523-F66BEB76844C}"/>
                </a:ext>
              </a:extLst>
            </p:cNvPr>
            <p:cNvGrpSpPr/>
            <p:nvPr userDrawn="1"/>
          </p:nvGrpSpPr>
          <p:grpSpPr>
            <a:xfrm>
              <a:off x="9541497" y="2222532"/>
              <a:ext cx="2735151" cy="1326215"/>
              <a:chOff x="9286315" y="6976988"/>
              <a:chExt cx="2735151" cy="1326215"/>
            </a:xfrm>
          </p:grpSpPr>
          <p:sp>
            <p:nvSpPr>
              <p:cNvPr id="129" name="Rectangle 128">
                <a:extLst>
                  <a:ext uri="{FF2B5EF4-FFF2-40B4-BE49-F238E27FC236}">
                    <a16:creationId xmlns:a16="http://schemas.microsoft.com/office/drawing/2014/main" id="{E47B8ADC-2456-1243-95C8-E860AAB723D4}"/>
                  </a:ext>
                </a:extLst>
              </p:cNvPr>
              <p:cNvSpPr/>
              <p:nvPr userDrawn="1"/>
            </p:nvSpPr>
            <p:spPr>
              <a:xfrm>
                <a:off x="9286315" y="6976988"/>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0" name="TextBox 129">
                <a:extLst>
                  <a:ext uri="{FF2B5EF4-FFF2-40B4-BE49-F238E27FC236}">
                    <a16:creationId xmlns:a16="http://schemas.microsoft.com/office/drawing/2014/main" id="{EDAA5B06-10D3-584A-BD73-861E5B9ACB56}"/>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31" name="Graphic 130">
                <a:extLst>
                  <a:ext uri="{FF2B5EF4-FFF2-40B4-BE49-F238E27FC236}">
                    <a16:creationId xmlns:a16="http://schemas.microsoft.com/office/drawing/2014/main" id="{161E4833-BB86-994F-833D-93E67F55990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2" name="TextBox 131">
                <a:extLst>
                  <a:ext uri="{FF2B5EF4-FFF2-40B4-BE49-F238E27FC236}">
                    <a16:creationId xmlns:a16="http://schemas.microsoft.com/office/drawing/2014/main" id="{8DAA1AE3-7284-B649-9EEF-97FFE151F8C8}"/>
                  </a:ext>
                </a:extLst>
              </p:cNvPr>
              <p:cNvSpPr txBox="1"/>
              <p:nvPr userDrawn="1"/>
            </p:nvSpPr>
            <p:spPr>
              <a:xfrm>
                <a:off x="9446538" y="7369972"/>
                <a:ext cx="2214055" cy="53707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sp>
        <p:nvSpPr>
          <p:cNvPr id="500" name="Caption">
            <a:extLst>
              <a:ext uri="{FF2B5EF4-FFF2-40B4-BE49-F238E27FC236}">
                <a16:creationId xmlns:a16="http://schemas.microsoft.com/office/drawing/2014/main" id="{659A1A30-0D40-E04A-93E5-5EBF0216ED61}"/>
              </a:ext>
            </a:extLst>
          </p:cNvPr>
          <p:cNvSpPr>
            <a:spLocks noGrp="1"/>
          </p:cNvSpPr>
          <p:nvPr>
            <p:ph type="body" sz="quarter" idx="500" hasCustomPrompt="1"/>
          </p:nvPr>
        </p:nvSpPr>
        <p:spPr>
          <a:xfrm>
            <a:off x="7947046" y="6200776"/>
            <a:ext cx="3657167"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dirty="0"/>
              <a:t>Click to add photo caption</a:t>
            </a:r>
          </a:p>
        </p:txBody>
      </p:sp>
    </p:spTree>
    <p:extLst>
      <p:ext uri="{BB962C8B-B14F-4D97-AF65-F5344CB8AC3E}">
        <p14:creationId xmlns:p14="http://schemas.microsoft.com/office/powerpoint/2010/main" val="1404367560"/>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Single Large Stat Over Photo (Full)">
    <p:bg>
      <p:bgPr>
        <a:solidFill>
          <a:schemeClr val="bg1"/>
        </a:solidFill>
        <a:effectLst/>
      </p:bgPr>
    </p:bg>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23B4BB76-40B0-E54D-B448-1587B8F2254F}"/>
              </a:ext>
            </a:extLst>
          </p:cNvPr>
          <p:cNvSpPr txBox="1">
            <a:spLocks/>
          </p:cNvSpPr>
          <p:nvPr userDrawn="1"/>
        </p:nvSpPr>
        <p:spPr>
          <a:xfrm>
            <a:off x="0" y="6200777"/>
            <a:ext cx="12192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1400" dirty="0"/>
          </a:p>
        </p:txBody>
      </p:sp>
      <p:grpSp>
        <p:nvGrpSpPr>
          <p:cNvPr id="8" name="Group 7">
            <a:extLst>
              <a:ext uri="{FF2B5EF4-FFF2-40B4-BE49-F238E27FC236}">
                <a16:creationId xmlns:a16="http://schemas.microsoft.com/office/drawing/2014/main" id="{B59B1C78-E256-DF49-A6F9-68ADE4F58193}"/>
              </a:ext>
            </a:extLst>
          </p:cNvPr>
          <p:cNvGrpSpPr/>
          <p:nvPr userDrawn="1"/>
        </p:nvGrpSpPr>
        <p:grpSpPr>
          <a:xfrm>
            <a:off x="-339919" y="-244225"/>
            <a:ext cx="12877237"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310209" y="6399801"/>
                <a:ext cx="359073" cy="129266"/>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FOOT </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 NOTES </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0" cy="235792"/>
              <a:chOff x="431800" y="-240735"/>
              <a:chExt cx="8280400"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895101" y="-176700"/>
                <a:ext cx="1353812"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 KEEP CONTENT WITHIN THIS AREA </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0" y="-122839"/>
                <a:ext cx="3463301"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a:off x="5248913" y="-122839"/>
                <a:ext cx="3463287"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891346" y="3686135"/>
                  <a:ext cx="1521348" cy="8079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 KEEP CONTENT WITHIN THIS AREA </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flipH="1">
                  <a:off x="-130672" y="4487205"/>
                  <a:ext cx="1" cy="166093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660929"/>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2162" y="6868673"/>
              <a:ext cx="2992631" cy="235790"/>
              <a:chOff x="3090129" y="6869197"/>
              <a:chExt cx="2992631"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0129" y="6954537"/>
                <a:ext cx="21640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1/3 </a:t>
                </a:r>
                <a:r>
                  <a:rPr lang="en-US" sz="650" kern="1200" baseline="30000" dirty="0">
                    <a:solidFill>
                      <a:schemeClr val="accent2"/>
                    </a:solidFill>
                    <a:latin typeface="Arial" charset="0"/>
                    <a:ea typeface="Arial" charset="0"/>
                    <a:cs typeface="Arial" charset="0"/>
                  </a:rPr>
                  <a:t> RD </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68755" y="6954537"/>
                <a:ext cx="209192"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HALF </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8703" y="6954537"/>
                <a:ext cx="244057"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2/3 </a:t>
                </a:r>
                <a:r>
                  <a:rPr lang="en-US" sz="650" baseline="30000" dirty="0">
                    <a:solidFill>
                      <a:schemeClr val="accent2"/>
                    </a:solidFill>
                    <a:latin typeface="Arial" charset="0"/>
                    <a:ea typeface="Arial" charset="0"/>
                    <a:cs typeface="Arial" charset="0"/>
                  </a:rPr>
                  <a:t> RDS </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113" name="Picture Placeholder 112">
            <a:extLst>
              <a:ext uri="{FF2B5EF4-FFF2-40B4-BE49-F238E27FC236}">
                <a16:creationId xmlns:a16="http://schemas.microsoft.com/office/drawing/2014/main" id="{F496D090-3599-A14E-975E-33E720BD0F6C}"/>
              </a:ext>
            </a:extLst>
          </p:cNvPr>
          <p:cNvSpPr>
            <a:spLocks noGrp="1"/>
          </p:cNvSpPr>
          <p:nvPr>
            <p:ph type="pic" sz="quarter" idx="10" hasCustomPrompt="1"/>
          </p:nvPr>
        </p:nvSpPr>
        <p:spPr>
          <a:xfrm>
            <a:off x="0" y="0"/>
            <a:ext cx="12192000" cy="6858000"/>
          </a:xfrm>
          <a:custGeom>
            <a:avLst/>
            <a:gdLst>
              <a:gd name="connsiteX0" fmla="*/ 8381735 w 9144000"/>
              <a:gd name="connsiteY0" fmla="*/ 6576022 h 6858000"/>
              <a:gd name="connsiteX1" fmla="*/ 8398942 w 9144000"/>
              <a:gd name="connsiteY1" fmla="*/ 6577877 h 6858000"/>
              <a:gd name="connsiteX2" fmla="*/ 8407847 w 9144000"/>
              <a:gd name="connsiteY2" fmla="*/ 6584666 h 6858000"/>
              <a:gd name="connsiteX3" fmla="*/ 8413547 w 9144000"/>
              <a:gd name="connsiteY3" fmla="*/ 6594991 h 6858000"/>
              <a:gd name="connsiteX4" fmla="*/ 8415584 w 9144000"/>
              <a:gd name="connsiteY4" fmla="*/ 6608203 h 6858000"/>
              <a:gd name="connsiteX5" fmla="*/ 8413646 w 9144000"/>
              <a:gd name="connsiteY5" fmla="*/ 6621274 h 6858000"/>
              <a:gd name="connsiteX6" fmla="*/ 8407947 w 9144000"/>
              <a:gd name="connsiteY6" fmla="*/ 6631669 h 6858000"/>
              <a:gd name="connsiteX7" fmla="*/ 8375887 w 9144000"/>
              <a:gd name="connsiteY7" fmla="*/ 6638514 h 6858000"/>
              <a:gd name="connsiteX8" fmla="*/ 8366910 w 9144000"/>
              <a:gd name="connsiteY8" fmla="*/ 6631669 h 6858000"/>
              <a:gd name="connsiteX9" fmla="*/ 8361211 w 9144000"/>
              <a:gd name="connsiteY9" fmla="*/ 6621274 h 6858000"/>
              <a:gd name="connsiteX10" fmla="*/ 8359045 w 9144000"/>
              <a:gd name="connsiteY10" fmla="*/ 6608203 h 6858000"/>
              <a:gd name="connsiteX11" fmla="*/ 8361097 w 9144000"/>
              <a:gd name="connsiteY11" fmla="*/ 6594991 h 6858000"/>
              <a:gd name="connsiteX12" fmla="*/ 8366796 w 9144000"/>
              <a:gd name="connsiteY12" fmla="*/ 6584666 h 6858000"/>
              <a:gd name="connsiteX13" fmla="*/ 8381735 w 9144000"/>
              <a:gd name="connsiteY13" fmla="*/ 6576022 h 6858000"/>
              <a:gd name="connsiteX14" fmla="*/ 8525633 w 9144000"/>
              <a:gd name="connsiteY14" fmla="*/ 6553486 h 6858000"/>
              <a:gd name="connsiteX15" fmla="*/ 8525633 w 9144000"/>
              <a:gd name="connsiteY15" fmla="*/ 6599432 h 6858000"/>
              <a:gd name="connsiteX16" fmla="*/ 8525633 w 9144000"/>
              <a:gd name="connsiteY16" fmla="*/ 6662773 h 6858000"/>
              <a:gd name="connsiteX17" fmla="*/ 8595623 w 9144000"/>
              <a:gd name="connsiteY17" fmla="*/ 6662773 h 6858000"/>
              <a:gd name="connsiteX18" fmla="*/ 8596022 w 9144000"/>
              <a:gd name="connsiteY18" fmla="*/ 6662773 h 6858000"/>
              <a:gd name="connsiteX19" fmla="*/ 8596022 w 9144000"/>
              <a:gd name="connsiteY19" fmla="*/ 6645772 h 6858000"/>
              <a:gd name="connsiteX20" fmla="*/ 8595623 w 9144000"/>
              <a:gd name="connsiteY20" fmla="*/ 6645772 h 6858000"/>
              <a:gd name="connsiteX21" fmla="*/ 8595623 w 9144000"/>
              <a:gd name="connsiteY21" fmla="*/ 6639674 h 6858000"/>
              <a:gd name="connsiteX22" fmla="*/ 8551295 w 9144000"/>
              <a:gd name="connsiteY22" fmla="*/ 6639674 h 6858000"/>
              <a:gd name="connsiteX23" fmla="*/ 8551295 w 9144000"/>
              <a:gd name="connsiteY23" fmla="*/ 6618349 h 6858000"/>
              <a:gd name="connsiteX24" fmla="*/ 8591705 w 9144000"/>
              <a:gd name="connsiteY24" fmla="*/ 6618349 h 6858000"/>
              <a:gd name="connsiteX25" fmla="*/ 8591705 w 9144000"/>
              <a:gd name="connsiteY25" fmla="*/ 6596277 h 6858000"/>
              <a:gd name="connsiteX26" fmla="*/ 8551295 w 9144000"/>
              <a:gd name="connsiteY26" fmla="*/ 6596277 h 6858000"/>
              <a:gd name="connsiteX27" fmla="*/ 8551295 w 9144000"/>
              <a:gd name="connsiteY27" fmla="*/ 6576755 h 6858000"/>
              <a:gd name="connsiteX28" fmla="*/ 8595623 w 9144000"/>
              <a:gd name="connsiteY28" fmla="*/ 6576755 h 6858000"/>
              <a:gd name="connsiteX29" fmla="*/ 8595623 w 9144000"/>
              <a:gd name="connsiteY29" fmla="*/ 6570487 h 6858000"/>
              <a:gd name="connsiteX30" fmla="*/ 8596022 w 9144000"/>
              <a:gd name="connsiteY30" fmla="*/ 6570487 h 6858000"/>
              <a:gd name="connsiteX31" fmla="*/ 8596022 w 9144000"/>
              <a:gd name="connsiteY31" fmla="*/ 6553486 h 6858000"/>
              <a:gd name="connsiteX32" fmla="*/ 8595623 w 9144000"/>
              <a:gd name="connsiteY32" fmla="*/ 6553486 h 6858000"/>
              <a:gd name="connsiteX33" fmla="*/ 8547362 w 9144000"/>
              <a:gd name="connsiteY33" fmla="*/ 6553486 h 6858000"/>
              <a:gd name="connsiteX34" fmla="*/ 8448177 w 9144000"/>
              <a:gd name="connsiteY34" fmla="*/ 6553486 h 6858000"/>
              <a:gd name="connsiteX35" fmla="*/ 8448177 w 9144000"/>
              <a:gd name="connsiteY35" fmla="*/ 6599432 h 6858000"/>
              <a:gd name="connsiteX36" fmla="*/ 8448177 w 9144000"/>
              <a:gd name="connsiteY36" fmla="*/ 6662773 h 6858000"/>
              <a:gd name="connsiteX37" fmla="*/ 8518167 w 9144000"/>
              <a:gd name="connsiteY37" fmla="*/ 6662773 h 6858000"/>
              <a:gd name="connsiteX38" fmla="*/ 8518552 w 9144000"/>
              <a:gd name="connsiteY38" fmla="*/ 6662773 h 6858000"/>
              <a:gd name="connsiteX39" fmla="*/ 8518552 w 9144000"/>
              <a:gd name="connsiteY39" fmla="*/ 6645772 h 6858000"/>
              <a:gd name="connsiteX40" fmla="*/ 8518167 w 9144000"/>
              <a:gd name="connsiteY40" fmla="*/ 6645772 h 6858000"/>
              <a:gd name="connsiteX41" fmla="*/ 8518167 w 9144000"/>
              <a:gd name="connsiteY41" fmla="*/ 6639674 h 6858000"/>
              <a:gd name="connsiteX42" fmla="*/ 8473825 w 9144000"/>
              <a:gd name="connsiteY42" fmla="*/ 6639674 h 6858000"/>
              <a:gd name="connsiteX43" fmla="*/ 8473825 w 9144000"/>
              <a:gd name="connsiteY43" fmla="*/ 6618349 h 6858000"/>
              <a:gd name="connsiteX44" fmla="*/ 8514235 w 9144000"/>
              <a:gd name="connsiteY44" fmla="*/ 6618349 h 6858000"/>
              <a:gd name="connsiteX45" fmla="*/ 8514235 w 9144000"/>
              <a:gd name="connsiteY45" fmla="*/ 6596277 h 6858000"/>
              <a:gd name="connsiteX46" fmla="*/ 8473825 w 9144000"/>
              <a:gd name="connsiteY46" fmla="*/ 6596277 h 6858000"/>
              <a:gd name="connsiteX47" fmla="*/ 8473825 w 9144000"/>
              <a:gd name="connsiteY47" fmla="*/ 6576755 h 6858000"/>
              <a:gd name="connsiteX48" fmla="*/ 8518167 w 9144000"/>
              <a:gd name="connsiteY48" fmla="*/ 6576755 h 6858000"/>
              <a:gd name="connsiteX49" fmla="*/ 8518167 w 9144000"/>
              <a:gd name="connsiteY49" fmla="*/ 6570487 h 6858000"/>
              <a:gd name="connsiteX50" fmla="*/ 8518552 w 9144000"/>
              <a:gd name="connsiteY50" fmla="*/ 6570487 h 6858000"/>
              <a:gd name="connsiteX51" fmla="*/ 8518552 w 9144000"/>
              <a:gd name="connsiteY51" fmla="*/ 6553486 h 6858000"/>
              <a:gd name="connsiteX52" fmla="*/ 8518167 w 9144000"/>
              <a:gd name="connsiteY52" fmla="*/ 6553486 h 6858000"/>
              <a:gd name="connsiteX53" fmla="*/ 8469892 w 9144000"/>
              <a:gd name="connsiteY53" fmla="*/ 6553486 h 6858000"/>
              <a:gd name="connsiteX54" fmla="*/ 8387913 w 9144000"/>
              <a:gd name="connsiteY54" fmla="*/ 6553453 h 6858000"/>
              <a:gd name="connsiteX55" fmla="*/ 8365286 w 9144000"/>
              <a:gd name="connsiteY55" fmla="*/ 6557679 h 6858000"/>
              <a:gd name="connsiteX56" fmla="*/ 8357150 w 9144000"/>
              <a:gd name="connsiteY56" fmla="*/ 6561806 h 6858000"/>
              <a:gd name="connsiteX57" fmla="*/ 8332784 w 9144000"/>
              <a:gd name="connsiteY57" fmla="*/ 6613372 h 6858000"/>
              <a:gd name="connsiteX58" fmla="*/ 8336389 w 9144000"/>
              <a:gd name="connsiteY58" fmla="*/ 6629852 h 6858000"/>
              <a:gd name="connsiteX59" fmla="*/ 8364431 w 9144000"/>
              <a:gd name="connsiteY59" fmla="*/ 6658585 h 6858000"/>
              <a:gd name="connsiteX60" fmla="*/ 8386916 w 9144000"/>
              <a:gd name="connsiteY60" fmla="*/ 6662811 h 6858000"/>
              <a:gd name="connsiteX61" fmla="*/ 8409486 w 9144000"/>
              <a:gd name="connsiteY61" fmla="*/ 6658585 h 6858000"/>
              <a:gd name="connsiteX62" fmla="*/ 8426926 w 9144000"/>
              <a:gd name="connsiteY62" fmla="*/ 6647106 h 6858000"/>
              <a:gd name="connsiteX63" fmla="*/ 8438240 w 9144000"/>
              <a:gd name="connsiteY63" fmla="*/ 6629852 h 6858000"/>
              <a:gd name="connsiteX64" fmla="*/ 8442258 w 9144000"/>
              <a:gd name="connsiteY64" fmla="*/ 6608203 h 6858000"/>
              <a:gd name="connsiteX65" fmla="*/ 8438397 w 9144000"/>
              <a:gd name="connsiteY65" fmla="*/ 6586469 h 6858000"/>
              <a:gd name="connsiteX66" fmla="*/ 8427439 w 9144000"/>
              <a:gd name="connsiteY66" fmla="*/ 6569158 h 6858000"/>
              <a:gd name="connsiteX67" fmla="*/ 8410341 w 9144000"/>
              <a:gd name="connsiteY67" fmla="*/ 6557679 h 6858000"/>
              <a:gd name="connsiteX68" fmla="*/ 8387913 w 9144000"/>
              <a:gd name="connsiteY68" fmla="*/ 6553453 h 6858000"/>
              <a:gd name="connsiteX69" fmla="*/ 8245203 w 9144000"/>
              <a:gd name="connsiteY69" fmla="*/ 6553106 h 6858000"/>
              <a:gd name="connsiteX70" fmla="*/ 8261546 w 9144000"/>
              <a:gd name="connsiteY70" fmla="*/ 6587178 h 6858000"/>
              <a:gd name="connsiteX71" fmla="*/ 8288505 w 9144000"/>
              <a:gd name="connsiteY71" fmla="*/ 6587178 h 6858000"/>
              <a:gd name="connsiteX72" fmla="*/ 8274156 w 9144000"/>
              <a:gd name="connsiteY72" fmla="*/ 6553106 h 6858000"/>
              <a:gd name="connsiteX73" fmla="*/ 8325053 w 9144000"/>
              <a:gd name="connsiteY73" fmla="*/ 6553092 h 6858000"/>
              <a:gd name="connsiteX74" fmla="*/ 8299363 w 9144000"/>
              <a:gd name="connsiteY74" fmla="*/ 6612222 h 6858000"/>
              <a:gd name="connsiteX75" fmla="*/ 8292395 w 9144000"/>
              <a:gd name="connsiteY75" fmla="*/ 6595883 h 6858000"/>
              <a:gd name="connsiteX76" fmla="*/ 8265650 w 9144000"/>
              <a:gd name="connsiteY76" fmla="*/ 6595883 h 6858000"/>
              <a:gd name="connsiteX77" fmla="*/ 8297582 w 9144000"/>
              <a:gd name="connsiteY77" fmla="*/ 6662548 h 6858000"/>
              <a:gd name="connsiteX78" fmla="*/ 8300545 w 9144000"/>
              <a:gd name="connsiteY78" fmla="*/ 6662548 h 6858000"/>
              <a:gd name="connsiteX79" fmla="*/ 8352283 w 9144000"/>
              <a:gd name="connsiteY79" fmla="*/ 6553092 h 6858000"/>
              <a:gd name="connsiteX80" fmla="*/ 8704282 w 9144000"/>
              <a:gd name="connsiteY80" fmla="*/ 6515554 h 6858000"/>
              <a:gd name="connsiteX81" fmla="*/ 8704282 w 9144000"/>
              <a:gd name="connsiteY81" fmla="*/ 6690482 h 6858000"/>
              <a:gd name="connsiteX82" fmla="*/ 8723671 w 9144000"/>
              <a:gd name="connsiteY82" fmla="*/ 6690482 h 6858000"/>
              <a:gd name="connsiteX83" fmla="*/ 8723671 w 9144000"/>
              <a:gd name="connsiteY83" fmla="*/ 6515554 h 6858000"/>
              <a:gd name="connsiteX84" fmla="*/ 0 w 9144000"/>
              <a:gd name="connsiteY84" fmla="*/ 0 h 6858000"/>
              <a:gd name="connsiteX85" fmla="*/ 9144000 w 9144000"/>
              <a:gd name="connsiteY85" fmla="*/ 0 h 6858000"/>
              <a:gd name="connsiteX86" fmla="*/ 9144000 w 9144000"/>
              <a:gd name="connsiteY86" fmla="*/ 6214681 h 6858000"/>
              <a:gd name="connsiteX87" fmla="*/ 9144000 w 9144000"/>
              <a:gd name="connsiteY87" fmla="*/ 6397151 h 6858000"/>
              <a:gd name="connsiteX88" fmla="*/ 9144000 w 9144000"/>
              <a:gd name="connsiteY88" fmla="*/ 6401792 h 6858000"/>
              <a:gd name="connsiteX89" fmla="*/ 9144000 w 9144000"/>
              <a:gd name="connsiteY89" fmla="*/ 6434962 h 6858000"/>
              <a:gd name="connsiteX90" fmla="*/ 9144000 w 9144000"/>
              <a:gd name="connsiteY90" fmla="*/ 6858000 h 6858000"/>
              <a:gd name="connsiteX91" fmla="*/ 8995529 w 9144000"/>
              <a:gd name="connsiteY91" fmla="*/ 6858000 h 6858000"/>
              <a:gd name="connsiteX92" fmla="*/ 7924718 w 9144000"/>
              <a:gd name="connsiteY92" fmla="*/ 6858000 h 6858000"/>
              <a:gd name="connsiteX93" fmla="*/ 0 w 9144000"/>
              <a:gd name="connsiteY93" fmla="*/ 6858000 h 6858000"/>
              <a:gd name="connsiteX94" fmla="*/ 0 w 9144000"/>
              <a:gd name="connsiteY94" fmla="*/ 6434962 h 6858000"/>
              <a:gd name="connsiteX95" fmla="*/ 0 w 9144000"/>
              <a:gd name="connsiteY95" fmla="*/ 6401792 h 6858000"/>
              <a:gd name="connsiteX96" fmla="*/ 0 w 9144000"/>
              <a:gd name="connsiteY96" fmla="*/ 6397151 h 6858000"/>
              <a:gd name="connsiteX97" fmla="*/ 0 w 9144000"/>
              <a:gd name="connsiteY97" fmla="*/ 62146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144000" h="6858000">
                <a:moveTo>
                  <a:pt x="8381735" y="6576022"/>
                </a:moveTo>
                <a:cubicBezTo>
                  <a:pt x="8387385" y="6574829"/>
                  <a:pt x="8393413" y="6575385"/>
                  <a:pt x="8398942" y="6577877"/>
                </a:cubicBezTo>
                <a:cubicBezTo>
                  <a:pt x="8402361" y="6579495"/>
                  <a:pt x="8405396" y="6581808"/>
                  <a:pt x="8407847" y="6584666"/>
                </a:cubicBezTo>
                <a:cubicBezTo>
                  <a:pt x="8410387" y="6587723"/>
                  <a:pt x="8412320" y="6591226"/>
                  <a:pt x="8413547" y="6594991"/>
                </a:cubicBezTo>
                <a:cubicBezTo>
                  <a:pt x="8414952" y="6599255"/>
                  <a:pt x="8415640" y="6603718"/>
                  <a:pt x="8415584" y="6608203"/>
                </a:cubicBezTo>
                <a:cubicBezTo>
                  <a:pt x="8415665" y="6612635"/>
                  <a:pt x="8415011" y="6617051"/>
                  <a:pt x="8413646" y="6621274"/>
                </a:cubicBezTo>
                <a:cubicBezTo>
                  <a:pt x="8412411" y="6625056"/>
                  <a:pt x="8410478" y="6628580"/>
                  <a:pt x="8407947" y="6631669"/>
                </a:cubicBezTo>
                <a:cubicBezTo>
                  <a:pt x="8399972" y="6640715"/>
                  <a:pt x="8386928" y="6643500"/>
                  <a:pt x="8375887" y="6638514"/>
                </a:cubicBezTo>
                <a:cubicBezTo>
                  <a:pt x="8372423" y="6636911"/>
                  <a:pt x="8369358" y="6634574"/>
                  <a:pt x="8366910" y="6631669"/>
                </a:cubicBezTo>
                <a:cubicBezTo>
                  <a:pt x="8364379" y="6628580"/>
                  <a:pt x="8362446" y="6625056"/>
                  <a:pt x="8361211" y="6621274"/>
                </a:cubicBezTo>
                <a:cubicBezTo>
                  <a:pt x="8359769" y="6617063"/>
                  <a:pt x="8359038" y="6612647"/>
                  <a:pt x="8359045" y="6608203"/>
                </a:cubicBezTo>
                <a:cubicBezTo>
                  <a:pt x="8358993" y="6603717"/>
                  <a:pt x="8359686" y="6599254"/>
                  <a:pt x="8361097" y="6594991"/>
                </a:cubicBezTo>
                <a:cubicBezTo>
                  <a:pt x="8362323" y="6591226"/>
                  <a:pt x="8364257" y="6587723"/>
                  <a:pt x="8366796" y="6584666"/>
                </a:cubicBezTo>
                <a:cubicBezTo>
                  <a:pt x="8370813" y="6580158"/>
                  <a:pt x="8376085" y="6577215"/>
                  <a:pt x="8381735" y="6576022"/>
                </a:cubicBezTo>
                <a:close/>
                <a:moveTo>
                  <a:pt x="8525633" y="6553486"/>
                </a:moveTo>
                <a:lnTo>
                  <a:pt x="8525633" y="6599432"/>
                </a:lnTo>
                <a:lnTo>
                  <a:pt x="8525633" y="6662773"/>
                </a:lnTo>
                <a:lnTo>
                  <a:pt x="8595623" y="6662773"/>
                </a:lnTo>
                <a:lnTo>
                  <a:pt x="8596022" y="6662773"/>
                </a:lnTo>
                <a:lnTo>
                  <a:pt x="8596022" y="6645772"/>
                </a:lnTo>
                <a:lnTo>
                  <a:pt x="8595623" y="6645772"/>
                </a:lnTo>
                <a:lnTo>
                  <a:pt x="8595623" y="6639674"/>
                </a:lnTo>
                <a:lnTo>
                  <a:pt x="8551295" y="6639674"/>
                </a:lnTo>
                <a:lnTo>
                  <a:pt x="8551295" y="6618349"/>
                </a:lnTo>
                <a:lnTo>
                  <a:pt x="8591705" y="6618349"/>
                </a:lnTo>
                <a:lnTo>
                  <a:pt x="8591705" y="6596277"/>
                </a:lnTo>
                <a:lnTo>
                  <a:pt x="8551295" y="6596277"/>
                </a:lnTo>
                <a:lnTo>
                  <a:pt x="8551295" y="6576755"/>
                </a:lnTo>
                <a:lnTo>
                  <a:pt x="8595623" y="6576755"/>
                </a:lnTo>
                <a:lnTo>
                  <a:pt x="8595623" y="6570487"/>
                </a:lnTo>
                <a:lnTo>
                  <a:pt x="8596022" y="6570487"/>
                </a:lnTo>
                <a:lnTo>
                  <a:pt x="8596022" y="6553486"/>
                </a:lnTo>
                <a:lnTo>
                  <a:pt x="8595623" y="6553486"/>
                </a:lnTo>
                <a:lnTo>
                  <a:pt x="8547362" y="6553486"/>
                </a:lnTo>
                <a:close/>
                <a:moveTo>
                  <a:pt x="8448177" y="6553486"/>
                </a:moveTo>
                <a:lnTo>
                  <a:pt x="8448177" y="6599432"/>
                </a:lnTo>
                <a:lnTo>
                  <a:pt x="8448177" y="6662773"/>
                </a:lnTo>
                <a:lnTo>
                  <a:pt x="8518167" y="6662773"/>
                </a:lnTo>
                <a:lnTo>
                  <a:pt x="8518552" y="6662773"/>
                </a:lnTo>
                <a:lnTo>
                  <a:pt x="8518552" y="6645772"/>
                </a:lnTo>
                <a:lnTo>
                  <a:pt x="8518167" y="6645772"/>
                </a:lnTo>
                <a:lnTo>
                  <a:pt x="8518167" y="6639674"/>
                </a:lnTo>
                <a:lnTo>
                  <a:pt x="8473825" y="6639674"/>
                </a:lnTo>
                <a:lnTo>
                  <a:pt x="8473825" y="6618349"/>
                </a:lnTo>
                <a:lnTo>
                  <a:pt x="8514235" y="6618349"/>
                </a:lnTo>
                <a:lnTo>
                  <a:pt x="8514235" y="6596277"/>
                </a:lnTo>
                <a:lnTo>
                  <a:pt x="8473825" y="6596277"/>
                </a:lnTo>
                <a:lnTo>
                  <a:pt x="8473825" y="6576755"/>
                </a:lnTo>
                <a:lnTo>
                  <a:pt x="8518167" y="6576755"/>
                </a:lnTo>
                <a:lnTo>
                  <a:pt x="8518167" y="6570487"/>
                </a:lnTo>
                <a:lnTo>
                  <a:pt x="8518552" y="6570487"/>
                </a:lnTo>
                <a:lnTo>
                  <a:pt x="8518552" y="6553486"/>
                </a:lnTo>
                <a:lnTo>
                  <a:pt x="8518167" y="6553486"/>
                </a:lnTo>
                <a:lnTo>
                  <a:pt x="8469892" y="6553486"/>
                </a:lnTo>
                <a:close/>
                <a:moveTo>
                  <a:pt x="8387913" y="6553453"/>
                </a:moveTo>
                <a:cubicBezTo>
                  <a:pt x="8380162" y="6553369"/>
                  <a:pt x="8372471" y="6554805"/>
                  <a:pt x="8365286" y="6557679"/>
                </a:cubicBezTo>
                <a:cubicBezTo>
                  <a:pt x="8362463" y="6558830"/>
                  <a:pt x="8359742" y="6560211"/>
                  <a:pt x="8357150" y="6561806"/>
                </a:cubicBezTo>
                <a:lnTo>
                  <a:pt x="8332784" y="6613372"/>
                </a:lnTo>
                <a:cubicBezTo>
                  <a:pt x="8333178" y="6619008"/>
                  <a:pt x="8334392" y="6624558"/>
                  <a:pt x="8336389" y="6629852"/>
                </a:cubicBezTo>
                <a:cubicBezTo>
                  <a:pt x="8341193" y="6642926"/>
                  <a:pt x="8351385" y="6653370"/>
                  <a:pt x="8364431" y="6658585"/>
                </a:cubicBezTo>
                <a:cubicBezTo>
                  <a:pt x="8371564" y="6661469"/>
                  <a:pt x="8379210" y="6662906"/>
                  <a:pt x="8386916" y="6662811"/>
                </a:cubicBezTo>
                <a:cubicBezTo>
                  <a:pt x="8394648" y="6662898"/>
                  <a:pt x="8402321" y="6661462"/>
                  <a:pt x="8409486" y="6658585"/>
                </a:cubicBezTo>
                <a:cubicBezTo>
                  <a:pt x="8416013" y="6655943"/>
                  <a:pt x="8421943" y="6652041"/>
                  <a:pt x="8426926" y="6647106"/>
                </a:cubicBezTo>
                <a:cubicBezTo>
                  <a:pt x="8431850" y="6642179"/>
                  <a:pt x="8435700" y="6636306"/>
                  <a:pt x="8438240" y="6629852"/>
                </a:cubicBezTo>
                <a:cubicBezTo>
                  <a:pt x="8440974" y="6622958"/>
                  <a:pt x="8442338" y="6615607"/>
                  <a:pt x="8442258" y="6608203"/>
                </a:cubicBezTo>
                <a:cubicBezTo>
                  <a:pt x="8442328" y="6600785"/>
                  <a:pt x="8441019" y="6593419"/>
                  <a:pt x="8438397" y="6586469"/>
                </a:cubicBezTo>
                <a:cubicBezTo>
                  <a:pt x="8435967" y="6580025"/>
                  <a:pt x="8432239" y="6574136"/>
                  <a:pt x="8427439" y="6569158"/>
                </a:cubicBezTo>
                <a:cubicBezTo>
                  <a:pt x="8422597" y="6564212"/>
                  <a:pt x="8416777" y="6560305"/>
                  <a:pt x="8410341" y="6557679"/>
                </a:cubicBezTo>
                <a:cubicBezTo>
                  <a:pt x="8403230" y="6554789"/>
                  <a:pt x="8395601" y="6553352"/>
                  <a:pt x="8387913" y="6553453"/>
                </a:cubicBezTo>
                <a:close/>
                <a:moveTo>
                  <a:pt x="8245203" y="6553106"/>
                </a:moveTo>
                <a:lnTo>
                  <a:pt x="8261546" y="6587178"/>
                </a:lnTo>
                <a:lnTo>
                  <a:pt x="8288505" y="6587178"/>
                </a:lnTo>
                <a:lnTo>
                  <a:pt x="8274156" y="6553106"/>
                </a:lnTo>
                <a:close/>
                <a:moveTo>
                  <a:pt x="8325053" y="6553092"/>
                </a:moveTo>
                <a:lnTo>
                  <a:pt x="8299363" y="6612222"/>
                </a:lnTo>
                <a:lnTo>
                  <a:pt x="8292395" y="6595883"/>
                </a:lnTo>
                <a:lnTo>
                  <a:pt x="8265650" y="6595883"/>
                </a:lnTo>
                <a:lnTo>
                  <a:pt x="8297582" y="6662548"/>
                </a:lnTo>
                <a:lnTo>
                  <a:pt x="8300545" y="6662548"/>
                </a:lnTo>
                <a:lnTo>
                  <a:pt x="8352283" y="6553092"/>
                </a:lnTo>
                <a:close/>
                <a:moveTo>
                  <a:pt x="8704282" y="6515554"/>
                </a:moveTo>
                <a:lnTo>
                  <a:pt x="8704282" y="6690482"/>
                </a:lnTo>
                <a:lnTo>
                  <a:pt x="8723671" y="6690482"/>
                </a:lnTo>
                <a:lnTo>
                  <a:pt x="8723671" y="6515554"/>
                </a:lnTo>
                <a:close/>
                <a:moveTo>
                  <a:pt x="0" y="0"/>
                </a:moveTo>
                <a:lnTo>
                  <a:pt x="9144000" y="0"/>
                </a:lnTo>
                <a:lnTo>
                  <a:pt x="9144000" y="6214681"/>
                </a:lnTo>
                <a:lnTo>
                  <a:pt x="9144000" y="6397151"/>
                </a:lnTo>
                <a:lnTo>
                  <a:pt x="9144000" y="6401792"/>
                </a:lnTo>
                <a:lnTo>
                  <a:pt x="9144000" y="6434962"/>
                </a:lnTo>
                <a:lnTo>
                  <a:pt x="9144000" y="6858000"/>
                </a:lnTo>
                <a:lnTo>
                  <a:pt x="8995529" y="6858000"/>
                </a:lnTo>
                <a:lnTo>
                  <a:pt x="7924718" y="6858000"/>
                </a:lnTo>
                <a:lnTo>
                  <a:pt x="0" y="6858000"/>
                </a:lnTo>
                <a:lnTo>
                  <a:pt x="0" y="6434962"/>
                </a:lnTo>
                <a:lnTo>
                  <a:pt x="0" y="6401792"/>
                </a:lnTo>
                <a:lnTo>
                  <a:pt x="0" y="6397151"/>
                </a:lnTo>
                <a:lnTo>
                  <a:pt x="0" y="6214681"/>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 Drag image onto slide to add photo </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1" y="0"/>
            <a:ext cx="4248743"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2400"/>
              </a:spcBef>
              <a:spcAft>
                <a:spcPts val="300"/>
              </a:spcAft>
              <a:buClrTx/>
              <a:buSzTx/>
              <a:buFont typeface="Wingdings" pitchFamily="2" charset="2"/>
              <a:buNone/>
              <a:tabLst/>
              <a:defRPr sz="4400">
                <a:solidFill>
                  <a:schemeClr val="bg1"/>
                </a:solidFill>
              </a:defRPr>
            </a:lvl1pPr>
            <a:lvl2pPr>
              <a:defRPr sz="1600">
                <a:solidFill>
                  <a:schemeClr val="bg1"/>
                </a:solidFill>
              </a:defRPr>
            </a:lvl2pPr>
            <a:lvl3pPr marL="0" indent="0">
              <a:buFontTx/>
              <a:buNone/>
              <a:defRPr sz="1600">
                <a:solidFill>
                  <a:schemeClr val="bg1"/>
                </a:solidFill>
              </a:defRPr>
            </a:lvl3pPr>
            <a:lvl4pPr marL="0" indent="0">
              <a:buFontTx/>
              <a:buNone/>
              <a:defRPr sz="1600">
                <a:solidFill>
                  <a:schemeClr val="bg1"/>
                </a:solidFill>
              </a:defRPr>
            </a:lvl4pPr>
            <a:lvl5pPr marL="0" indent="0">
              <a:buFontTx/>
              <a:buNone/>
              <a:defRPr sz="1600">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575733" y="6200775"/>
            <a:ext cx="3081867"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dirty="0"/>
              <a:t> Click to add source and footnotes. (Level 1 formatting for source, and levels 2+ for footnote numbering.) If over 4 lines, move footnote text to “Footnotes Appendix” slide and write “See Appendix for footnotes #-#” with level 1 formatting. </a:t>
            </a:r>
          </a:p>
          <a:p>
            <a:pPr lvl="1"/>
            <a:r>
              <a:rPr lang="en-US" dirty="0"/>
              <a:t> Footnotes – Levels 2-9 </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fld id="{078C017C-E1B9-8443-B047-B08AAA027B45}" type="slidenum">
              <a:rPr lang="en-US" smtClean="0"/>
              <a:pPr marL="12700"/>
              <a:t>‹#›</a:t>
            </a:fld>
            <a:endParaRPr lang="en-US" dirty="0"/>
          </a:p>
        </p:txBody>
      </p:sp>
      <p:grpSp>
        <p:nvGrpSpPr>
          <p:cNvPr id="7" name="Group 6">
            <a:extLst>
              <a:ext uri="{FF2B5EF4-FFF2-40B4-BE49-F238E27FC236}">
                <a16:creationId xmlns:a16="http://schemas.microsoft.com/office/drawing/2014/main" id="{77197522-BF99-8445-8C68-D6578288AD2D}"/>
              </a:ext>
            </a:extLst>
          </p:cNvPr>
          <p:cNvGrpSpPr/>
          <p:nvPr userDrawn="1"/>
        </p:nvGrpSpPr>
        <p:grpSpPr>
          <a:xfrm>
            <a:off x="12532244" y="-2"/>
            <a:ext cx="3948953" cy="9689553"/>
            <a:chOff x="9399182" y="-2"/>
            <a:chExt cx="2961715" cy="9689553"/>
          </a:xfrm>
        </p:grpSpPr>
        <p:sp>
          <p:nvSpPr>
            <p:cNvPr id="114" name="Rectangle 113">
              <a:extLst>
                <a:ext uri="{FF2B5EF4-FFF2-40B4-BE49-F238E27FC236}">
                  <a16:creationId xmlns:a16="http://schemas.microsoft.com/office/drawing/2014/main" id="{058DECCA-09EF-5C43-8453-6890A89614B0}"/>
                </a:ext>
              </a:extLst>
            </p:cNvPr>
            <p:cNvSpPr/>
            <p:nvPr userDrawn="1"/>
          </p:nvSpPr>
          <p:spPr>
            <a:xfrm>
              <a:off x="9399182" y="-2"/>
              <a:ext cx="2798651" cy="951547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162" name="Picture 161">
              <a:extLst>
                <a:ext uri="{FF2B5EF4-FFF2-40B4-BE49-F238E27FC236}">
                  <a16:creationId xmlns:a16="http://schemas.microsoft.com/office/drawing/2014/main" id="{512A7C54-DE21-4344-96B4-6CF162E7EF9F}"/>
                </a:ext>
              </a:extLst>
            </p:cNvPr>
            <p:cNvPicPr>
              <a:picLocks noChangeAspect="1"/>
            </p:cNvPicPr>
            <p:nvPr userDrawn="1"/>
          </p:nvPicPr>
          <p:blipFill rotWithShape="1">
            <a:blip r:embed="rId2"/>
            <a:srcRect t="18182" r="54279" b="28233"/>
            <a:stretch/>
          </p:blipFill>
          <p:spPr>
            <a:xfrm>
              <a:off x="9558506" y="1325046"/>
              <a:ext cx="2639326" cy="784740"/>
            </a:xfrm>
            <a:prstGeom prst="rect">
              <a:avLst/>
            </a:prstGeom>
          </p:spPr>
        </p:pic>
        <p:sp>
          <p:nvSpPr>
            <p:cNvPr id="154" name="Rectangle 153">
              <a:extLst>
                <a:ext uri="{FF2B5EF4-FFF2-40B4-BE49-F238E27FC236}">
                  <a16:creationId xmlns:a16="http://schemas.microsoft.com/office/drawing/2014/main" id="{21F4F9E6-E172-8440-B1C2-D5D4BD628238}"/>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5" name="TextBox 154">
              <a:extLst>
                <a:ext uri="{FF2B5EF4-FFF2-40B4-BE49-F238E27FC236}">
                  <a16:creationId xmlns:a16="http://schemas.microsoft.com/office/drawing/2014/main" id="{9C96D69A-1828-5C46-BC13-9C94FCBFE241}"/>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Access programmed text formats by using the ‘Indent More’ button to change the indent level. </a:t>
              </a:r>
            </a:p>
          </p:txBody>
        </p:sp>
        <p:pic>
          <p:nvPicPr>
            <p:cNvPr id="156" name="Picture 155">
              <a:extLst>
                <a:ext uri="{FF2B5EF4-FFF2-40B4-BE49-F238E27FC236}">
                  <a16:creationId xmlns:a16="http://schemas.microsoft.com/office/drawing/2014/main" id="{8103D77D-8415-7749-BCBB-4905B395A710}"/>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33" name="TextBox 132">
              <a:extLst>
                <a:ext uri="{FF2B5EF4-FFF2-40B4-BE49-F238E27FC236}">
                  <a16:creationId xmlns:a16="http://schemas.microsoft.com/office/drawing/2014/main" id="{A1DB698E-0CEF-AD45-8121-4CD4E026F6C2}"/>
                </a:ext>
              </a:extLst>
            </p:cNvPr>
            <p:cNvSpPr txBox="1"/>
            <p:nvPr userDrawn="1"/>
          </p:nvSpPr>
          <p:spPr>
            <a:xfrm>
              <a:off x="9558507" y="1119891"/>
              <a:ext cx="173485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 TEXT FORMATS IN THIS LAYOUT </a:t>
              </a:r>
            </a:p>
          </p:txBody>
        </p:sp>
        <p:cxnSp>
          <p:nvCxnSpPr>
            <p:cNvPr id="134" name="Straight Connector 133">
              <a:extLst>
                <a:ext uri="{FF2B5EF4-FFF2-40B4-BE49-F238E27FC236}">
                  <a16:creationId xmlns:a16="http://schemas.microsoft.com/office/drawing/2014/main" id="{E884F550-2205-3843-81FA-454481A85FD7}"/>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12E1247F-233F-F94C-98B1-C8EC05E1729D}"/>
                </a:ext>
              </a:extLst>
            </p:cNvPr>
            <p:cNvGrpSpPr/>
            <p:nvPr userDrawn="1"/>
          </p:nvGrpSpPr>
          <p:grpSpPr>
            <a:xfrm>
              <a:off x="9521833" y="2253495"/>
              <a:ext cx="2754815" cy="7436056"/>
              <a:chOff x="9521833" y="2531409"/>
              <a:chExt cx="2754815" cy="7436056"/>
            </a:xfrm>
          </p:grpSpPr>
          <p:sp>
            <p:nvSpPr>
              <p:cNvPr id="116" name="TextBox 115">
                <a:extLst>
                  <a:ext uri="{FF2B5EF4-FFF2-40B4-BE49-F238E27FC236}">
                    <a16:creationId xmlns:a16="http://schemas.microsoft.com/office/drawing/2014/main" id="{E8B2BC36-E252-F449-91B0-E44A4C6E88AC}"/>
                  </a:ext>
                </a:extLst>
              </p:cNvPr>
              <p:cNvSpPr txBox="1"/>
              <p:nvPr userDrawn="1"/>
            </p:nvSpPr>
            <p:spPr>
              <a:xfrm>
                <a:off x="9558507" y="3953640"/>
                <a:ext cx="129121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 HOW TO ADD AN IMAGE </a:t>
                </a:r>
              </a:p>
            </p:txBody>
          </p:sp>
          <p:cxnSp>
            <p:nvCxnSpPr>
              <p:cNvPr id="117" name="Straight Connector 116">
                <a:extLst>
                  <a:ext uri="{FF2B5EF4-FFF2-40B4-BE49-F238E27FC236}">
                    <a16:creationId xmlns:a16="http://schemas.microsoft.com/office/drawing/2014/main" id="{828801CA-93C8-9E4C-AB3C-451F07B6D7FB}"/>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5B9A3BF-AC32-DA42-A161-4BB2E2281D4D}"/>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 Method 1: </a:t>
                </a:r>
                <a:r>
                  <a:rPr lang="en-US" sz="600" b="0" dirty="0"/>
                  <a:t> from file browser </a:t>
                </a:r>
              </a:p>
              <a:p>
                <a:pPr lvl="1">
                  <a:buNone/>
                </a:pPr>
                <a:r>
                  <a:rPr lang="en-US" sz="1050" dirty="0"/>
                  <a:t> Drag the image onto the slide. </a:t>
                </a:r>
              </a:p>
            </p:txBody>
          </p:sp>
          <p:sp>
            <p:nvSpPr>
              <p:cNvPr id="148" name="Rectangle 147">
                <a:extLst>
                  <a:ext uri="{FF2B5EF4-FFF2-40B4-BE49-F238E27FC236}">
                    <a16:creationId xmlns:a16="http://schemas.microsoft.com/office/drawing/2014/main" id="{924F2A4D-5E0A-1240-8BED-C913FAAFD6F2}"/>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9" name="TextBox 148">
                <a:extLst>
                  <a:ext uri="{FF2B5EF4-FFF2-40B4-BE49-F238E27FC236}">
                    <a16:creationId xmlns:a16="http://schemas.microsoft.com/office/drawing/2014/main" id="{8A3C99CB-E95A-B74E-BE7F-0792FAF9671D}"/>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TIP: Change Image </a:t>
                </a:r>
              </a:p>
            </p:txBody>
          </p:sp>
          <p:pic>
            <p:nvPicPr>
              <p:cNvPr id="150" name="Graphic 149">
                <a:extLst>
                  <a:ext uri="{FF2B5EF4-FFF2-40B4-BE49-F238E27FC236}">
                    <a16:creationId xmlns:a16="http://schemas.microsoft.com/office/drawing/2014/main" id="{9D2838B6-04DF-EB45-9DD9-3C36BB13157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151" name="TextBox 150">
                <a:extLst>
                  <a:ext uri="{FF2B5EF4-FFF2-40B4-BE49-F238E27FC236}">
                    <a16:creationId xmlns:a16="http://schemas.microsoft.com/office/drawing/2014/main" id="{C2A77126-7E90-1843-AE86-D347F2D075EE}"/>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 Deleting the image may bring the image placeholder to the top layer. Right-click on the placeholder and choose “Send to Back”. </a:t>
                </a:r>
              </a:p>
            </p:txBody>
          </p:sp>
          <p:sp>
            <p:nvSpPr>
              <p:cNvPr id="152" name="TextBox 151">
                <a:extLst>
                  <a:ext uri="{FF2B5EF4-FFF2-40B4-BE49-F238E27FC236}">
                    <a16:creationId xmlns:a16="http://schemas.microsoft.com/office/drawing/2014/main" id="{0FAD37BE-7E80-0046-A61C-0B15F860162C}"/>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 First, delete the existing image to reset the photo placeholder functionality. </a:t>
                </a:r>
              </a:p>
            </p:txBody>
          </p:sp>
          <p:sp>
            <p:nvSpPr>
              <p:cNvPr id="153" name="TextBox 152">
                <a:extLst>
                  <a:ext uri="{FF2B5EF4-FFF2-40B4-BE49-F238E27FC236}">
                    <a16:creationId xmlns:a16="http://schemas.microsoft.com/office/drawing/2014/main" id="{5B98A223-2512-6C4D-87C9-B2267FF7CCD9}"/>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 You can now add a new image as normal. </a:t>
                </a:r>
              </a:p>
            </p:txBody>
          </p:sp>
          <p:sp>
            <p:nvSpPr>
              <p:cNvPr id="138" name="Rectangle 137">
                <a:extLst>
                  <a:ext uri="{FF2B5EF4-FFF2-40B4-BE49-F238E27FC236}">
                    <a16:creationId xmlns:a16="http://schemas.microsoft.com/office/drawing/2014/main" id="{330B2B4B-905D-9A46-A3F8-DF5095A8A808}"/>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4" name="TextBox 143">
                <a:extLst>
                  <a:ext uri="{FF2B5EF4-FFF2-40B4-BE49-F238E27FC236}">
                    <a16:creationId xmlns:a16="http://schemas.microsoft.com/office/drawing/2014/main" id="{2150B26E-162C-6547-A215-96C9E1F3D965}"/>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TIP: Crop Image </a:t>
                </a:r>
              </a:p>
            </p:txBody>
          </p:sp>
          <p:pic>
            <p:nvPicPr>
              <p:cNvPr id="145" name="Graphic 144">
                <a:extLst>
                  <a:ext uri="{FF2B5EF4-FFF2-40B4-BE49-F238E27FC236}">
                    <a16:creationId xmlns:a16="http://schemas.microsoft.com/office/drawing/2014/main" id="{B7C5CED2-A0E3-BC4E-91D6-56BB03F90E1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146" name="TextBox 145">
                <a:extLst>
                  <a:ext uri="{FF2B5EF4-FFF2-40B4-BE49-F238E27FC236}">
                    <a16:creationId xmlns:a16="http://schemas.microsoft.com/office/drawing/2014/main" id="{BF216341-3721-3F4D-8307-92E095EF4A01}"/>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 Right-click on the image. </a:t>
                </a:r>
              </a:p>
              <a:p>
                <a:pPr lvl="1">
                  <a:defRPr/>
                </a:pPr>
                <a:r>
                  <a:rPr lang="en-US" sz="900" kern="1200" dirty="0">
                    <a:solidFill>
                      <a:schemeClr val="tx1">
                        <a:lumMod val="50000"/>
                        <a:lumOff val="50000"/>
                      </a:schemeClr>
                    </a:solidFill>
                    <a:latin typeface="Arial" charset="0"/>
                    <a:cs typeface="Arial" charset="0"/>
                  </a:rPr>
                  <a:t> Choose “Crop” from the menu. ( ) </a:t>
                </a:r>
              </a:p>
              <a:p>
                <a:pPr lvl="1">
                  <a:defRPr/>
                </a:pPr>
                <a:r>
                  <a:rPr lang="en-US" sz="900" kern="1200" dirty="0">
                    <a:solidFill>
                      <a:schemeClr val="tx1">
                        <a:lumMod val="50000"/>
                        <a:lumOff val="50000"/>
                      </a:schemeClr>
                    </a:solidFill>
                    <a:latin typeface="Arial" charset="0"/>
                    <a:cs typeface="Arial" charset="0"/>
                  </a:rPr>
                  <a:t> Adjust the size and position of the image. </a:t>
                </a:r>
              </a:p>
              <a:p>
                <a:pPr lvl="1">
                  <a:defRPr/>
                </a:pPr>
                <a:r>
                  <a:rPr lang="en-US" sz="900" kern="1200" dirty="0">
                    <a:solidFill>
                      <a:schemeClr val="tx1">
                        <a:lumMod val="50000"/>
                        <a:lumOff val="50000"/>
                      </a:schemeClr>
                    </a:solidFill>
                    <a:latin typeface="Arial" charset="0"/>
                    <a:cs typeface="Arial" charset="0"/>
                  </a:rPr>
                  <a:t> Press Esc or click outside the image area to exit the cropping mode. </a:t>
                </a:r>
              </a:p>
            </p:txBody>
          </p:sp>
          <p:pic>
            <p:nvPicPr>
              <p:cNvPr id="147" name="Picture 146">
                <a:extLst>
                  <a:ext uri="{FF2B5EF4-FFF2-40B4-BE49-F238E27FC236}">
                    <a16:creationId xmlns:a16="http://schemas.microsoft.com/office/drawing/2014/main" id="{06858368-B053-6843-9D5C-3B4B3F349159}"/>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135" name="TextBox 134">
                <a:extLst>
                  <a:ext uri="{FF2B5EF4-FFF2-40B4-BE49-F238E27FC236}">
                    <a16:creationId xmlns:a16="http://schemas.microsoft.com/office/drawing/2014/main" id="{E31E6EE2-4F47-504B-B3F7-9B15B3C8AF25}"/>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 1 </a:t>
                </a:r>
              </a:p>
            </p:txBody>
          </p:sp>
          <p:sp>
            <p:nvSpPr>
              <p:cNvPr id="136" name="TextBox 135">
                <a:extLst>
                  <a:ext uri="{FF2B5EF4-FFF2-40B4-BE49-F238E27FC236}">
                    <a16:creationId xmlns:a16="http://schemas.microsoft.com/office/drawing/2014/main" id="{349068D4-361C-5C46-A532-3801C2F1365D}"/>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 2 </a:t>
                </a:r>
              </a:p>
            </p:txBody>
          </p:sp>
          <p:sp>
            <p:nvSpPr>
              <p:cNvPr id="137" name="TextBox 136">
                <a:extLst>
                  <a:ext uri="{FF2B5EF4-FFF2-40B4-BE49-F238E27FC236}">
                    <a16:creationId xmlns:a16="http://schemas.microsoft.com/office/drawing/2014/main" id="{F2DCEAA6-A668-EA47-BC03-B82CE31AF08C}"/>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 Select and download images from the Marketing Resource Database. </a:t>
                </a:r>
              </a:p>
              <a:p>
                <a:pPr lvl="0"/>
                <a:r>
                  <a:rPr lang="en-US" sz="1050" dirty="0"/>
                  <a:t> Add the image to the placeholder. </a:t>
                </a:r>
              </a:p>
            </p:txBody>
          </p:sp>
          <p:sp>
            <p:nvSpPr>
              <p:cNvPr id="122" name="TextBox 121">
                <a:extLst>
                  <a:ext uri="{FF2B5EF4-FFF2-40B4-BE49-F238E27FC236}">
                    <a16:creationId xmlns:a16="http://schemas.microsoft.com/office/drawing/2014/main" id="{488662D1-77FE-D34D-BFA8-B58A59DB47EA}"/>
                  </a:ext>
                </a:extLst>
              </p:cNvPr>
              <p:cNvSpPr txBox="1"/>
              <p:nvPr userDrawn="1"/>
            </p:nvSpPr>
            <p:spPr>
              <a:xfrm>
                <a:off x="9674267" y="5297872"/>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 Note: If there are multiple image placeholders on the slide, select the intended placeholder before dragging in the image to let PowerPoint know where you want it. </a:t>
                </a:r>
              </a:p>
            </p:txBody>
          </p:sp>
          <p:sp>
            <p:nvSpPr>
              <p:cNvPr id="123" name="TextBox 122">
                <a:extLst>
                  <a:ext uri="{FF2B5EF4-FFF2-40B4-BE49-F238E27FC236}">
                    <a16:creationId xmlns:a16="http://schemas.microsoft.com/office/drawing/2014/main" id="{10E9AA29-096E-D54C-95D4-EFDFFD7CC612}"/>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 Method 2: </a:t>
                </a:r>
                <a:r>
                  <a:rPr lang="en-US" sz="600" b="0" dirty="0"/>
                  <a:t> Paste from clipboard </a:t>
                </a:r>
              </a:p>
              <a:p>
                <a:pPr lvl="1">
                  <a:buNone/>
                </a:pPr>
                <a:r>
                  <a:rPr lang="en-US" sz="1050" dirty="0"/>
                  <a:t> Select the image placeholder. </a:t>
                </a:r>
              </a:p>
              <a:p>
                <a:pPr lvl="1">
                  <a:buNone/>
                </a:pPr>
                <a:r>
                  <a:rPr lang="en-US" sz="1050" dirty="0"/>
                  <a:t> Right-click or use keyboard shortcuts to paste the image. </a:t>
                </a:r>
              </a:p>
            </p:txBody>
          </p:sp>
          <p:sp>
            <p:nvSpPr>
              <p:cNvPr id="124" name="TextBox 123">
                <a:extLst>
                  <a:ext uri="{FF2B5EF4-FFF2-40B4-BE49-F238E27FC236}">
                    <a16:creationId xmlns:a16="http://schemas.microsoft.com/office/drawing/2014/main" id="{0B4A71BF-5B38-0644-8E4F-605A80E979B2}"/>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 Method 3: </a:t>
                </a:r>
                <a:r>
                  <a:rPr lang="en-US" sz="600" b="0" dirty="0"/>
                  <a:t> Placeholder icon </a:t>
                </a:r>
              </a:p>
              <a:p>
                <a:pPr lvl="1">
                  <a:buNone/>
                </a:pPr>
                <a:r>
                  <a:rPr lang="en-US" sz="1050" dirty="0"/>
                  <a:t> Click the image icon inside the placeholder to browse for an image. </a:t>
                </a:r>
              </a:p>
            </p:txBody>
          </p:sp>
          <p:sp>
            <p:nvSpPr>
              <p:cNvPr id="125" name="TextBox 124">
                <a:extLst>
                  <a:ext uri="{FF2B5EF4-FFF2-40B4-BE49-F238E27FC236}">
                    <a16:creationId xmlns:a16="http://schemas.microsoft.com/office/drawing/2014/main" id="{2A674F33-12AC-0340-BFB9-C1CA46F83893}"/>
                  </a:ext>
                </a:extLst>
              </p:cNvPr>
              <p:cNvSpPr txBox="1"/>
              <p:nvPr userDrawn="1"/>
            </p:nvSpPr>
            <p:spPr>
              <a:xfrm>
                <a:off x="9674267" y="6863782"/>
                <a:ext cx="2374733"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 Note: This icon may be covered by another element. </a:t>
                </a:r>
                <a:br>
                  <a:rPr lang="en-US" sz="700" dirty="0"/>
                </a:br>
                <a:r>
                  <a:rPr lang="en-US" sz="700" dirty="0"/>
                  <a:t> In this case use one of the other methods. </a:t>
                </a:r>
              </a:p>
            </p:txBody>
          </p:sp>
          <p:sp>
            <p:nvSpPr>
              <p:cNvPr id="129" name="Rectangle 128">
                <a:extLst>
                  <a:ext uri="{FF2B5EF4-FFF2-40B4-BE49-F238E27FC236}">
                    <a16:creationId xmlns:a16="http://schemas.microsoft.com/office/drawing/2014/main" id="{318F2069-729F-9B4A-8445-081E2247CBB1}"/>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0" name="TextBox 129">
                <a:extLst>
                  <a:ext uri="{FF2B5EF4-FFF2-40B4-BE49-F238E27FC236}">
                    <a16:creationId xmlns:a16="http://schemas.microsoft.com/office/drawing/2014/main" id="{905C9F4A-8864-BA4C-B90C-28BC8E5E724C}"/>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TIP: Adjust overlay text box size </a:t>
                </a:r>
              </a:p>
            </p:txBody>
          </p:sp>
          <p:pic>
            <p:nvPicPr>
              <p:cNvPr id="131" name="Graphic 130">
                <a:extLst>
                  <a:ext uri="{FF2B5EF4-FFF2-40B4-BE49-F238E27FC236}">
                    <a16:creationId xmlns:a16="http://schemas.microsoft.com/office/drawing/2014/main" id="{F23C5373-D4CD-5047-843F-B92DB290985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32" name="TextBox 131">
                <a:extLst>
                  <a:ext uri="{FF2B5EF4-FFF2-40B4-BE49-F238E27FC236}">
                    <a16:creationId xmlns:a16="http://schemas.microsoft.com/office/drawing/2014/main" id="{C0F58EBC-DF0A-A441-813C-62553D74D316}"/>
                  </a:ext>
                </a:extLst>
              </p:cNvPr>
              <p:cNvSpPr txBox="1"/>
              <p:nvPr userDrawn="1"/>
            </p:nvSpPr>
            <p:spPr>
              <a:xfrm>
                <a:off x="9701720" y="2924393"/>
                <a:ext cx="2214055" cy="53707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 If extra space is required for content, use the size handle on this shape to extend the right edge of the shape to the “2/3rds” slide ruler mark. </a:t>
                </a:r>
              </a:p>
              <a:p>
                <a:pPr lvl="1">
                  <a:defRPr/>
                </a:pPr>
                <a:r>
                  <a:rPr lang="en-US" sz="900" kern="1200" dirty="0">
                    <a:solidFill>
                      <a:schemeClr val="tx1">
                        <a:lumMod val="50000"/>
                        <a:lumOff val="50000"/>
                      </a:schemeClr>
                    </a:solidFill>
                    <a:latin typeface="Arial" charset="0"/>
                    <a:cs typeface="Arial" charset="0"/>
                  </a:rPr>
                  <a:t> Turn on guides (View &gt; Guides) to enable snapping. </a:t>
                </a:r>
              </a:p>
            </p:txBody>
          </p:sp>
        </p:grpSp>
      </p:grpSp>
      <p:sp>
        <p:nvSpPr>
          <p:cNvPr id="500" name="Caption">
            <a:extLst>
              <a:ext uri="{FF2B5EF4-FFF2-40B4-BE49-F238E27FC236}">
                <a16:creationId xmlns:a16="http://schemas.microsoft.com/office/drawing/2014/main" id="{C8FA2963-29D5-4B4C-9DB5-0731074098A4}"/>
              </a:ext>
            </a:extLst>
          </p:cNvPr>
          <p:cNvSpPr>
            <a:spLocks noGrp="1"/>
          </p:cNvSpPr>
          <p:nvPr>
            <p:ph type="body" sz="quarter" idx="500" hasCustomPrompt="1"/>
          </p:nvPr>
        </p:nvSpPr>
        <p:spPr>
          <a:xfrm>
            <a:off x="7947046" y="6200776"/>
            <a:ext cx="3657167"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94" name="Picture Placeholder 93">
            <a:extLst>
              <a:ext uri="{FF2B5EF4-FFF2-40B4-BE49-F238E27FC236}">
                <a16:creationId xmlns:a16="http://schemas.microsoft.com/office/drawing/2014/main" id="{DA0098CE-047E-4549-A7AF-9A9E80574A8A}"/>
              </a:ext>
            </a:extLst>
          </p:cNvPr>
          <p:cNvSpPr>
            <a:spLocks noGrp="1"/>
          </p:cNvSpPr>
          <p:nvPr>
            <p:ph type="pic" sz="quarter" idx="1001" hasCustomPrompt="1"/>
          </p:nvPr>
        </p:nvSpPr>
        <p:spPr>
          <a:xfrm>
            <a:off x="-40615" y="13211784"/>
            <a:ext cx="12192000" cy="643319"/>
          </a:xfrm>
          <a:custGeom>
            <a:avLst/>
            <a:gdLst>
              <a:gd name="connsiteX0" fmla="*/ 8381735 w 9144000"/>
              <a:gd name="connsiteY0" fmla="*/ 361341 h 643319"/>
              <a:gd name="connsiteX1" fmla="*/ 8398942 w 9144000"/>
              <a:gd name="connsiteY1" fmla="*/ 363196 h 643319"/>
              <a:gd name="connsiteX2" fmla="*/ 8407847 w 9144000"/>
              <a:gd name="connsiteY2" fmla="*/ 369985 h 643319"/>
              <a:gd name="connsiteX3" fmla="*/ 8413547 w 9144000"/>
              <a:gd name="connsiteY3" fmla="*/ 380310 h 643319"/>
              <a:gd name="connsiteX4" fmla="*/ 8415584 w 9144000"/>
              <a:gd name="connsiteY4" fmla="*/ 393522 h 643319"/>
              <a:gd name="connsiteX5" fmla="*/ 8413646 w 9144000"/>
              <a:gd name="connsiteY5" fmla="*/ 406593 h 643319"/>
              <a:gd name="connsiteX6" fmla="*/ 8407947 w 9144000"/>
              <a:gd name="connsiteY6" fmla="*/ 416988 h 643319"/>
              <a:gd name="connsiteX7" fmla="*/ 8375887 w 9144000"/>
              <a:gd name="connsiteY7" fmla="*/ 423833 h 643319"/>
              <a:gd name="connsiteX8" fmla="*/ 8366910 w 9144000"/>
              <a:gd name="connsiteY8" fmla="*/ 416988 h 643319"/>
              <a:gd name="connsiteX9" fmla="*/ 8361211 w 9144000"/>
              <a:gd name="connsiteY9" fmla="*/ 406593 h 643319"/>
              <a:gd name="connsiteX10" fmla="*/ 8359045 w 9144000"/>
              <a:gd name="connsiteY10" fmla="*/ 393522 h 643319"/>
              <a:gd name="connsiteX11" fmla="*/ 8361097 w 9144000"/>
              <a:gd name="connsiteY11" fmla="*/ 380310 h 643319"/>
              <a:gd name="connsiteX12" fmla="*/ 8366796 w 9144000"/>
              <a:gd name="connsiteY12" fmla="*/ 369985 h 643319"/>
              <a:gd name="connsiteX13" fmla="*/ 8381735 w 9144000"/>
              <a:gd name="connsiteY13" fmla="*/ 361341 h 643319"/>
              <a:gd name="connsiteX14" fmla="*/ 8525633 w 9144000"/>
              <a:gd name="connsiteY14" fmla="*/ 338805 h 643319"/>
              <a:gd name="connsiteX15" fmla="*/ 8525633 w 9144000"/>
              <a:gd name="connsiteY15" fmla="*/ 384751 h 643319"/>
              <a:gd name="connsiteX16" fmla="*/ 8525633 w 9144000"/>
              <a:gd name="connsiteY16" fmla="*/ 448092 h 643319"/>
              <a:gd name="connsiteX17" fmla="*/ 8595623 w 9144000"/>
              <a:gd name="connsiteY17" fmla="*/ 448092 h 643319"/>
              <a:gd name="connsiteX18" fmla="*/ 8596022 w 9144000"/>
              <a:gd name="connsiteY18" fmla="*/ 448092 h 643319"/>
              <a:gd name="connsiteX19" fmla="*/ 8596022 w 9144000"/>
              <a:gd name="connsiteY19" fmla="*/ 431091 h 643319"/>
              <a:gd name="connsiteX20" fmla="*/ 8595623 w 9144000"/>
              <a:gd name="connsiteY20" fmla="*/ 431091 h 643319"/>
              <a:gd name="connsiteX21" fmla="*/ 8595623 w 9144000"/>
              <a:gd name="connsiteY21" fmla="*/ 424993 h 643319"/>
              <a:gd name="connsiteX22" fmla="*/ 8551295 w 9144000"/>
              <a:gd name="connsiteY22" fmla="*/ 424993 h 643319"/>
              <a:gd name="connsiteX23" fmla="*/ 8551295 w 9144000"/>
              <a:gd name="connsiteY23" fmla="*/ 403668 h 643319"/>
              <a:gd name="connsiteX24" fmla="*/ 8591705 w 9144000"/>
              <a:gd name="connsiteY24" fmla="*/ 403668 h 643319"/>
              <a:gd name="connsiteX25" fmla="*/ 8591705 w 9144000"/>
              <a:gd name="connsiteY25" fmla="*/ 381596 h 643319"/>
              <a:gd name="connsiteX26" fmla="*/ 8551295 w 9144000"/>
              <a:gd name="connsiteY26" fmla="*/ 381596 h 643319"/>
              <a:gd name="connsiteX27" fmla="*/ 8551295 w 9144000"/>
              <a:gd name="connsiteY27" fmla="*/ 362074 h 643319"/>
              <a:gd name="connsiteX28" fmla="*/ 8595623 w 9144000"/>
              <a:gd name="connsiteY28" fmla="*/ 362074 h 643319"/>
              <a:gd name="connsiteX29" fmla="*/ 8595623 w 9144000"/>
              <a:gd name="connsiteY29" fmla="*/ 355806 h 643319"/>
              <a:gd name="connsiteX30" fmla="*/ 8596022 w 9144000"/>
              <a:gd name="connsiteY30" fmla="*/ 355806 h 643319"/>
              <a:gd name="connsiteX31" fmla="*/ 8596022 w 9144000"/>
              <a:gd name="connsiteY31" fmla="*/ 338805 h 643319"/>
              <a:gd name="connsiteX32" fmla="*/ 8595623 w 9144000"/>
              <a:gd name="connsiteY32" fmla="*/ 338805 h 643319"/>
              <a:gd name="connsiteX33" fmla="*/ 8547362 w 9144000"/>
              <a:gd name="connsiteY33" fmla="*/ 338805 h 643319"/>
              <a:gd name="connsiteX34" fmla="*/ 8448177 w 9144000"/>
              <a:gd name="connsiteY34" fmla="*/ 338805 h 643319"/>
              <a:gd name="connsiteX35" fmla="*/ 8448177 w 9144000"/>
              <a:gd name="connsiteY35" fmla="*/ 384751 h 643319"/>
              <a:gd name="connsiteX36" fmla="*/ 8448177 w 9144000"/>
              <a:gd name="connsiteY36" fmla="*/ 448092 h 643319"/>
              <a:gd name="connsiteX37" fmla="*/ 8518167 w 9144000"/>
              <a:gd name="connsiteY37" fmla="*/ 448092 h 643319"/>
              <a:gd name="connsiteX38" fmla="*/ 8518552 w 9144000"/>
              <a:gd name="connsiteY38" fmla="*/ 448092 h 643319"/>
              <a:gd name="connsiteX39" fmla="*/ 8518552 w 9144000"/>
              <a:gd name="connsiteY39" fmla="*/ 431091 h 643319"/>
              <a:gd name="connsiteX40" fmla="*/ 8518167 w 9144000"/>
              <a:gd name="connsiteY40" fmla="*/ 431091 h 643319"/>
              <a:gd name="connsiteX41" fmla="*/ 8518167 w 9144000"/>
              <a:gd name="connsiteY41" fmla="*/ 424993 h 643319"/>
              <a:gd name="connsiteX42" fmla="*/ 8473825 w 9144000"/>
              <a:gd name="connsiteY42" fmla="*/ 424993 h 643319"/>
              <a:gd name="connsiteX43" fmla="*/ 8473825 w 9144000"/>
              <a:gd name="connsiteY43" fmla="*/ 403668 h 643319"/>
              <a:gd name="connsiteX44" fmla="*/ 8514235 w 9144000"/>
              <a:gd name="connsiteY44" fmla="*/ 403668 h 643319"/>
              <a:gd name="connsiteX45" fmla="*/ 8514235 w 9144000"/>
              <a:gd name="connsiteY45" fmla="*/ 381596 h 643319"/>
              <a:gd name="connsiteX46" fmla="*/ 8473825 w 9144000"/>
              <a:gd name="connsiteY46" fmla="*/ 381596 h 643319"/>
              <a:gd name="connsiteX47" fmla="*/ 8473825 w 9144000"/>
              <a:gd name="connsiteY47" fmla="*/ 362074 h 643319"/>
              <a:gd name="connsiteX48" fmla="*/ 8518167 w 9144000"/>
              <a:gd name="connsiteY48" fmla="*/ 362074 h 643319"/>
              <a:gd name="connsiteX49" fmla="*/ 8518167 w 9144000"/>
              <a:gd name="connsiteY49" fmla="*/ 355806 h 643319"/>
              <a:gd name="connsiteX50" fmla="*/ 8518552 w 9144000"/>
              <a:gd name="connsiteY50" fmla="*/ 355806 h 643319"/>
              <a:gd name="connsiteX51" fmla="*/ 8518552 w 9144000"/>
              <a:gd name="connsiteY51" fmla="*/ 338805 h 643319"/>
              <a:gd name="connsiteX52" fmla="*/ 8518167 w 9144000"/>
              <a:gd name="connsiteY52" fmla="*/ 338805 h 643319"/>
              <a:gd name="connsiteX53" fmla="*/ 8469892 w 9144000"/>
              <a:gd name="connsiteY53" fmla="*/ 338805 h 643319"/>
              <a:gd name="connsiteX54" fmla="*/ 8387913 w 9144000"/>
              <a:gd name="connsiteY54" fmla="*/ 338772 h 643319"/>
              <a:gd name="connsiteX55" fmla="*/ 8365286 w 9144000"/>
              <a:gd name="connsiteY55" fmla="*/ 342998 h 643319"/>
              <a:gd name="connsiteX56" fmla="*/ 8357150 w 9144000"/>
              <a:gd name="connsiteY56" fmla="*/ 347125 h 643319"/>
              <a:gd name="connsiteX57" fmla="*/ 8332784 w 9144000"/>
              <a:gd name="connsiteY57" fmla="*/ 398691 h 643319"/>
              <a:gd name="connsiteX58" fmla="*/ 8336389 w 9144000"/>
              <a:gd name="connsiteY58" fmla="*/ 415171 h 643319"/>
              <a:gd name="connsiteX59" fmla="*/ 8364431 w 9144000"/>
              <a:gd name="connsiteY59" fmla="*/ 443904 h 643319"/>
              <a:gd name="connsiteX60" fmla="*/ 8386916 w 9144000"/>
              <a:gd name="connsiteY60" fmla="*/ 448130 h 643319"/>
              <a:gd name="connsiteX61" fmla="*/ 8409486 w 9144000"/>
              <a:gd name="connsiteY61" fmla="*/ 443904 h 643319"/>
              <a:gd name="connsiteX62" fmla="*/ 8426926 w 9144000"/>
              <a:gd name="connsiteY62" fmla="*/ 432425 h 643319"/>
              <a:gd name="connsiteX63" fmla="*/ 8438240 w 9144000"/>
              <a:gd name="connsiteY63" fmla="*/ 415171 h 643319"/>
              <a:gd name="connsiteX64" fmla="*/ 8442258 w 9144000"/>
              <a:gd name="connsiteY64" fmla="*/ 393522 h 643319"/>
              <a:gd name="connsiteX65" fmla="*/ 8438397 w 9144000"/>
              <a:gd name="connsiteY65" fmla="*/ 371788 h 643319"/>
              <a:gd name="connsiteX66" fmla="*/ 8427439 w 9144000"/>
              <a:gd name="connsiteY66" fmla="*/ 354477 h 643319"/>
              <a:gd name="connsiteX67" fmla="*/ 8410341 w 9144000"/>
              <a:gd name="connsiteY67" fmla="*/ 342998 h 643319"/>
              <a:gd name="connsiteX68" fmla="*/ 8387913 w 9144000"/>
              <a:gd name="connsiteY68" fmla="*/ 338772 h 643319"/>
              <a:gd name="connsiteX69" fmla="*/ 8245203 w 9144000"/>
              <a:gd name="connsiteY69" fmla="*/ 338425 h 643319"/>
              <a:gd name="connsiteX70" fmla="*/ 8261546 w 9144000"/>
              <a:gd name="connsiteY70" fmla="*/ 372497 h 643319"/>
              <a:gd name="connsiteX71" fmla="*/ 8288505 w 9144000"/>
              <a:gd name="connsiteY71" fmla="*/ 372497 h 643319"/>
              <a:gd name="connsiteX72" fmla="*/ 8274156 w 9144000"/>
              <a:gd name="connsiteY72" fmla="*/ 338425 h 643319"/>
              <a:gd name="connsiteX73" fmla="*/ 8325053 w 9144000"/>
              <a:gd name="connsiteY73" fmla="*/ 338411 h 643319"/>
              <a:gd name="connsiteX74" fmla="*/ 8299363 w 9144000"/>
              <a:gd name="connsiteY74" fmla="*/ 397541 h 643319"/>
              <a:gd name="connsiteX75" fmla="*/ 8292395 w 9144000"/>
              <a:gd name="connsiteY75" fmla="*/ 381202 h 643319"/>
              <a:gd name="connsiteX76" fmla="*/ 8265650 w 9144000"/>
              <a:gd name="connsiteY76" fmla="*/ 381202 h 643319"/>
              <a:gd name="connsiteX77" fmla="*/ 8297582 w 9144000"/>
              <a:gd name="connsiteY77" fmla="*/ 447867 h 643319"/>
              <a:gd name="connsiteX78" fmla="*/ 8300545 w 9144000"/>
              <a:gd name="connsiteY78" fmla="*/ 447867 h 643319"/>
              <a:gd name="connsiteX79" fmla="*/ 8352283 w 9144000"/>
              <a:gd name="connsiteY79" fmla="*/ 338411 h 643319"/>
              <a:gd name="connsiteX80" fmla="*/ 8704282 w 9144000"/>
              <a:gd name="connsiteY80" fmla="*/ 300873 h 643319"/>
              <a:gd name="connsiteX81" fmla="*/ 8704282 w 9144000"/>
              <a:gd name="connsiteY81" fmla="*/ 475801 h 643319"/>
              <a:gd name="connsiteX82" fmla="*/ 8723671 w 9144000"/>
              <a:gd name="connsiteY82" fmla="*/ 475801 h 643319"/>
              <a:gd name="connsiteX83" fmla="*/ 8723671 w 9144000"/>
              <a:gd name="connsiteY83" fmla="*/ 300873 h 643319"/>
              <a:gd name="connsiteX84" fmla="*/ 0 w 9144000"/>
              <a:gd name="connsiteY84" fmla="*/ 0 h 643319"/>
              <a:gd name="connsiteX85" fmla="*/ 9144000 w 9144000"/>
              <a:gd name="connsiteY85" fmla="*/ 0 h 643319"/>
              <a:gd name="connsiteX86" fmla="*/ 9144000 w 9144000"/>
              <a:gd name="connsiteY86" fmla="*/ 182470 h 643319"/>
              <a:gd name="connsiteX87" fmla="*/ 9144000 w 9144000"/>
              <a:gd name="connsiteY87" fmla="*/ 220281 h 643319"/>
              <a:gd name="connsiteX88" fmla="*/ 9144000 w 9144000"/>
              <a:gd name="connsiteY88" fmla="*/ 643319 h 643319"/>
              <a:gd name="connsiteX89" fmla="*/ 8995529 w 9144000"/>
              <a:gd name="connsiteY89" fmla="*/ 643319 h 643319"/>
              <a:gd name="connsiteX90" fmla="*/ 7924718 w 9144000"/>
              <a:gd name="connsiteY90" fmla="*/ 643319 h 643319"/>
              <a:gd name="connsiteX91" fmla="*/ 0 w 9144000"/>
              <a:gd name="connsiteY91" fmla="*/ 643319 h 643319"/>
              <a:gd name="connsiteX92" fmla="*/ 0 w 9144000"/>
              <a:gd name="connsiteY92" fmla="*/ 220281 h 643319"/>
              <a:gd name="connsiteX93" fmla="*/ 0 w 9144000"/>
              <a:gd name="connsiteY93" fmla="*/ 182470 h 643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9144000" h="643319">
                <a:moveTo>
                  <a:pt x="8381735" y="361341"/>
                </a:moveTo>
                <a:cubicBezTo>
                  <a:pt x="8387385" y="360148"/>
                  <a:pt x="8393413" y="360704"/>
                  <a:pt x="8398942" y="363196"/>
                </a:cubicBezTo>
                <a:cubicBezTo>
                  <a:pt x="8402361" y="364814"/>
                  <a:pt x="8405396" y="367127"/>
                  <a:pt x="8407847" y="369985"/>
                </a:cubicBezTo>
                <a:cubicBezTo>
                  <a:pt x="8410387" y="373042"/>
                  <a:pt x="8412320" y="376545"/>
                  <a:pt x="8413547" y="380310"/>
                </a:cubicBezTo>
                <a:cubicBezTo>
                  <a:pt x="8414952" y="384574"/>
                  <a:pt x="8415640" y="389037"/>
                  <a:pt x="8415584" y="393522"/>
                </a:cubicBezTo>
                <a:cubicBezTo>
                  <a:pt x="8415665" y="397954"/>
                  <a:pt x="8415011" y="402370"/>
                  <a:pt x="8413646" y="406593"/>
                </a:cubicBezTo>
                <a:cubicBezTo>
                  <a:pt x="8412411" y="410375"/>
                  <a:pt x="8410478" y="413899"/>
                  <a:pt x="8407947" y="416988"/>
                </a:cubicBezTo>
                <a:cubicBezTo>
                  <a:pt x="8399972" y="426034"/>
                  <a:pt x="8386928" y="428819"/>
                  <a:pt x="8375887" y="423833"/>
                </a:cubicBezTo>
                <a:cubicBezTo>
                  <a:pt x="8372423" y="422230"/>
                  <a:pt x="8369358" y="419893"/>
                  <a:pt x="8366910" y="416988"/>
                </a:cubicBezTo>
                <a:cubicBezTo>
                  <a:pt x="8364379" y="413899"/>
                  <a:pt x="8362446" y="410375"/>
                  <a:pt x="8361211" y="406593"/>
                </a:cubicBezTo>
                <a:cubicBezTo>
                  <a:pt x="8359769" y="402382"/>
                  <a:pt x="8359038" y="397966"/>
                  <a:pt x="8359045" y="393522"/>
                </a:cubicBezTo>
                <a:cubicBezTo>
                  <a:pt x="8358993" y="389036"/>
                  <a:pt x="8359686" y="384573"/>
                  <a:pt x="8361097" y="380310"/>
                </a:cubicBezTo>
                <a:cubicBezTo>
                  <a:pt x="8362323" y="376545"/>
                  <a:pt x="8364257" y="373042"/>
                  <a:pt x="8366796" y="369985"/>
                </a:cubicBezTo>
                <a:cubicBezTo>
                  <a:pt x="8370813" y="365477"/>
                  <a:pt x="8376085" y="362534"/>
                  <a:pt x="8381735" y="361341"/>
                </a:cubicBezTo>
                <a:close/>
                <a:moveTo>
                  <a:pt x="8525633" y="338805"/>
                </a:moveTo>
                <a:lnTo>
                  <a:pt x="8525633" y="384751"/>
                </a:lnTo>
                <a:lnTo>
                  <a:pt x="8525633" y="448092"/>
                </a:lnTo>
                <a:lnTo>
                  <a:pt x="8595623" y="448092"/>
                </a:lnTo>
                <a:lnTo>
                  <a:pt x="8596022" y="448092"/>
                </a:lnTo>
                <a:lnTo>
                  <a:pt x="8596022" y="431091"/>
                </a:lnTo>
                <a:lnTo>
                  <a:pt x="8595623" y="431091"/>
                </a:lnTo>
                <a:lnTo>
                  <a:pt x="8595623" y="424993"/>
                </a:lnTo>
                <a:lnTo>
                  <a:pt x="8551295" y="424993"/>
                </a:lnTo>
                <a:lnTo>
                  <a:pt x="8551295" y="403668"/>
                </a:lnTo>
                <a:lnTo>
                  <a:pt x="8591705" y="403668"/>
                </a:lnTo>
                <a:lnTo>
                  <a:pt x="8591705" y="381596"/>
                </a:lnTo>
                <a:lnTo>
                  <a:pt x="8551295" y="381596"/>
                </a:lnTo>
                <a:lnTo>
                  <a:pt x="8551295" y="362074"/>
                </a:lnTo>
                <a:lnTo>
                  <a:pt x="8595623" y="362074"/>
                </a:lnTo>
                <a:lnTo>
                  <a:pt x="8595623" y="355806"/>
                </a:lnTo>
                <a:lnTo>
                  <a:pt x="8596022" y="355806"/>
                </a:lnTo>
                <a:lnTo>
                  <a:pt x="8596022" y="338805"/>
                </a:lnTo>
                <a:lnTo>
                  <a:pt x="8595623" y="338805"/>
                </a:lnTo>
                <a:lnTo>
                  <a:pt x="8547362" y="338805"/>
                </a:lnTo>
                <a:close/>
                <a:moveTo>
                  <a:pt x="8448177" y="338805"/>
                </a:moveTo>
                <a:lnTo>
                  <a:pt x="8448177" y="384751"/>
                </a:lnTo>
                <a:lnTo>
                  <a:pt x="8448177" y="448092"/>
                </a:lnTo>
                <a:lnTo>
                  <a:pt x="8518167" y="448092"/>
                </a:lnTo>
                <a:lnTo>
                  <a:pt x="8518552" y="448092"/>
                </a:lnTo>
                <a:lnTo>
                  <a:pt x="8518552" y="431091"/>
                </a:lnTo>
                <a:lnTo>
                  <a:pt x="8518167" y="431091"/>
                </a:lnTo>
                <a:lnTo>
                  <a:pt x="8518167" y="424993"/>
                </a:lnTo>
                <a:lnTo>
                  <a:pt x="8473825" y="424993"/>
                </a:lnTo>
                <a:lnTo>
                  <a:pt x="8473825" y="403668"/>
                </a:lnTo>
                <a:lnTo>
                  <a:pt x="8514235" y="403668"/>
                </a:lnTo>
                <a:lnTo>
                  <a:pt x="8514235" y="381596"/>
                </a:lnTo>
                <a:lnTo>
                  <a:pt x="8473825" y="381596"/>
                </a:lnTo>
                <a:lnTo>
                  <a:pt x="8473825" y="362074"/>
                </a:lnTo>
                <a:lnTo>
                  <a:pt x="8518167" y="362074"/>
                </a:lnTo>
                <a:lnTo>
                  <a:pt x="8518167" y="355806"/>
                </a:lnTo>
                <a:lnTo>
                  <a:pt x="8518552" y="355806"/>
                </a:lnTo>
                <a:lnTo>
                  <a:pt x="8518552" y="338805"/>
                </a:lnTo>
                <a:lnTo>
                  <a:pt x="8518167" y="338805"/>
                </a:lnTo>
                <a:lnTo>
                  <a:pt x="8469892" y="338805"/>
                </a:lnTo>
                <a:close/>
                <a:moveTo>
                  <a:pt x="8387913" y="338772"/>
                </a:moveTo>
                <a:cubicBezTo>
                  <a:pt x="8380162" y="338688"/>
                  <a:pt x="8372471" y="340124"/>
                  <a:pt x="8365286" y="342998"/>
                </a:cubicBezTo>
                <a:cubicBezTo>
                  <a:pt x="8362463" y="344149"/>
                  <a:pt x="8359742" y="345530"/>
                  <a:pt x="8357150" y="347125"/>
                </a:cubicBezTo>
                <a:lnTo>
                  <a:pt x="8332784" y="398691"/>
                </a:lnTo>
                <a:cubicBezTo>
                  <a:pt x="8333178" y="404327"/>
                  <a:pt x="8334392" y="409877"/>
                  <a:pt x="8336389" y="415171"/>
                </a:cubicBezTo>
                <a:cubicBezTo>
                  <a:pt x="8341193" y="428245"/>
                  <a:pt x="8351385" y="438689"/>
                  <a:pt x="8364431" y="443904"/>
                </a:cubicBezTo>
                <a:cubicBezTo>
                  <a:pt x="8371564" y="446788"/>
                  <a:pt x="8379210" y="448225"/>
                  <a:pt x="8386916" y="448130"/>
                </a:cubicBezTo>
                <a:cubicBezTo>
                  <a:pt x="8394648" y="448217"/>
                  <a:pt x="8402321" y="446781"/>
                  <a:pt x="8409486" y="443904"/>
                </a:cubicBezTo>
                <a:cubicBezTo>
                  <a:pt x="8416013" y="441262"/>
                  <a:pt x="8421943" y="437360"/>
                  <a:pt x="8426926" y="432425"/>
                </a:cubicBezTo>
                <a:cubicBezTo>
                  <a:pt x="8431850" y="427498"/>
                  <a:pt x="8435700" y="421625"/>
                  <a:pt x="8438240" y="415171"/>
                </a:cubicBezTo>
                <a:cubicBezTo>
                  <a:pt x="8440974" y="408277"/>
                  <a:pt x="8442338" y="400926"/>
                  <a:pt x="8442258" y="393522"/>
                </a:cubicBezTo>
                <a:cubicBezTo>
                  <a:pt x="8442328" y="386104"/>
                  <a:pt x="8441019" y="378738"/>
                  <a:pt x="8438397" y="371788"/>
                </a:cubicBezTo>
                <a:cubicBezTo>
                  <a:pt x="8435967" y="365344"/>
                  <a:pt x="8432239" y="359455"/>
                  <a:pt x="8427439" y="354477"/>
                </a:cubicBezTo>
                <a:cubicBezTo>
                  <a:pt x="8422597" y="349531"/>
                  <a:pt x="8416777" y="345624"/>
                  <a:pt x="8410341" y="342998"/>
                </a:cubicBezTo>
                <a:cubicBezTo>
                  <a:pt x="8403230" y="340108"/>
                  <a:pt x="8395601" y="338671"/>
                  <a:pt x="8387913" y="338772"/>
                </a:cubicBezTo>
                <a:close/>
                <a:moveTo>
                  <a:pt x="8245203" y="338425"/>
                </a:moveTo>
                <a:lnTo>
                  <a:pt x="8261546" y="372497"/>
                </a:lnTo>
                <a:lnTo>
                  <a:pt x="8288505" y="372497"/>
                </a:lnTo>
                <a:lnTo>
                  <a:pt x="8274156" y="338425"/>
                </a:lnTo>
                <a:close/>
                <a:moveTo>
                  <a:pt x="8325053" y="338411"/>
                </a:moveTo>
                <a:lnTo>
                  <a:pt x="8299363" y="397541"/>
                </a:lnTo>
                <a:lnTo>
                  <a:pt x="8292395" y="381202"/>
                </a:lnTo>
                <a:lnTo>
                  <a:pt x="8265650" y="381202"/>
                </a:lnTo>
                <a:lnTo>
                  <a:pt x="8297582" y="447867"/>
                </a:lnTo>
                <a:lnTo>
                  <a:pt x="8300545" y="447867"/>
                </a:lnTo>
                <a:lnTo>
                  <a:pt x="8352283" y="338411"/>
                </a:lnTo>
                <a:close/>
                <a:moveTo>
                  <a:pt x="8704282" y="300873"/>
                </a:moveTo>
                <a:lnTo>
                  <a:pt x="8704282" y="475801"/>
                </a:lnTo>
                <a:lnTo>
                  <a:pt x="8723671" y="475801"/>
                </a:lnTo>
                <a:lnTo>
                  <a:pt x="8723671" y="300873"/>
                </a:lnTo>
                <a:close/>
                <a:moveTo>
                  <a:pt x="0" y="0"/>
                </a:moveTo>
                <a:lnTo>
                  <a:pt x="9144000" y="0"/>
                </a:lnTo>
                <a:lnTo>
                  <a:pt x="9144000" y="182470"/>
                </a:lnTo>
                <a:lnTo>
                  <a:pt x="9144000" y="220281"/>
                </a:lnTo>
                <a:lnTo>
                  <a:pt x="9144000" y="643319"/>
                </a:lnTo>
                <a:lnTo>
                  <a:pt x="8995529" y="643319"/>
                </a:lnTo>
                <a:lnTo>
                  <a:pt x="7924718" y="643319"/>
                </a:lnTo>
                <a:lnTo>
                  <a:pt x="0" y="643319"/>
                </a:lnTo>
                <a:lnTo>
                  <a:pt x="0" y="220281"/>
                </a:lnTo>
                <a:lnTo>
                  <a:pt x="0" y="182470"/>
                </a:lnTo>
                <a:close/>
              </a:path>
            </a:pathLst>
          </a:custGeom>
          <a:solidFill>
            <a:schemeClr val="accent2"/>
          </a:solidFill>
        </p:spPr>
        <p:txBody>
          <a:bodyPr wrap="square" anchor="ctr">
            <a:noAutofit/>
          </a:bodyPr>
          <a:lstStyle>
            <a:lvl1pPr algn="ctr">
              <a:defRPr b="0">
                <a:solidFill>
                  <a:schemeClr val="bg1"/>
                </a:solidFill>
              </a:defRPr>
            </a:lvl1pPr>
          </a:lstStyle>
          <a:p>
            <a:r>
              <a:rPr lang="en-US" dirty="0"/>
              <a:t>Click icon to add a pre-designed graphic</a:t>
            </a:r>
            <a:br>
              <a:rPr lang="en-US" dirty="0"/>
            </a:br>
            <a:r>
              <a:rPr lang="en-US" dirty="0"/>
              <a:t>(e.g. ranking, quote, or map)</a:t>
            </a:r>
          </a:p>
        </p:txBody>
      </p:sp>
    </p:spTree>
    <p:extLst>
      <p:ext uri="{BB962C8B-B14F-4D97-AF65-F5344CB8AC3E}">
        <p14:creationId xmlns:p14="http://schemas.microsoft.com/office/powerpoint/2010/main" val="86566794"/>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Statistics Text Over Graphic (Full)">
    <p:spTree>
      <p:nvGrpSpPr>
        <p:cNvPr id="1" name=""/>
        <p:cNvGrpSpPr/>
        <p:nvPr/>
      </p:nvGrpSpPr>
      <p:grpSpPr>
        <a:xfrm>
          <a:off x="0" y="0"/>
          <a:ext cx="0" cy="0"/>
          <a:chOff x="0" y="0"/>
          <a:chExt cx="0" cy="0"/>
        </a:xfrm>
      </p:grpSpPr>
      <p:sp>
        <p:nvSpPr>
          <p:cNvPr id="94" name="Picture Placeholder 93">
            <a:extLst>
              <a:ext uri="{FF2B5EF4-FFF2-40B4-BE49-F238E27FC236}">
                <a16:creationId xmlns:a16="http://schemas.microsoft.com/office/drawing/2014/main" id="{D0B63B12-6712-DC43-A793-17F39F816731}"/>
              </a:ext>
            </a:extLst>
          </p:cNvPr>
          <p:cNvSpPr>
            <a:spLocks noGrp="1"/>
          </p:cNvSpPr>
          <p:nvPr>
            <p:ph type="pic" sz="quarter" idx="1004" hasCustomPrompt="1"/>
          </p:nvPr>
        </p:nvSpPr>
        <p:spPr>
          <a:xfrm>
            <a:off x="0" y="2"/>
            <a:ext cx="12192000" cy="6857999"/>
          </a:xfrm>
          <a:custGeom>
            <a:avLst/>
            <a:gdLst>
              <a:gd name="connsiteX0" fmla="*/ 8381735 w 9144000"/>
              <a:gd name="connsiteY0" fmla="*/ 6576021 h 6857999"/>
              <a:gd name="connsiteX1" fmla="*/ 8398942 w 9144000"/>
              <a:gd name="connsiteY1" fmla="*/ 6577876 h 6857999"/>
              <a:gd name="connsiteX2" fmla="*/ 8407847 w 9144000"/>
              <a:gd name="connsiteY2" fmla="*/ 6584665 h 6857999"/>
              <a:gd name="connsiteX3" fmla="*/ 8413547 w 9144000"/>
              <a:gd name="connsiteY3" fmla="*/ 6594990 h 6857999"/>
              <a:gd name="connsiteX4" fmla="*/ 8415584 w 9144000"/>
              <a:gd name="connsiteY4" fmla="*/ 6608202 h 6857999"/>
              <a:gd name="connsiteX5" fmla="*/ 8413646 w 9144000"/>
              <a:gd name="connsiteY5" fmla="*/ 6621273 h 6857999"/>
              <a:gd name="connsiteX6" fmla="*/ 8407947 w 9144000"/>
              <a:gd name="connsiteY6" fmla="*/ 6631668 h 6857999"/>
              <a:gd name="connsiteX7" fmla="*/ 8375887 w 9144000"/>
              <a:gd name="connsiteY7" fmla="*/ 6638513 h 6857999"/>
              <a:gd name="connsiteX8" fmla="*/ 8366910 w 9144000"/>
              <a:gd name="connsiteY8" fmla="*/ 6631668 h 6857999"/>
              <a:gd name="connsiteX9" fmla="*/ 8361211 w 9144000"/>
              <a:gd name="connsiteY9" fmla="*/ 6621273 h 6857999"/>
              <a:gd name="connsiteX10" fmla="*/ 8359045 w 9144000"/>
              <a:gd name="connsiteY10" fmla="*/ 6608202 h 6857999"/>
              <a:gd name="connsiteX11" fmla="*/ 8361097 w 9144000"/>
              <a:gd name="connsiteY11" fmla="*/ 6594990 h 6857999"/>
              <a:gd name="connsiteX12" fmla="*/ 8366796 w 9144000"/>
              <a:gd name="connsiteY12" fmla="*/ 6584665 h 6857999"/>
              <a:gd name="connsiteX13" fmla="*/ 8381735 w 9144000"/>
              <a:gd name="connsiteY13" fmla="*/ 6576021 h 6857999"/>
              <a:gd name="connsiteX14" fmla="*/ 8525633 w 9144000"/>
              <a:gd name="connsiteY14" fmla="*/ 6553485 h 6857999"/>
              <a:gd name="connsiteX15" fmla="*/ 8525633 w 9144000"/>
              <a:gd name="connsiteY15" fmla="*/ 6599431 h 6857999"/>
              <a:gd name="connsiteX16" fmla="*/ 8525633 w 9144000"/>
              <a:gd name="connsiteY16" fmla="*/ 6662772 h 6857999"/>
              <a:gd name="connsiteX17" fmla="*/ 8595623 w 9144000"/>
              <a:gd name="connsiteY17" fmla="*/ 6662772 h 6857999"/>
              <a:gd name="connsiteX18" fmla="*/ 8596022 w 9144000"/>
              <a:gd name="connsiteY18" fmla="*/ 6662772 h 6857999"/>
              <a:gd name="connsiteX19" fmla="*/ 8596022 w 9144000"/>
              <a:gd name="connsiteY19" fmla="*/ 6645771 h 6857999"/>
              <a:gd name="connsiteX20" fmla="*/ 8595623 w 9144000"/>
              <a:gd name="connsiteY20" fmla="*/ 6645771 h 6857999"/>
              <a:gd name="connsiteX21" fmla="*/ 8595623 w 9144000"/>
              <a:gd name="connsiteY21" fmla="*/ 6639673 h 6857999"/>
              <a:gd name="connsiteX22" fmla="*/ 8551295 w 9144000"/>
              <a:gd name="connsiteY22" fmla="*/ 6639673 h 6857999"/>
              <a:gd name="connsiteX23" fmla="*/ 8551295 w 9144000"/>
              <a:gd name="connsiteY23" fmla="*/ 6618348 h 6857999"/>
              <a:gd name="connsiteX24" fmla="*/ 8591705 w 9144000"/>
              <a:gd name="connsiteY24" fmla="*/ 6618348 h 6857999"/>
              <a:gd name="connsiteX25" fmla="*/ 8591705 w 9144000"/>
              <a:gd name="connsiteY25" fmla="*/ 6596276 h 6857999"/>
              <a:gd name="connsiteX26" fmla="*/ 8551295 w 9144000"/>
              <a:gd name="connsiteY26" fmla="*/ 6596276 h 6857999"/>
              <a:gd name="connsiteX27" fmla="*/ 8551295 w 9144000"/>
              <a:gd name="connsiteY27" fmla="*/ 6576754 h 6857999"/>
              <a:gd name="connsiteX28" fmla="*/ 8595623 w 9144000"/>
              <a:gd name="connsiteY28" fmla="*/ 6576754 h 6857999"/>
              <a:gd name="connsiteX29" fmla="*/ 8595623 w 9144000"/>
              <a:gd name="connsiteY29" fmla="*/ 6570486 h 6857999"/>
              <a:gd name="connsiteX30" fmla="*/ 8596022 w 9144000"/>
              <a:gd name="connsiteY30" fmla="*/ 6570486 h 6857999"/>
              <a:gd name="connsiteX31" fmla="*/ 8596022 w 9144000"/>
              <a:gd name="connsiteY31" fmla="*/ 6553485 h 6857999"/>
              <a:gd name="connsiteX32" fmla="*/ 8595623 w 9144000"/>
              <a:gd name="connsiteY32" fmla="*/ 6553485 h 6857999"/>
              <a:gd name="connsiteX33" fmla="*/ 8547362 w 9144000"/>
              <a:gd name="connsiteY33" fmla="*/ 6553485 h 6857999"/>
              <a:gd name="connsiteX34" fmla="*/ 8448177 w 9144000"/>
              <a:gd name="connsiteY34" fmla="*/ 6553485 h 6857999"/>
              <a:gd name="connsiteX35" fmla="*/ 8448177 w 9144000"/>
              <a:gd name="connsiteY35" fmla="*/ 6599431 h 6857999"/>
              <a:gd name="connsiteX36" fmla="*/ 8448177 w 9144000"/>
              <a:gd name="connsiteY36" fmla="*/ 6662772 h 6857999"/>
              <a:gd name="connsiteX37" fmla="*/ 8518167 w 9144000"/>
              <a:gd name="connsiteY37" fmla="*/ 6662772 h 6857999"/>
              <a:gd name="connsiteX38" fmla="*/ 8518552 w 9144000"/>
              <a:gd name="connsiteY38" fmla="*/ 6662772 h 6857999"/>
              <a:gd name="connsiteX39" fmla="*/ 8518552 w 9144000"/>
              <a:gd name="connsiteY39" fmla="*/ 6645771 h 6857999"/>
              <a:gd name="connsiteX40" fmla="*/ 8518167 w 9144000"/>
              <a:gd name="connsiteY40" fmla="*/ 6645771 h 6857999"/>
              <a:gd name="connsiteX41" fmla="*/ 8518167 w 9144000"/>
              <a:gd name="connsiteY41" fmla="*/ 6639673 h 6857999"/>
              <a:gd name="connsiteX42" fmla="*/ 8473825 w 9144000"/>
              <a:gd name="connsiteY42" fmla="*/ 6639673 h 6857999"/>
              <a:gd name="connsiteX43" fmla="*/ 8473825 w 9144000"/>
              <a:gd name="connsiteY43" fmla="*/ 6618348 h 6857999"/>
              <a:gd name="connsiteX44" fmla="*/ 8514235 w 9144000"/>
              <a:gd name="connsiteY44" fmla="*/ 6618348 h 6857999"/>
              <a:gd name="connsiteX45" fmla="*/ 8514235 w 9144000"/>
              <a:gd name="connsiteY45" fmla="*/ 6596276 h 6857999"/>
              <a:gd name="connsiteX46" fmla="*/ 8473825 w 9144000"/>
              <a:gd name="connsiteY46" fmla="*/ 6596276 h 6857999"/>
              <a:gd name="connsiteX47" fmla="*/ 8473825 w 9144000"/>
              <a:gd name="connsiteY47" fmla="*/ 6576754 h 6857999"/>
              <a:gd name="connsiteX48" fmla="*/ 8518167 w 9144000"/>
              <a:gd name="connsiteY48" fmla="*/ 6576754 h 6857999"/>
              <a:gd name="connsiteX49" fmla="*/ 8518167 w 9144000"/>
              <a:gd name="connsiteY49" fmla="*/ 6570486 h 6857999"/>
              <a:gd name="connsiteX50" fmla="*/ 8518552 w 9144000"/>
              <a:gd name="connsiteY50" fmla="*/ 6570486 h 6857999"/>
              <a:gd name="connsiteX51" fmla="*/ 8518552 w 9144000"/>
              <a:gd name="connsiteY51" fmla="*/ 6553485 h 6857999"/>
              <a:gd name="connsiteX52" fmla="*/ 8518167 w 9144000"/>
              <a:gd name="connsiteY52" fmla="*/ 6553485 h 6857999"/>
              <a:gd name="connsiteX53" fmla="*/ 8469892 w 9144000"/>
              <a:gd name="connsiteY53" fmla="*/ 6553485 h 6857999"/>
              <a:gd name="connsiteX54" fmla="*/ 8387913 w 9144000"/>
              <a:gd name="connsiteY54" fmla="*/ 6553452 h 6857999"/>
              <a:gd name="connsiteX55" fmla="*/ 8365286 w 9144000"/>
              <a:gd name="connsiteY55" fmla="*/ 6557678 h 6857999"/>
              <a:gd name="connsiteX56" fmla="*/ 8357150 w 9144000"/>
              <a:gd name="connsiteY56" fmla="*/ 6561805 h 6857999"/>
              <a:gd name="connsiteX57" fmla="*/ 8332784 w 9144000"/>
              <a:gd name="connsiteY57" fmla="*/ 6613371 h 6857999"/>
              <a:gd name="connsiteX58" fmla="*/ 8336389 w 9144000"/>
              <a:gd name="connsiteY58" fmla="*/ 6629851 h 6857999"/>
              <a:gd name="connsiteX59" fmla="*/ 8364431 w 9144000"/>
              <a:gd name="connsiteY59" fmla="*/ 6658584 h 6857999"/>
              <a:gd name="connsiteX60" fmla="*/ 8386916 w 9144000"/>
              <a:gd name="connsiteY60" fmla="*/ 6662810 h 6857999"/>
              <a:gd name="connsiteX61" fmla="*/ 8409486 w 9144000"/>
              <a:gd name="connsiteY61" fmla="*/ 6658584 h 6857999"/>
              <a:gd name="connsiteX62" fmla="*/ 8426926 w 9144000"/>
              <a:gd name="connsiteY62" fmla="*/ 6647105 h 6857999"/>
              <a:gd name="connsiteX63" fmla="*/ 8438240 w 9144000"/>
              <a:gd name="connsiteY63" fmla="*/ 6629851 h 6857999"/>
              <a:gd name="connsiteX64" fmla="*/ 8442258 w 9144000"/>
              <a:gd name="connsiteY64" fmla="*/ 6608202 h 6857999"/>
              <a:gd name="connsiteX65" fmla="*/ 8438397 w 9144000"/>
              <a:gd name="connsiteY65" fmla="*/ 6586468 h 6857999"/>
              <a:gd name="connsiteX66" fmla="*/ 8427439 w 9144000"/>
              <a:gd name="connsiteY66" fmla="*/ 6569157 h 6857999"/>
              <a:gd name="connsiteX67" fmla="*/ 8410341 w 9144000"/>
              <a:gd name="connsiteY67" fmla="*/ 6557678 h 6857999"/>
              <a:gd name="connsiteX68" fmla="*/ 8387913 w 9144000"/>
              <a:gd name="connsiteY68" fmla="*/ 6553452 h 6857999"/>
              <a:gd name="connsiteX69" fmla="*/ 8245203 w 9144000"/>
              <a:gd name="connsiteY69" fmla="*/ 6553105 h 6857999"/>
              <a:gd name="connsiteX70" fmla="*/ 8261546 w 9144000"/>
              <a:gd name="connsiteY70" fmla="*/ 6587177 h 6857999"/>
              <a:gd name="connsiteX71" fmla="*/ 8288505 w 9144000"/>
              <a:gd name="connsiteY71" fmla="*/ 6587177 h 6857999"/>
              <a:gd name="connsiteX72" fmla="*/ 8274156 w 9144000"/>
              <a:gd name="connsiteY72" fmla="*/ 6553105 h 6857999"/>
              <a:gd name="connsiteX73" fmla="*/ 8325053 w 9144000"/>
              <a:gd name="connsiteY73" fmla="*/ 6553091 h 6857999"/>
              <a:gd name="connsiteX74" fmla="*/ 8299363 w 9144000"/>
              <a:gd name="connsiteY74" fmla="*/ 6612221 h 6857999"/>
              <a:gd name="connsiteX75" fmla="*/ 8292395 w 9144000"/>
              <a:gd name="connsiteY75" fmla="*/ 6595882 h 6857999"/>
              <a:gd name="connsiteX76" fmla="*/ 8265650 w 9144000"/>
              <a:gd name="connsiteY76" fmla="*/ 6595882 h 6857999"/>
              <a:gd name="connsiteX77" fmla="*/ 8297582 w 9144000"/>
              <a:gd name="connsiteY77" fmla="*/ 6662547 h 6857999"/>
              <a:gd name="connsiteX78" fmla="*/ 8300545 w 9144000"/>
              <a:gd name="connsiteY78" fmla="*/ 6662547 h 6857999"/>
              <a:gd name="connsiteX79" fmla="*/ 8352283 w 9144000"/>
              <a:gd name="connsiteY79" fmla="*/ 6553091 h 6857999"/>
              <a:gd name="connsiteX80" fmla="*/ 8704282 w 9144000"/>
              <a:gd name="connsiteY80" fmla="*/ 6515553 h 6857999"/>
              <a:gd name="connsiteX81" fmla="*/ 8704282 w 9144000"/>
              <a:gd name="connsiteY81" fmla="*/ 6690481 h 6857999"/>
              <a:gd name="connsiteX82" fmla="*/ 8723671 w 9144000"/>
              <a:gd name="connsiteY82" fmla="*/ 6690481 h 6857999"/>
              <a:gd name="connsiteX83" fmla="*/ 8723671 w 9144000"/>
              <a:gd name="connsiteY83" fmla="*/ 6515553 h 6857999"/>
              <a:gd name="connsiteX84" fmla="*/ 0 w 9144000"/>
              <a:gd name="connsiteY84" fmla="*/ 0 h 6857999"/>
              <a:gd name="connsiteX85" fmla="*/ 9144000 w 9144000"/>
              <a:gd name="connsiteY85" fmla="*/ 0 h 6857999"/>
              <a:gd name="connsiteX86" fmla="*/ 9144000 w 9144000"/>
              <a:gd name="connsiteY86" fmla="*/ 6199631 h 6857999"/>
              <a:gd name="connsiteX87" fmla="*/ 9144000 w 9144000"/>
              <a:gd name="connsiteY87" fmla="*/ 6293057 h 6857999"/>
              <a:gd name="connsiteX88" fmla="*/ 9144000 w 9144000"/>
              <a:gd name="connsiteY88" fmla="*/ 6857999 h 6857999"/>
              <a:gd name="connsiteX89" fmla="*/ 8995529 w 9144000"/>
              <a:gd name="connsiteY89" fmla="*/ 6857999 h 6857999"/>
              <a:gd name="connsiteX90" fmla="*/ 7924718 w 9144000"/>
              <a:gd name="connsiteY90" fmla="*/ 6857999 h 6857999"/>
              <a:gd name="connsiteX91" fmla="*/ 0 w 9144000"/>
              <a:gd name="connsiteY91" fmla="*/ 6857999 h 6857999"/>
              <a:gd name="connsiteX92" fmla="*/ 0 w 9144000"/>
              <a:gd name="connsiteY92" fmla="*/ 6293057 h 6857999"/>
              <a:gd name="connsiteX93" fmla="*/ 0 w 9144000"/>
              <a:gd name="connsiteY93" fmla="*/ 619963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9144000" h="6857999">
                <a:moveTo>
                  <a:pt x="8381735" y="6576021"/>
                </a:moveTo>
                <a:cubicBezTo>
                  <a:pt x="8387385" y="6574828"/>
                  <a:pt x="8393413" y="6575384"/>
                  <a:pt x="8398942" y="6577876"/>
                </a:cubicBezTo>
                <a:cubicBezTo>
                  <a:pt x="8402361" y="6579494"/>
                  <a:pt x="8405396" y="6581807"/>
                  <a:pt x="8407847" y="6584665"/>
                </a:cubicBezTo>
                <a:cubicBezTo>
                  <a:pt x="8410387" y="6587722"/>
                  <a:pt x="8412320" y="6591225"/>
                  <a:pt x="8413547" y="6594990"/>
                </a:cubicBezTo>
                <a:cubicBezTo>
                  <a:pt x="8414952" y="6599254"/>
                  <a:pt x="8415640" y="6603717"/>
                  <a:pt x="8415584" y="6608202"/>
                </a:cubicBezTo>
                <a:cubicBezTo>
                  <a:pt x="8415665" y="6612634"/>
                  <a:pt x="8415011" y="6617050"/>
                  <a:pt x="8413646" y="6621273"/>
                </a:cubicBezTo>
                <a:cubicBezTo>
                  <a:pt x="8412411" y="6625055"/>
                  <a:pt x="8410478" y="6628579"/>
                  <a:pt x="8407947" y="6631668"/>
                </a:cubicBezTo>
                <a:cubicBezTo>
                  <a:pt x="8399972" y="6640714"/>
                  <a:pt x="8386928" y="6643499"/>
                  <a:pt x="8375887" y="6638513"/>
                </a:cubicBezTo>
                <a:cubicBezTo>
                  <a:pt x="8372423" y="6636910"/>
                  <a:pt x="8369358" y="6634573"/>
                  <a:pt x="8366910" y="6631668"/>
                </a:cubicBezTo>
                <a:cubicBezTo>
                  <a:pt x="8364379" y="6628579"/>
                  <a:pt x="8362446" y="6625055"/>
                  <a:pt x="8361211" y="6621273"/>
                </a:cubicBezTo>
                <a:cubicBezTo>
                  <a:pt x="8359769" y="6617062"/>
                  <a:pt x="8359038" y="6612646"/>
                  <a:pt x="8359045" y="6608202"/>
                </a:cubicBezTo>
                <a:cubicBezTo>
                  <a:pt x="8358993" y="6603716"/>
                  <a:pt x="8359686" y="6599253"/>
                  <a:pt x="8361097" y="6594990"/>
                </a:cubicBezTo>
                <a:cubicBezTo>
                  <a:pt x="8362323" y="6591225"/>
                  <a:pt x="8364257" y="6587722"/>
                  <a:pt x="8366796" y="6584665"/>
                </a:cubicBezTo>
                <a:cubicBezTo>
                  <a:pt x="8370813" y="6580157"/>
                  <a:pt x="8376085" y="6577214"/>
                  <a:pt x="8381735" y="6576021"/>
                </a:cubicBezTo>
                <a:close/>
                <a:moveTo>
                  <a:pt x="8525633" y="6553485"/>
                </a:moveTo>
                <a:lnTo>
                  <a:pt x="8525633" y="6599431"/>
                </a:lnTo>
                <a:lnTo>
                  <a:pt x="8525633" y="6662772"/>
                </a:lnTo>
                <a:lnTo>
                  <a:pt x="8595623" y="6662772"/>
                </a:lnTo>
                <a:lnTo>
                  <a:pt x="8596022" y="6662772"/>
                </a:lnTo>
                <a:lnTo>
                  <a:pt x="8596022" y="6645771"/>
                </a:lnTo>
                <a:lnTo>
                  <a:pt x="8595623" y="6645771"/>
                </a:lnTo>
                <a:lnTo>
                  <a:pt x="8595623" y="6639673"/>
                </a:lnTo>
                <a:lnTo>
                  <a:pt x="8551295" y="6639673"/>
                </a:lnTo>
                <a:lnTo>
                  <a:pt x="8551295" y="6618348"/>
                </a:lnTo>
                <a:lnTo>
                  <a:pt x="8591705" y="6618348"/>
                </a:lnTo>
                <a:lnTo>
                  <a:pt x="8591705" y="6596276"/>
                </a:lnTo>
                <a:lnTo>
                  <a:pt x="8551295" y="6596276"/>
                </a:lnTo>
                <a:lnTo>
                  <a:pt x="8551295" y="6576754"/>
                </a:lnTo>
                <a:lnTo>
                  <a:pt x="8595623" y="6576754"/>
                </a:lnTo>
                <a:lnTo>
                  <a:pt x="8595623" y="6570486"/>
                </a:lnTo>
                <a:lnTo>
                  <a:pt x="8596022" y="6570486"/>
                </a:lnTo>
                <a:lnTo>
                  <a:pt x="8596022" y="6553485"/>
                </a:lnTo>
                <a:lnTo>
                  <a:pt x="8595623" y="6553485"/>
                </a:lnTo>
                <a:lnTo>
                  <a:pt x="8547362" y="6553485"/>
                </a:lnTo>
                <a:close/>
                <a:moveTo>
                  <a:pt x="8448177" y="6553485"/>
                </a:moveTo>
                <a:lnTo>
                  <a:pt x="8448177" y="6599431"/>
                </a:lnTo>
                <a:lnTo>
                  <a:pt x="8448177" y="6662772"/>
                </a:lnTo>
                <a:lnTo>
                  <a:pt x="8518167" y="6662772"/>
                </a:lnTo>
                <a:lnTo>
                  <a:pt x="8518552" y="6662772"/>
                </a:lnTo>
                <a:lnTo>
                  <a:pt x="8518552" y="6645771"/>
                </a:lnTo>
                <a:lnTo>
                  <a:pt x="8518167" y="6645771"/>
                </a:lnTo>
                <a:lnTo>
                  <a:pt x="8518167" y="6639673"/>
                </a:lnTo>
                <a:lnTo>
                  <a:pt x="8473825" y="6639673"/>
                </a:lnTo>
                <a:lnTo>
                  <a:pt x="8473825" y="6618348"/>
                </a:lnTo>
                <a:lnTo>
                  <a:pt x="8514235" y="6618348"/>
                </a:lnTo>
                <a:lnTo>
                  <a:pt x="8514235" y="6596276"/>
                </a:lnTo>
                <a:lnTo>
                  <a:pt x="8473825" y="6596276"/>
                </a:lnTo>
                <a:lnTo>
                  <a:pt x="8473825" y="6576754"/>
                </a:lnTo>
                <a:lnTo>
                  <a:pt x="8518167" y="6576754"/>
                </a:lnTo>
                <a:lnTo>
                  <a:pt x="8518167" y="6570486"/>
                </a:lnTo>
                <a:lnTo>
                  <a:pt x="8518552" y="6570486"/>
                </a:lnTo>
                <a:lnTo>
                  <a:pt x="8518552" y="6553485"/>
                </a:lnTo>
                <a:lnTo>
                  <a:pt x="8518167" y="6553485"/>
                </a:lnTo>
                <a:lnTo>
                  <a:pt x="8469892" y="6553485"/>
                </a:lnTo>
                <a:close/>
                <a:moveTo>
                  <a:pt x="8387913" y="6553452"/>
                </a:moveTo>
                <a:cubicBezTo>
                  <a:pt x="8380162" y="6553368"/>
                  <a:pt x="8372471" y="6554804"/>
                  <a:pt x="8365286" y="6557678"/>
                </a:cubicBezTo>
                <a:cubicBezTo>
                  <a:pt x="8362463" y="6558829"/>
                  <a:pt x="8359742" y="6560210"/>
                  <a:pt x="8357150" y="6561805"/>
                </a:cubicBezTo>
                <a:lnTo>
                  <a:pt x="8332784" y="6613371"/>
                </a:lnTo>
                <a:cubicBezTo>
                  <a:pt x="8333178" y="6619007"/>
                  <a:pt x="8334392" y="6624557"/>
                  <a:pt x="8336389" y="6629851"/>
                </a:cubicBezTo>
                <a:cubicBezTo>
                  <a:pt x="8341193" y="6642925"/>
                  <a:pt x="8351385" y="6653369"/>
                  <a:pt x="8364431" y="6658584"/>
                </a:cubicBezTo>
                <a:cubicBezTo>
                  <a:pt x="8371564" y="6661468"/>
                  <a:pt x="8379210" y="6662905"/>
                  <a:pt x="8386916" y="6662810"/>
                </a:cubicBezTo>
                <a:cubicBezTo>
                  <a:pt x="8394648" y="6662897"/>
                  <a:pt x="8402321" y="6661461"/>
                  <a:pt x="8409486" y="6658584"/>
                </a:cubicBezTo>
                <a:cubicBezTo>
                  <a:pt x="8416013" y="6655942"/>
                  <a:pt x="8421943" y="6652040"/>
                  <a:pt x="8426926" y="6647105"/>
                </a:cubicBezTo>
                <a:cubicBezTo>
                  <a:pt x="8431850" y="6642178"/>
                  <a:pt x="8435700" y="6636305"/>
                  <a:pt x="8438240" y="6629851"/>
                </a:cubicBezTo>
                <a:cubicBezTo>
                  <a:pt x="8440974" y="6622957"/>
                  <a:pt x="8442338" y="6615606"/>
                  <a:pt x="8442258" y="6608202"/>
                </a:cubicBezTo>
                <a:cubicBezTo>
                  <a:pt x="8442328" y="6600784"/>
                  <a:pt x="8441019" y="6593418"/>
                  <a:pt x="8438397" y="6586468"/>
                </a:cubicBezTo>
                <a:cubicBezTo>
                  <a:pt x="8435967" y="6580024"/>
                  <a:pt x="8432239" y="6574135"/>
                  <a:pt x="8427439" y="6569157"/>
                </a:cubicBezTo>
                <a:cubicBezTo>
                  <a:pt x="8422597" y="6564211"/>
                  <a:pt x="8416777" y="6560304"/>
                  <a:pt x="8410341" y="6557678"/>
                </a:cubicBezTo>
                <a:cubicBezTo>
                  <a:pt x="8403230" y="6554788"/>
                  <a:pt x="8395601" y="6553351"/>
                  <a:pt x="8387913" y="6553452"/>
                </a:cubicBezTo>
                <a:close/>
                <a:moveTo>
                  <a:pt x="8245203" y="6553105"/>
                </a:moveTo>
                <a:lnTo>
                  <a:pt x="8261546" y="6587177"/>
                </a:lnTo>
                <a:lnTo>
                  <a:pt x="8288505" y="6587177"/>
                </a:lnTo>
                <a:lnTo>
                  <a:pt x="8274156" y="6553105"/>
                </a:lnTo>
                <a:close/>
                <a:moveTo>
                  <a:pt x="8325053" y="6553091"/>
                </a:moveTo>
                <a:lnTo>
                  <a:pt x="8299363" y="6612221"/>
                </a:lnTo>
                <a:lnTo>
                  <a:pt x="8292395" y="6595882"/>
                </a:lnTo>
                <a:lnTo>
                  <a:pt x="8265650" y="6595882"/>
                </a:lnTo>
                <a:lnTo>
                  <a:pt x="8297582" y="6662547"/>
                </a:lnTo>
                <a:lnTo>
                  <a:pt x="8300545" y="6662547"/>
                </a:lnTo>
                <a:lnTo>
                  <a:pt x="8352283" y="6553091"/>
                </a:lnTo>
                <a:close/>
                <a:moveTo>
                  <a:pt x="8704282" y="6515553"/>
                </a:moveTo>
                <a:lnTo>
                  <a:pt x="8704282" y="6690481"/>
                </a:lnTo>
                <a:lnTo>
                  <a:pt x="8723671" y="6690481"/>
                </a:lnTo>
                <a:lnTo>
                  <a:pt x="8723671" y="6515553"/>
                </a:lnTo>
                <a:close/>
                <a:moveTo>
                  <a:pt x="0" y="0"/>
                </a:moveTo>
                <a:lnTo>
                  <a:pt x="9144000" y="0"/>
                </a:lnTo>
                <a:lnTo>
                  <a:pt x="9144000" y="6199631"/>
                </a:lnTo>
                <a:lnTo>
                  <a:pt x="9144000" y="6293057"/>
                </a:lnTo>
                <a:lnTo>
                  <a:pt x="9144000" y="6857999"/>
                </a:lnTo>
                <a:lnTo>
                  <a:pt x="8995529" y="6857999"/>
                </a:lnTo>
                <a:lnTo>
                  <a:pt x="7924718" y="6857999"/>
                </a:lnTo>
                <a:lnTo>
                  <a:pt x="0" y="6857999"/>
                </a:lnTo>
                <a:lnTo>
                  <a:pt x="0" y="6293057"/>
                </a:lnTo>
                <a:lnTo>
                  <a:pt x="0" y="6199631"/>
                </a:lnTo>
                <a:close/>
              </a:path>
            </a:pathLst>
          </a:custGeom>
          <a:solidFill>
            <a:srgbClr val="E8F3FD"/>
          </a:solidFill>
        </p:spPr>
        <p:txBody>
          <a:bodyPr wrap="square" anchor="ctr">
            <a:noAutofit/>
          </a:bodyPr>
          <a:lstStyle>
            <a:lvl1pPr algn="ctr">
              <a:defRPr b="0">
                <a:solidFill>
                  <a:schemeClr val="tx1">
                    <a:lumMod val="50000"/>
                    <a:lumOff val="50000"/>
                  </a:schemeClr>
                </a:solidFill>
              </a:defRPr>
            </a:lvl1pPr>
          </a:lstStyle>
          <a:p>
            <a:r>
              <a:rPr lang="en-US" dirty="0"/>
              <a:t>Click icon to add a pre-designed graphic</a:t>
            </a:r>
            <a:br>
              <a:rPr lang="en-US" dirty="0"/>
            </a:br>
            <a:r>
              <a:rPr lang="en-US" dirty="0"/>
              <a:t>(e.g. ranking, quote, or map)</a:t>
            </a:r>
          </a:p>
        </p:txBody>
      </p:sp>
      <p:grpSp>
        <p:nvGrpSpPr>
          <p:cNvPr id="7" name="Group 6">
            <a:extLst>
              <a:ext uri="{FF2B5EF4-FFF2-40B4-BE49-F238E27FC236}">
                <a16:creationId xmlns:a16="http://schemas.microsoft.com/office/drawing/2014/main" id="{26ACA9DB-4044-6F42-96B1-45EBCD182B84}"/>
              </a:ext>
            </a:extLst>
          </p:cNvPr>
          <p:cNvGrpSpPr/>
          <p:nvPr userDrawn="1"/>
        </p:nvGrpSpPr>
        <p:grpSpPr>
          <a:xfrm>
            <a:off x="-339919" y="-244225"/>
            <a:ext cx="12877237"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99801"/>
                <a:ext cx="307777" cy="129266"/>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0" cy="235792"/>
              <a:chOff x="431800" y="-240735"/>
              <a:chExt cx="8280400"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914337" y="-176700"/>
                <a:ext cx="1315340"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0" y="-122839"/>
                <a:ext cx="3482537"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a:off x="5229677" y="-122839"/>
                <a:ext cx="348252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869729" y="3686135"/>
                  <a:ext cx="1478115" cy="8079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flipH="1">
                  <a:off x="-130672" y="4465589"/>
                  <a:ext cx="2" cy="1682549"/>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2" cy="1682546"/>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123421" y="6868673"/>
              <a:ext cx="2930114" cy="235790"/>
              <a:chOff x="3121388" y="6869197"/>
              <a:chExt cx="2930114"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121388" y="6954537"/>
                <a:ext cx="153888"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87991" y="6954537"/>
                <a:ext cx="170720"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69961" y="6954537"/>
                <a:ext cx="181541"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6096000" cy="6858000"/>
          </a:xfrm>
          <a:gradFill>
            <a:gsLst>
              <a:gs pos="13000">
                <a:schemeClr val="accent1"/>
              </a:gs>
              <a:gs pos="97000">
                <a:schemeClr val="accent1">
                  <a:alpha val="9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sz="2800">
                <a:solidFill>
                  <a:schemeClr val="bg1"/>
                </a:solidFill>
              </a:defRPr>
            </a:lvl1pPr>
            <a:lvl2pPr>
              <a:defRPr>
                <a:solidFill>
                  <a:schemeClr val="bg1"/>
                </a:solidFill>
              </a:defRPr>
            </a:lvl2pPr>
            <a:lvl3pPr marL="0" indent="0">
              <a:buFontTx/>
              <a:buNone/>
              <a:defRPr>
                <a:solidFill>
                  <a:schemeClr val="bg1"/>
                </a:solidFill>
              </a:defRPr>
            </a:lvl3pPr>
            <a:lvl4pPr marL="0" indent="0">
              <a:buFontTx/>
              <a:buNone/>
              <a:defRPr>
                <a:solidFill>
                  <a:schemeClr val="bg1"/>
                </a:solidFill>
              </a:defRPr>
            </a:lvl4pPr>
            <a:lvl5pPr marL="0" indent="0">
              <a:buFontTx/>
              <a:buNone/>
              <a:defRPr>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575733" y="6200775"/>
            <a:ext cx="4934115"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lang="en-US" smtClean="0"/>
            </a:lvl1pPr>
          </a:lstStyle>
          <a:p>
            <a:pPr marL="12700"/>
            <a:fld id="{078C017C-E1B9-8443-B047-B08AAA027B45}" type="slidenum">
              <a:rPr lang="en-CA" smtClean="0"/>
              <a:pPr marL="12700"/>
              <a:t>‹#›</a:t>
            </a:fld>
            <a:endParaRPr lang="en-CA" dirty="0"/>
          </a:p>
        </p:txBody>
      </p:sp>
      <p:grpSp>
        <p:nvGrpSpPr>
          <p:cNvPr id="6" name="Group 5">
            <a:extLst>
              <a:ext uri="{FF2B5EF4-FFF2-40B4-BE49-F238E27FC236}">
                <a16:creationId xmlns:a16="http://schemas.microsoft.com/office/drawing/2014/main" id="{384FC32F-D780-2C41-B31E-1F1C7720CD48}"/>
              </a:ext>
            </a:extLst>
          </p:cNvPr>
          <p:cNvGrpSpPr/>
          <p:nvPr userDrawn="1"/>
        </p:nvGrpSpPr>
        <p:grpSpPr>
          <a:xfrm>
            <a:off x="12532244" y="-1"/>
            <a:ext cx="3948953" cy="9658589"/>
            <a:chOff x="9399182" y="-1"/>
            <a:chExt cx="2961715" cy="9658589"/>
          </a:xfrm>
        </p:grpSpPr>
        <p:sp>
          <p:nvSpPr>
            <p:cNvPr id="114" name="Rectangle 113">
              <a:extLst>
                <a:ext uri="{FF2B5EF4-FFF2-40B4-BE49-F238E27FC236}">
                  <a16:creationId xmlns:a16="http://schemas.microsoft.com/office/drawing/2014/main" id="{1F6701BF-092D-2F4F-9D3D-CB526578FD23}"/>
                </a:ext>
              </a:extLst>
            </p:cNvPr>
            <p:cNvSpPr/>
            <p:nvPr userDrawn="1"/>
          </p:nvSpPr>
          <p:spPr>
            <a:xfrm>
              <a:off x="9399182" y="-1"/>
              <a:ext cx="2798651" cy="94869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163" name="Picture 162">
              <a:extLst>
                <a:ext uri="{FF2B5EF4-FFF2-40B4-BE49-F238E27FC236}">
                  <a16:creationId xmlns:a16="http://schemas.microsoft.com/office/drawing/2014/main" id="{2D12CE45-289D-6B47-8827-232211E4A4E4}"/>
                </a:ext>
              </a:extLst>
            </p:cNvPr>
            <p:cNvPicPr>
              <a:picLocks noChangeAspect="1"/>
            </p:cNvPicPr>
            <p:nvPr userDrawn="1"/>
          </p:nvPicPr>
          <p:blipFill rotWithShape="1">
            <a:blip r:embed="rId2"/>
            <a:srcRect t="11482" r="50733" b="17784"/>
            <a:stretch/>
          </p:blipFill>
          <p:spPr>
            <a:xfrm>
              <a:off x="9558506" y="1332920"/>
              <a:ext cx="2639326" cy="746975"/>
            </a:xfrm>
            <a:prstGeom prst="rect">
              <a:avLst/>
            </a:prstGeom>
          </p:spPr>
        </p:pic>
        <p:grpSp>
          <p:nvGrpSpPr>
            <p:cNvPr id="115" name="Group 114">
              <a:extLst>
                <a:ext uri="{FF2B5EF4-FFF2-40B4-BE49-F238E27FC236}">
                  <a16:creationId xmlns:a16="http://schemas.microsoft.com/office/drawing/2014/main" id="{E06DB9A1-FD76-8C4E-AA60-A3215A54B22B}"/>
                </a:ext>
              </a:extLst>
            </p:cNvPr>
            <p:cNvGrpSpPr/>
            <p:nvPr userDrawn="1"/>
          </p:nvGrpSpPr>
          <p:grpSpPr>
            <a:xfrm>
              <a:off x="9541497" y="162442"/>
              <a:ext cx="2819400" cy="814510"/>
              <a:chOff x="-3644733" y="165205"/>
              <a:chExt cx="2819400" cy="814510"/>
            </a:xfrm>
          </p:grpSpPr>
          <p:sp>
            <p:nvSpPr>
              <p:cNvPr id="154" name="Rectangle 153">
                <a:extLst>
                  <a:ext uri="{FF2B5EF4-FFF2-40B4-BE49-F238E27FC236}">
                    <a16:creationId xmlns:a16="http://schemas.microsoft.com/office/drawing/2014/main" id="{9B6A22A1-5D5B-4A45-9873-94CDE4AF538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5" name="TextBox 154">
                <a:extLst>
                  <a:ext uri="{FF2B5EF4-FFF2-40B4-BE49-F238E27FC236}">
                    <a16:creationId xmlns:a16="http://schemas.microsoft.com/office/drawing/2014/main" id="{7ABB8F1D-E85A-ED44-9693-9F13743BAED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56" name="Picture 155">
                <a:extLst>
                  <a:ext uri="{FF2B5EF4-FFF2-40B4-BE49-F238E27FC236}">
                    <a16:creationId xmlns:a16="http://schemas.microsoft.com/office/drawing/2014/main" id="{20DBD003-BD74-534F-B6C9-503C1716230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116" name="TextBox 115">
              <a:extLst>
                <a:ext uri="{FF2B5EF4-FFF2-40B4-BE49-F238E27FC236}">
                  <a16:creationId xmlns:a16="http://schemas.microsoft.com/office/drawing/2014/main" id="{00987C7D-6B58-624B-A8C2-E1C8B5B41655}"/>
                </a:ext>
              </a:extLst>
            </p:cNvPr>
            <p:cNvSpPr txBox="1"/>
            <p:nvPr userDrawn="1"/>
          </p:nvSpPr>
          <p:spPr>
            <a:xfrm>
              <a:off x="9558507" y="3644763"/>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117" name="Straight Connector 116">
              <a:extLst>
                <a:ext uri="{FF2B5EF4-FFF2-40B4-BE49-F238E27FC236}">
                  <a16:creationId xmlns:a16="http://schemas.microsoft.com/office/drawing/2014/main" id="{76A5E172-F2DB-AB47-BF8B-E04905D4DF34}"/>
                </a:ext>
              </a:extLst>
            </p:cNvPr>
            <p:cNvCxnSpPr>
              <a:cxnSpLocks/>
            </p:cNvCxnSpPr>
            <p:nvPr userDrawn="1"/>
          </p:nvCxnSpPr>
          <p:spPr>
            <a:xfrm>
              <a:off x="9558507" y="384738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3686235-423F-604C-911D-620F011D49F8}"/>
                </a:ext>
              </a:extLst>
            </p:cNvPr>
            <p:cNvSpPr txBox="1"/>
            <p:nvPr userDrawn="1"/>
          </p:nvSpPr>
          <p:spPr>
            <a:xfrm>
              <a:off x="9686426" y="470569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19" name="Group 118">
              <a:extLst>
                <a:ext uri="{FF2B5EF4-FFF2-40B4-BE49-F238E27FC236}">
                  <a16:creationId xmlns:a16="http://schemas.microsoft.com/office/drawing/2014/main" id="{74431D0C-E5D7-5C4B-B34D-ED622DCEC90B}"/>
                </a:ext>
              </a:extLst>
            </p:cNvPr>
            <p:cNvGrpSpPr/>
            <p:nvPr userDrawn="1"/>
          </p:nvGrpSpPr>
          <p:grpSpPr>
            <a:xfrm>
              <a:off x="9541497" y="8247273"/>
              <a:ext cx="2735151" cy="1411315"/>
              <a:chOff x="9296567" y="4910411"/>
              <a:chExt cx="2735151" cy="1411315"/>
            </a:xfrm>
          </p:grpSpPr>
          <p:sp>
            <p:nvSpPr>
              <p:cNvPr id="148" name="Rectangle 147">
                <a:extLst>
                  <a:ext uri="{FF2B5EF4-FFF2-40B4-BE49-F238E27FC236}">
                    <a16:creationId xmlns:a16="http://schemas.microsoft.com/office/drawing/2014/main" id="{3EE33C6F-C414-704B-930C-49B6415FB0D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9" name="TextBox 148">
                <a:extLst>
                  <a:ext uri="{FF2B5EF4-FFF2-40B4-BE49-F238E27FC236}">
                    <a16:creationId xmlns:a16="http://schemas.microsoft.com/office/drawing/2014/main" id="{C7770F39-017B-9A4E-B2C7-C48397F86E0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50" name="Graphic 149">
                <a:extLst>
                  <a:ext uri="{FF2B5EF4-FFF2-40B4-BE49-F238E27FC236}">
                    <a16:creationId xmlns:a16="http://schemas.microsoft.com/office/drawing/2014/main" id="{2B06D124-E28F-144C-A1A8-A9F9DCEDD39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51" name="TextBox 150">
                <a:extLst>
                  <a:ext uri="{FF2B5EF4-FFF2-40B4-BE49-F238E27FC236}">
                    <a16:creationId xmlns:a16="http://schemas.microsoft.com/office/drawing/2014/main" id="{217354F4-3327-F641-8A6E-7CF3A11F0418}"/>
                  </a:ext>
                </a:extLst>
              </p:cNvPr>
              <p:cNvSpPr txBox="1"/>
              <p:nvPr userDrawn="1"/>
            </p:nvSpPr>
            <p:spPr>
              <a:xfrm>
                <a:off x="9471805" y="5619194"/>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52" name="TextBox 151">
                <a:extLst>
                  <a:ext uri="{FF2B5EF4-FFF2-40B4-BE49-F238E27FC236}">
                    <a16:creationId xmlns:a16="http://schemas.microsoft.com/office/drawing/2014/main" id="{C21E8267-10D6-A74C-9247-CF15A2756B5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53" name="TextBox 152">
                <a:extLst>
                  <a:ext uri="{FF2B5EF4-FFF2-40B4-BE49-F238E27FC236}">
                    <a16:creationId xmlns:a16="http://schemas.microsoft.com/office/drawing/2014/main" id="{33236540-7695-CC4F-8B5C-2A70FAD9ED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20" name="Group 119">
              <a:extLst>
                <a:ext uri="{FF2B5EF4-FFF2-40B4-BE49-F238E27FC236}">
                  <a16:creationId xmlns:a16="http://schemas.microsoft.com/office/drawing/2014/main" id="{1CC75D71-084C-2841-A6C3-E4B52088D324}"/>
                </a:ext>
              </a:extLst>
            </p:cNvPr>
            <p:cNvGrpSpPr/>
            <p:nvPr userDrawn="1"/>
          </p:nvGrpSpPr>
          <p:grpSpPr>
            <a:xfrm>
              <a:off x="9541497" y="6890617"/>
              <a:ext cx="2735151" cy="1280928"/>
              <a:chOff x="9286315" y="6976989"/>
              <a:chExt cx="2735151" cy="1280928"/>
            </a:xfrm>
          </p:grpSpPr>
          <p:sp>
            <p:nvSpPr>
              <p:cNvPr id="138" name="Rectangle 137">
                <a:extLst>
                  <a:ext uri="{FF2B5EF4-FFF2-40B4-BE49-F238E27FC236}">
                    <a16:creationId xmlns:a16="http://schemas.microsoft.com/office/drawing/2014/main" id="{80A4814C-F3C9-8E4D-A7A3-91D0BBB9B2D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4" name="TextBox 143">
                <a:extLst>
                  <a:ext uri="{FF2B5EF4-FFF2-40B4-BE49-F238E27FC236}">
                    <a16:creationId xmlns:a16="http://schemas.microsoft.com/office/drawing/2014/main" id="{9E22E78A-6530-6E49-B5B6-FE675F4954F7}"/>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45" name="Graphic 144">
                <a:extLst>
                  <a:ext uri="{FF2B5EF4-FFF2-40B4-BE49-F238E27FC236}">
                    <a16:creationId xmlns:a16="http://schemas.microsoft.com/office/drawing/2014/main" id="{DABEDA03-6252-DA49-BF04-D4C0068F703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46" name="TextBox 145">
                <a:extLst>
                  <a:ext uri="{FF2B5EF4-FFF2-40B4-BE49-F238E27FC236}">
                    <a16:creationId xmlns:a16="http://schemas.microsoft.com/office/drawing/2014/main" id="{8636DC60-0BA4-B64F-91F4-B8555CA43CB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47" name="Picture 146">
                <a:extLst>
                  <a:ext uri="{FF2B5EF4-FFF2-40B4-BE49-F238E27FC236}">
                    <a16:creationId xmlns:a16="http://schemas.microsoft.com/office/drawing/2014/main" id="{9C06CF34-F5E9-FF43-92FC-A8A12A5E751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1" name="Group 120">
              <a:extLst>
                <a:ext uri="{FF2B5EF4-FFF2-40B4-BE49-F238E27FC236}">
                  <a16:creationId xmlns:a16="http://schemas.microsoft.com/office/drawing/2014/main" id="{38052344-BDD9-5C4C-BCF9-CDD928F9ABEF}"/>
                </a:ext>
              </a:extLst>
            </p:cNvPr>
            <p:cNvGrpSpPr/>
            <p:nvPr userDrawn="1"/>
          </p:nvGrpSpPr>
          <p:grpSpPr>
            <a:xfrm>
              <a:off x="9521833" y="3969883"/>
              <a:ext cx="2617883" cy="651460"/>
              <a:chOff x="12352022" y="513115"/>
              <a:chExt cx="2617883" cy="651460"/>
            </a:xfrm>
          </p:grpSpPr>
          <p:sp>
            <p:nvSpPr>
              <p:cNvPr id="135" name="TextBox 134">
                <a:extLst>
                  <a:ext uri="{FF2B5EF4-FFF2-40B4-BE49-F238E27FC236}">
                    <a16:creationId xmlns:a16="http://schemas.microsoft.com/office/drawing/2014/main" id="{EA326582-6206-9448-AC3D-D3956871747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6" name="TextBox 135">
                <a:extLst>
                  <a:ext uri="{FF2B5EF4-FFF2-40B4-BE49-F238E27FC236}">
                    <a16:creationId xmlns:a16="http://schemas.microsoft.com/office/drawing/2014/main" id="{4064E1A2-6908-7D4E-AED8-AABD4AFAA4D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37" name="TextBox 136">
                <a:extLst>
                  <a:ext uri="{FF2B5EF4-FFF2-40B4-BE49-F238E27FC236}">
                    <a16:creationId xmlns:a16="http://schemas.microsoft.com/office/drawing/2014/main" id="{26F5F72F-54E6-6444-AD2C-1C7049E062D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122" name="TextBox 121">
              <a:extLst>
                <a:ext uri="{FF2B5EF4-FFF2-40B4-BE49-F238E27FC236}">
                  <a16:creationId xmlns:a16="http://schemas.microsoft.com/office/drawing/2014/main" id="{6ADF7B1D-21B9-4A43-9883-156AF8A7FE24}"/>
                </a:ext>
              </a:extLst>
            </p:cNvPr>
            <p:cNvSpPr txBox="1"/>
            <p:nvPr userDrawn="1"/>
          </p:nvSpPr>
          <p:spPr>
            <a:xfrm>
              <a:off x="9674267" y="4988995"/>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23" name="TextBox 122">
              <a:extLst>
                <a:ext uri="{FF2B5EF4-FFF2-40B4-BE49-F238E27FC236}">
                  <a16:creationId xmlns:a16="http://schemas.microsoft.com/office/drawing/2014/main" id="{FD008BFE-F284-7448-B84A-6DC42232D3A9}"/>
                </a:ext>
              </a:extLst>
            </p:cNvPr>
            <p:cNvSpPr txBox="1"/>
            <p:nvPr userDrawn="1"/>
          </p:nvSpPr>
          <p:spPr>
            <a:xfrm>
              <a:off x="9686426" y="540425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24" name="TextBox 123">
              <a:extLst>
                <a:ext uri="{FF2B5EF4-FFF2-40B4-BE49-F238E27FC236}">
                  <a16:creationId xmlns:a16="http://schemas.microsoft.com/office/drawing/2014/main" id="{3BA44DCB-A3AF-9546-85AA-0C8080A538B5}"/>
                </a:ext>
              </a:extLst>
            </p:cNvPr>
            <p:cNvSpPr txBox="1"/>
            <p:nvPr userDrawn="1"/>
          </p:nvSpPr>
          <p:spPr>
            <a:xfrm>
              <a:off x="9686426" y="612434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25" name="TextBox 124">
              <a:extLst>
                <a:ext uri="{FF2B5EF4-FFF2-40B4-BE49-F238E27FC236}">
                  <a16:creationId xmlns:a16="http://schemas.microsoft.com/office/drawing/2014/main" id="{495F74B5-1BAA-CF4B-B826-677D9A1B2C48}"/>
                </a:ext>
              </a:extLst>
            </p:cNvPr>
            <p:cNvSpPr txBox="1"/>
            <p:nvPr userDrawn="1"/>
          </p:nvSpPr>
          <p:spPr>
            <a:xfrm>
              <a:off x="9674267" y="6554905"/>
              <a:ext cx="2374733"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33" name="TextBox 132">
              <a:extLst>
                <a:ext uri="{FF2B5EF4-FFF2-40B4-BE49-F238E27FC236}">
                  <a16:creationId xmlns:a16="http://schemas.microsoft.com/office/drawing/2014/main" id="{3F7CB717-E705-2840-9197-C78C7B64E71A}"/>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134" name="Straight Connector 133">
              <a:extLst>
                <a:ext uri="{FF2B5EF4-FFF2-40B4-BE49-F238E27FC236}">
                  <a16:creationId xmlns:a16="http://schemas.microsoft.com/office/drawing/2014/main" id="{C57B530B-447D-4A4B-9F77-9EBFE3288785}"/>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62FAFE70-D4B2-8F4F-9523-F66BEB76844C}"/>
                </a:ext>
              </a:extLst>
            </p:cNvPr>
            <p:cNvGrpSpPr/>
            <p:nvPr userDrawn="1"/>
          </p:nvGrpSpPr>
          <p:grpSpPr>
            <a:xfrm>
              <a:off x="9541497" y="2222532"/>
              <a:ext cx="2735151" cy="1326215"/>
              <a:chOff x="9286315" y="6976988"/>
              <a:chExt cx="2735151" cy="1326215"/>
            </a:xfrm>
          </p:grpSpPr>
          <p:sp>
            <p:nvSpPr>
              <p:cNvPr id="129" name="Rectangle 128">
                <a:extLst>
                  <a:ext uri="{FF2B5EF4-FFF2-40B4-BE49-F238E27FC236}">
                    <a16:creationId xmlns:a16="http://schemas.microsoft.com/office/drawing/2014/main" id="{E47B8ADC-2456-1243-95C8-E860AAB723D4}"/>
                  </a:ext>
                </a:extLst>
              </p:cNvPr>
              <p:cNvSpPr/>
              <p:nvPr userDrawn="1"/>
            </p:nvSpPr>
            <p:spPr>
              <a:xfrm>
                <a:off x="9286315" y="6976988"/>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0" name="TextBox 129">
                <a:extLst>
                  <a:ext uri="{FF2B5EF4-FFF2-40B4-BE49-F238E27FC236}">
                    <a16:creationId xmlns:a16="http://schemas.microsoft.com/office/drawing/2014/main" id="{EDAA5B06-10D3-584A-BD73-861E5B9ACB56}"/>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31" name="Graphic 130">
                <a:extLst>
                  <a:ext uri="{FF2B5EF4-FFF2-40B4-BE49-F238E27FC236}">
                    <a16:creationId xmlns:a16="http://schemas.microsoft.com/office/drawing/2014/main" id="{161E4833-BB86-994F-833D-93E67F55990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2" name="TextBox 131">
                <a:extLst>
                  <a:ext uri="{FF2B5EF4-FFF2-40B4-BE49-F238E27FC236}">
                    <a16:creationId xmlns:a16="http://schemas.microsoft.com/office/drawing/2014/main" id="{8DAA1AE3-7284-B649-9EEF-97FFE151F8C8}"/>
                  </a:ext>
                </a:extLst>
              </p:cNvPr>
              <p:cNvSpPr txBox="1"/>
              <p:nvPr userDrawn="1"/>
            </p:nvSpPr>
            <p:spPr>
              <a:xfrm>
                <a:off x="9446538" y="7369972"/>
                <a:ext cx="2214055" cy="53707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sp>
        <p:nvSpPr>
          <p:cNvPr id="500" name="Caption">
            <a:extLst>
              <a:ext uri="{FF2B5EF4-FFF2-40B4-BE49-F238E27FC236}">
                <a16:creationId xmlns:a16="http://schemas.microsoft.com/office/drawing/2014/main" id="{659A1A30-0D40-E04A-93E5-5EBF0216ED61}"/>
              </a:ext>
            </a:extLst>
          </p:cNvPr>
          <p:cNvSpPr>
            <a:spLocks noGrp="1"/>
          </p:cNvSpPr>
          <p:nvPr>
            <p:ph type="body" sz="quarter" idx="500" hasCustomPrompt="1"/>
          </p:nvPr>
        </p:nvSpPr>
        <p:spPr>
          <a:xfrm>
            <a:off x="7947046" y="6200776"/>
            <a:ext cx="3657167" cy="152349"/>
          </a:xfrm>
          <a:effectLst/>
        </p:spPr>
        <p:txBody>
          <a:bodyPr wrap="square" anchor="b">
            <a:spAutoFit/>
          </a:bodyPr>
          <a:lstStyle>
            <a:lvl1pPr marL="0" indent="0" algn="r">
              <a:spcBef>
                <a:spcPts val="0"/>
              </a:spcBef>
              <a:spcAft>
                <a:spcPts val="0"/>
              </a:spcAft>
              <a:buFontTx/>
              <a:buNone/>
              <a:tabLst/>
              <a:defRPr sz="1100" b="0">
                <a:solidFill>
                  <a:schemeClr val="tx1"/>
                </a:solidFill>
                <a:effectLst/>
              </a:defRPr>
            </a:lvl1pPr>
            <a:lvl2pPr marL="0" indent="0" algn="r">
              <a:spcBef>
                <a:spcPts val="0"/>
              </a:spcBef>
              <a:spcAft>
                <a:spcPts val="0"/>
              </a:spcAft>
              <a:buFontTx/>
              <a:buNone/>
              <a:tabLst/>
              <a:defRPr sz="1100">
                <a:solidFill>
                  <a:schemeClr val="tx1"/>
                </a:solidFill>
              </a:defRPr>
            </a:lvl2pPr>
            <a:lvl3pPr marL="0" indent="0" algn="r">
              <a:spcBef>
                <a:spcPts val="0"/>
              </a:spcBef>
              <a:spcAft>
                <a:spcPts val="0"/>
              </a:spcAft>
              <a:buFontTx/>
              <a:buNone/>
              <a:tabLst/>
              <a:defRPr sz="1100">
                <a:solidFill>
                  <a:schemeClr val="tx1"/>
                </a:solidFill>
              </a:defRPr>
            </a:lvl3pPr>
            <a:lvl4pPr marL="0" indent="0" algn="r">
              <a:spcBef>
                <a:spcPts val="0"/>
              </a:spcBef>
              <a:spcAft>
                <a:spcPts val="0"/>
              </a:spcAft>
              <a:buFontTx/>
              <a:buNone/>
              <a:tabLst/>
              <a:defRPr sz="1100">
                <a:solidFill>
                  <a:schemeClr val="tx1"/>
                </a:solidFill>
              </a:defRPr>
            </a:lvl4pPr>
            <a:lvl5pPr marL="0" indent="0" algn="r">
              <a:spcBef>
                <a:spcPts val="0"/>
              </a:spcBef>
              <a:spcAft>
                <a:spcPts val="0"/>
              </a:spcAft>
              <a:buFontTx/>
              <a:buNone/>
              <a:tabLst/>
              <a:defRPr sz="1100">
                <a:solidFill>
                  <a:schemeClr val="tx1"/>
                </a:solidFill>
              </a:defRPr>
            </a:lvl5pPr>
            <a:lvl6pPr marL="0" indent="0" algn="r">
              <a:spcBef>
                <a:spcPts val="0"/>
              </a:spcBef>
              <a:spcAft>
                <a:spcPts val="0"/>
              </a:spcAft>
              <a:buFontTx/>
              <a:buNone/>
              <a:tabLst/>
              <a:defRPr sz="1100">
                <a:solidFill>
                  <a:schemeClr val="tx1"/>
                </a:solidFill>
              </a:defRPr>
            </a:lvl6pPr>
            <a:lvl7pPr marL="0" indent="0" algn="r">
              <a:spcBef>
                <a:spcPts val="0"/>
              </a:spcBef>
              <a:spcAft>
                <a:spcPts val="0"/>
              </a:spcAft>
              <a:buFontTx/>
              <a:buNone/>
              <a:tabLst/>
              <a:defRPr sz="1100">
                <a:solidFill>
                  <a:schemeClr val="tx1"/>
                </a:solidFill>
              </a:defRPr>
            </a:lvl7pPr>
            <a:lvl8pPr marL="0" indent="0" algn="r">
              <a:spcBef>
                <a:spcPts val="0"/>
              </a:spcBef>
              <a:spcAft>
                <a:spcPts val="0"/>
              </a:spcAft>
              <a:buFontTx/>
              <a:buNone/>
              <a:tabLst/>
              <a:defRPr sz="1100">
                <a:solidFill>
                  <a:schemeClr val="tx1"/>
                </a:solidFill>
              </a:defRPr>
            </a:lvl8pPr>
            <a:lvl9pPr marL="0" indent="0" algn="r">
              <a:spcBef>
                <a:spcPts val="0"/>
              </a:spcBef>
              <a:spcAft>
                <a:spcPts val="0"/>
              </a:spcAft>
              <a:buFontTx/>
              <a:buNone/>
              <a:tabLst/>
              <a:defRPr sz="1100">
                <a:solidFill>
                  <a:schemeClr val="tx1"/>
                </a:solidFill>
              </a:defRPr>
            </a:lvl9pPr>
          </a:lstStyle>
          <a:p>
            <a:pPr lvl="0"/>
            <a:r>
              <a:rPr lang="en-US" dirty="0"/>
              <a:t>Click to add photo caption</a:t>
            </a:r>
          </a:p>
        </p:txBody>
      </p:sp>
    </p:spTree>
    <p:extLst>
      <p:ext uri="{BB962C8B-B14F-4D97-AF65-F5344CB8AC3E}">
        <p14:creationId xmlns:p14="http://schemas.microsoft.com/office/powerpoint/2010/main" val="4234765654"/>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Ranking (Left) and Photo">
    <p:bg>
      <p:bgPr>
        <a:solidFill>
          <a:schemeClr val="bg1"/>
        </a:solidFill>
        <a:effectLst/>
      </p:bgPr>
    </p:bg>
    <p:spTree>
      <p:nvGrpSpPr>
        <p:cNvPr id="1" name=""/>
        <p:cNvGrpSpPr/>
        <p:nvPr/>
      </p:nvGrpSpPr>
      <p:grpSpPr>
        <a:xfrm>
          <a:off x="0" y="0"/>
          <a:ext cx="0" cy="0"/>
          <a:chOff x="0" y="0"/>
          <a:chExt cx="0" cy="0"/>
        </a:xfrm>
      </p:grpSpPr>
      <p:sp>
        <p:nvSpPr>
          <p:cNvPr id="70" name="Picture Placeholder 69">
            <a:extLst>
              <a:ext uri="{FF2B5EF4-FFF2-40B4-BE49-F238E27FC236}">
                <a16:creationId xmlns:a16="http://schemas.microsoft.com/office/drawing/2014/main" id="{9BA462A4-98F4-CC48-A595-7889D7136FEB}"/>
              </a:ext>
            </a:extLst>
          </p:cNvPr>
          <p:cNvSpPr>
            <a:spLocks noGrp="1"/>
          </p:cNvSpPr>
          <p:nvPr>
            <p:ph type="pic" sz="quarter" idx="13" hasCustomPrompt="1"/>
          </p:nvPr>
        </p:nvSpPr>
        <p:spPr>
          <a:xfrm>
            <a:off x="7945965" y="-1"/>
            <a:ext cx="4246035" cy="6858000"/>
          </a:xfrm>
          <a:custGeom>
            <a:avLst/>
            <a:gdLst>
              <a:gd name="connsiteX0" fmla="*/ 2422261 w 3184526"/>
              <a:gd name="connsiteY0" fmla="*/ 6576022 h 6858000"/>
              <a:gd name="connsiteX1" fmla="*/ 2439468 w 3184526"/>
              <a:gd name="connsiteY1" fmla="*/ 6577877 h 6858000"/>
              <a:gd name="connsiteX2" fmla="*/ 2448373 w 3184526"/>
              <a:gd name="connsiteY2" fmla="*/ 6584666 h 6858000"/>
              <a:gd name="connsiteX3" fmla="*/ 2454073 w 3184526"/>
              <a:gd name="connsiteY3" fmla="*/ 6594991 h 6858000"/>
              <a:gd name="connsiteX4" fmla="*/ 2456110 w 3184526"/>
              <a:gd name="connsiteY4" fmla="*/ 6608203 h 6858000"/>
              <a:gd name="connsiteX5" fmla="*/ 2454172 w 3184526"/>
              <a:gd name="connsiteY5" fmla="*/ 6621274 h 6858000"/>
              <a:gd name="connsiteX6" fmla="*/ 2448473 w 3184526"/>
              <a:gd name="connsiteY6" fmla="*/ 6631669 h 6858000"/>
              <a:gd name="connsiteX7" fmla="*/ 2416413 w 3184526"/>
              <a:gd name="connsiteY7" fmla="*/ 6638514 h 6858000"/>
              <a:gd name="connsiteX8" fmla="*/ 2407436 w 3184526"/>
              <a:gd name="connsiteY8" fmla="*/ 6631669 h 6858000"/>
              <a:gd name="connsiteX9" fmla="*/ 2401737 w 3184526"/>
              <a:gd name="connsiteY9" fmla="*/ 6621274 h 6858000"/>
              <a:gd name="connsiteX10" fmla="*/ 2399571 w 3184526"/>
              <a:gd name="connsiteY10" fmla="*/ 6608203 h 6858000"/>
              <a:gd name="connsiteX11" fmla="*/ 2401623 w 3184526"/>
              <a:gd name="connsiteY11" fmla="*/ 6594991 h 6858000"/>
              <a:gd name="connsiteX12" fmla="*/ 2407322 w 3184526"/>
              <a:gd name="connsiteY12" fmla="*/ 6584666 h 6858000"/>
              <a:gd name="connsiteX13" fmla="*/ 2422261 w 3184526"/>
              <a:gd name="connsiteY13" fmla="*/ 6576022 h 6858000"/>
              <a:gd name="connsiteX14" fmla="*/ 2566159 w 3184526"/>
              <a:gd name="connsiteY14" fmla="*/ 6553486 h 6858000"/>
              <a:gd name="connsiteX15" fmla="*/ 2566159 w 3184526"/>
              <a:gd name="connsiteY15" fmla="*/ 6599432 h 6858000"/>
              <a:gd name="connsiteX16" fmla="*/ 2566159 w 3184526"/>
              <a:gd name="connsiteY16" fmla="*/ 6662773 h 6858000"/>
              <a:gd name="connsiteX17" fmla="*/ 2636149 w 3184526"/>
              <a:gd name="connsiteY17" fmla="*/ 6662773 h 6858000"/>
              <a:gd name="connsiteX18" fmla="*/ 2636548 w 3184526"/>
              <a:gd name="connsiteY18" fmla="*/ 6662773 h 6858000"/>
              <a:gd name="connsiteX19" fmla="*/ 2636548 w 3184526"/>
              <a:gd name="connsiteY19" fmla="*/ 6645772 h 6858000"/>
              <a:gd name="connsiteX20" fmla="*/ 2636149 w 3184526"/>
              <a:gd name="connsiteY20" fmla="*/ 6645772 h 6858000"/>
              <a:gd name="connsiteX21" fmla="*/ 2636149 w 3184526"/>
              <a:gd name="connsiteY21" fmla="*/ 6639674 h 6858000"/>
              <a:gd name="connsiteX22" fmla="*/ 2591821 w 3184526"/>
              <a:gd name="connsiteY22" fmla="*/ 6639674 h 6858000"/>
              <a:gd name="connsiteX23" fmla="*/ 2591821 w 3184526"/>
              <a:gd name="connsiteY23" fmla="*/ 6618349 h 6858000"/>
              <a:gd name="connsiteX24" fmla="*/ 2632231 w 3184526"/>
              <a:gd name="connsiteY24" fmla="*/ 6618349 h 6858000"/>
              <a:gd name="connsiteX25" fmla="*/ 2632231 w 3184526"/>
              <a:gd name="connsiteY25" fmla="*/ 6596277 h 6858000"/>
              <a:gd name="connsiteX26" fmla="*/ 2591821 w 3184526"/>
              <a:gd name="connsiteY26" fmla="*/ 6596277 h 6858000"/>
              <a:gd name="connsiteX27" fmla="*/ 2591821 w 3184526"/>
              <a:gd name="connsiteY27" fmla="*/ 6576755 h 6858000"/>
              <a:gd name="connsiteX28" fmla="*/ 2636149 w 3184526"/>
              <a:gd name="connsiteY28" fmla="*/ 6576755 h 6858000"/>
              <a:gd name="connsiteX29" fmla="*/ 2636149 w 3184526"/>
              <a:gd name="connsiteY29" fmla="*/ 6570487 h 6858000"/>
              <a:gd name="connsiteX30" fmla="*/ 2636548 w 3184526"/>
              <a:gd name="connsiteY30" fmla="*/ 6570487 h 6858000"/>
              <a:gd name="connsiteX31" fmla="*/ 2636548 w 3184526"/>
              <a:gd name="connsiteY31" fmla="*/ 6553486 h 6858000"/>
              <a:gd name="connsiteX32" fmla="*/ 2636149 w 3184526"/>
              <a:gd name="connsiteY32" fmla="*/ 6553486 h 6858000"/>
              <a:gd name="connsiteX33" fmla="*/ 2587888 w 3184526"/>
              <a:gd name="connsiteY33" fmla="*/ 6553486 h 6858000"/>
              <a:gd name="connsiteX34" fmla="*/ 2488703 w 3184526"/>
              <a:gd name="connsiteY34" fmla="*/ 6553486 h 6858000"/>
              <a:gd name="connsiteX35" fmla="*/ 2488703 w 3184526"/>
              <a:gd name="connsiteY35" fmla="*/ 6599432 h 6858000"/>
              <a:gd name="connsiteX36" fmla="*/ 2488703 w 3184526"/>
              <a:gd name="connsiteY36" fmla="*/ 6662773 h 6858000"/>
              <a:gd name="connsiteX37" fmla="*/ 2558693 w 3184526"/>
              <a:gd name="connsiteY37" fmla="*/ 6662773 h 6858000"/>
              <a:gd name="connsiteX38" fmla="*/ 2559078 w 3184526"/>
              <a:gd name="connsiteY38" fmla="*/ 6662773 h 6858000"/>
              <a:gd name="connsiteX39" fmla="*/ 2559078 w 3184526"/>
              <a:gd name="connsiteY39" fmla="*/ 6645772 h 6858000"/>
              <a:gd name="connsiteX40" fmla="*/ 2558693 w 3184526"/>
              <a:gd name="connsiteY40" fmla="*/ 6645772 h 6858000"/>
              <a:gd name="connsiteX41" fmla="*/ 2558693 w 3184526"/>
              <a:gd name="connsiteY41" fmla="*/ 6639674 h 6858000"/>
              <a:gd name="connsiteX42" fmla="*/ 2514351 w 3184526"/>
              <a:gd name="connsiteY42" fmla="*/ 6639674 h 6858000"/>
              <a:gd name="connsiteX43" fmla="*/ 2514351 w 3184526"/>
              <a:gd name="connsiteY43" fmla="*/ 6618349 h 6858000"/>
              <a:gd name="connsiteX44" fmla="*/ 2554761 w 3184526"/>
              <a:gd name="connsiteY44" fmla="*/ 6618349 h 6858000"/>
              <a:gd name="connsiteX45" fmla="*/ 2554761 w 3184526"/>
              <a:gd name="connsiteY45" fmla="*/ 6596277 h 6858000"/>
              <a:gd name="connsiteX46" fmla="*/ 2514351 w 3184526"/>
              <a:gd name="connsiteY46" fmla="*/ 6596277 h 6858000"/>
              <a:gd name="connsiteX47" fmla="*/ 2514351 w 3184526"/>
              <a:gd name="connsiteY47" fmla="*/ 6576755 h 6858000"/>
              <a:gd name="connsiteX48" fmla="*/ 2558693 w 3184526"/>
              <a:gd name="connsiteY48" fmla="*/ 6576755 h 6858000"/>
              <a:gd name="connsiteX49" fmla="*/ 2558693 w 3184526"/>
              <a:gd name="connsiteY49" fmla="*/ 6570487 h 6858000"/>
              <a:gd name="connsiteX50" fmla="*/ 2559078 w 3184526"/>
              <a:gd name="connsiteY50" fmla="*/ 6570487 h 6858000"/>
              <a:gd name="connsiteX51" fmla="*/ 2559078 w 3184526"/>
              <a:gd name="connsiteY51" fmla="*/ 6553486 h 6858000"/>
              <a:gd name="connsiteX52" fmla="*/ 2558693 w 3184526"/>
              <a:gd name="connsiteY52" fmla="*/ 6553486 h 6858000"/>
              <a:gd name="connsiteX53" fmla="*/ 2510418 w 3184526"/>
              <a:gd name="connsiteY53" fmla="*/ 6553486 h 6858000"/>
              <a:gd name="connsiteX54" fmla="*/ 2428439 w 3184526"/>
              <a:gd name="connsiteY54" fmla="*/ 6553453 h 6858000"/>
              <a:gd name="connsiteX55" fmla="*/ 2405812 w 3184526"/>
              <a:gd name="connsiteY55" fmla="*/ 6557679 h 6858000"/>
              <a:gd name="connsiteX56" fmla="*/ 2397676 w 3184526"/>
              <a:gd name="connsiteY56" fmla="*/ 6561806 h 6858000"/>
              <a:gd name="connsiteX57" fmla="*/ 2373310 w 3184526"/>
              <a:gd name="connsiteY57" fmla="*/ 6613372 h 6858000"/>
              <a:gd name="connsiteX58" fmla="*/ 2376915 w 3184526"/>
              <a:gd name="connsiteY58" fmla="*/ 6629852 h 6858000"/>
              <a:gd name="connsiteX59" fmla="*/ 2404957 w 3184526"/>
              <a:gd name="connsiteY59" fmla="*/ 6658585 h 6858000"/>
              <a:gd name="connsiteX60" fmla="*/ 2427442 w 3184526"/>
              <a:gd name="connsiteY60" fmla="*/ 6662811 h 6858000"/>
              <a:gd name="connsiteX61" fmla="*/ 2450012 w 3184526"/>
              <a:gd name="connsiteY61" fmla="*/ 6658585 h 6858000"/>
              <a:gd name="connsiteX62" fmla="*/ 2467452 w 3184526"/>
              <a:gd name="connsiteY62" fmla="*/ 6647106 h 6858000"/>
              <a:gd name="connsiteX63" fmla="*/ 2478766 w 3184526"/>
              <a:gd name="connsiteY63" fmla="*/ 6629852 h 6858000"/>
              <a:gd name="connsiteX64" fmla="*/ 2482784 w 3184526"/>
              <a:gd name="connsiteY64" fmla="*/ 6608203 h 6858000"/>
              <a:gd name="connsiteX65" fmla="*/ 2478923 w 3184526"/>
              <a:gd name="connsiteY65" fmla="*/ 6586469 h 6858000"/>
              <a:gd name="connsiteX66" fmla="*/ 2467965 w 3184526"/>
              <a:gd name="connsiteY66" fmla="*/ 6569158 h 6858000"/>
              <a:gd name="connsiteX67" fmla="*/ 2450867 w 3184526"/>
              <a:gd name="connsiteY67" fmla="*/ 6557679 h 6858000"/>
              <a:gd name="connsiteX68" fmla="*/ 2428439 w 3184526"/>
              <a:gd name="connsiteY68" fmla="*/ 6553453 h 6858000"/>
              <a:gd name="connsiteX69" fmla="*/ 2285729 w 3184526"/>
              <a:gd name="connsiteY69" fmla="*/ 6553106 h 6858000"/>
              <a:gd name="connsiteX70" fmla="*/ 2302072 w 3184526"/>
              <a:gd name="connsiteY70" fmla="*/ 6587178 h 6858000"/>
              <a:gd name="connsiteX71" fmla="*/ 2329031 w 3184526"/>
              <a:gd name="connsiteY71" fmla="*/ 6587178 h 6858000"/>
              <a:gd name="connsiteX72" fmla="*/ 2314682 w 3184526"/>
              <a:gd name="connsiteY72" fmla="*/ 6553106 h 6858000"/>
              <a:gd name="connsiteX73" fmla="*/ 2365579 w 3184526"/>
              <a:gd name="connsiteY73" fmla="*/ 6553092 h 6858000"/>
              <a:gd name="connsiteX74" fmla="*/ 2339889 w 3184526"/>
              <a:gd name="connsiteY74" fmla="*/ 6612222 h 6858000"/>
              <a:gd name="connsiteX75" fmla="*/ 2332921 w 3184526"/>
              <a:gd name="connsiteY75" fmla="*/ 6595883 h 6858000"/>
              <a:gd name="connsiteX76" fmla="*/ 2306176 w 3184526"/>
              <a:gd name="connsiteY76" fmla="*/ 6595883 h 6858000"/>
              <a:gd name="connsiteX77" fmla="*/ 2338108 w 3184526"/>
              <a:gd name="connsiteY77" fmla="*/ 6662548 h 6858000"/>
              <a:gd name="connsiteX78" fmla="*/ 2341071 w 3184526"/>
              <a:gd name="connsiteY78" fmla="*/ 6662548 h 6858000"/>
              <a:gd name="connsiteX79" fmla="*/ 2392809 w 3184526"/>
              <a:gd name="connsiteY79" fmla="*/ 6553092 h 6858000"/>
              <a:gd name="connsiteX80" fmla="*/ 2744808 w 3184526"/>
              <a:gd name="connsiteY80" fmla="*/ 6515554 h 6858000"/>
              <a:gd name="connsiteX81" fmla="*/ 2744808 w 3184526"/>
              <a:gd name="connsiteY81" fmla="*/ 6690482 h 6858000"/>
              <a:gd name="connsiteX82" fmla="*/ 2764197 w 3184526"/>
              <a:gd name="connsiteY82" fmla="*/ 6690482 h 6858000"/>
              <a:gd name="connsiteX83" fmla="*/ 2764197 w 3184526"/>
              <a:gd name="connsiteY83" fmla="*/ 6515554 h 6858000"/>
              <a:gd name="connsiteX84" fmla="*/ 0 w 3184526"/>
              <a:gd name="connsiteY84" fmla="*/ 0 h 6858000"/>
              <a:gd name="connsiteX85" fmla="*/ 3184526 w 3184526"/>
              <a:gd name="connsiteY85" fmla="*/ 0 h 6858000"/>
              <a:gd name="connsiteX86" fmla="*/ 3184526 w 3184526"/>
              <a:gd name="connsiteY86" fmla="*/ 6200776 h 6858000"/>
              <a:gd name="connsiteX87" fmla="*/ 3184526 w 3184526"/>
              <a:gd name="connsiteY87" fmla="*/ 6397151 h 6858000"/>
              <a:gd name="connsiteX88" fmla="*/ 3184526 w 3184526"/>
              <a:gd name="connsiteY88" fmla="*/ 6434962 h 6858000"/>
              <a:gd name="connsiteX89" fmla="*/ 3184526 w 3184526"/>
              <a:gd name="connsiteY89" fmla="*/ 6488089 h 6858000"/>
              <a:gd name="connsiteX90" fmla="*/ 3184526 w 3184526"/>
              <a:gd name="connsiteY90" fmla="*/ 6858000 h 6858000"/>
              <a:gd name="connsiteX91" fmla="*/ 3036055 w 3184526"/>
              <a:gd name="connsiteY91" fmla="*/ 6858000 h 6858000"/>
              <a:gd name="connsiteX92" fmla="*/ 1965244 w 3184526"/>
              <a:gd name="connsiteY92" fmla="*/ 6858000 h 6858000"/>
              <a:gd name="connsiteX93" fmla="*/ 5158 w 3184526"/>
              <a:gd name="connsiteY93" fmla="*/ 6858000 h 6858000"/>
              <a:gd name="connsiteX94" fmla="*/ 5158 w 3184526"/>
              <a:gd name="connsiteY94" fmla="*/ 6488089 h 6858000"/>
              <a:gd name="connsiteX95" fmla="*/ 0 w 3184526"/>
              <a:gd name="connsiteY95" fmla="*/ 648808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3184526" h="6858000">
                <a:moveTo>
                  <a:pt x="2422261" y="6576022"/>
                </a:moveTo>
                <a:cubicBezTo>
                  <a:pt x="2427911" y="6574829"/>
                  <a:pt x="2433939" y="6575385"/>
                  <a:pt x="2439468" y="6577877"/>
                </a:cubicBezTo>
                <a:cubicBezTo>
                  <a:pt x="2442887" y="6579495"/>
                  <a:pt x="2445922" y="6581808"/>
                  <a:pt x="2448373" y="6584666"/>
                </a:cubicBezTo>
                <a:cubicBezTo>
                  <a:pt x="2450913" y="6587723"/>
                  <a:pt x="2452846" y="6591226"/>
                  <a:pt x="2454073" y="6594991"/>
                </a:cubicBezTo>
                <a:cubicBezTo>
                  <a:pt x="2455478" y="6599255"/>
                  <a:pt x="2456166" y="6603718"/>
                  <a:pt x="2456110" y="6608203"/>
                </a:cubicBezTo>
                <a:cubicBezTo>
                  <a:pt x="2456191" y="6612635"/>
                  <a:pt x="2455537" y="6617051"/>
                  <a:pt x="2454172" y="6621274"/>
                </a:cubicBezTo>
                <a:cubicBezTo>
                  <a:pt x="2452937" y="6625056"/>
                  <a:pt x="2451004" y="6628580"/>
                  <a:pt x="2448473" y="6631669"/>
                </a:cubicBezTo>
                <a:cubicBezTo>
                  <a:pt x="2440498" y="6640715"/>
                  <a:pt x="2427454" y="6643500"/>
                  <a:pt x="2416413" y="6638514"/>
                </a:cubicBezTo>
                <a:cubicBezTo>
                  <a:pt x="2412949" y="6636911"/>
                  <a:pt x="2409884" y="6634574"/>
                  <a:pt x="2407436" y="6631669"/>
                </a:cubicBezTo>
                <a:cubicBezTo>
                  <a:pt x="2404905" y="6628580"/>
                  <a:pt x="2402972" y="6625056"/>
                  <a:pt x="2401737" y="6621274"/>
                </a:cubicBezTo>
                <a:cubicBezTo>
                  <a:pt x="2400295" y="6617063"/>
                  <a:pt x="2399564" y="6612647"/>
                  <a:pt x="2399571" y="6608203"/>
                </a:cubicBezTo>
                <a:cubicBezTo>
                  <a:pt x="2399519" y="6603717"/>
                  <a:pt x="2400212" y="6599254"/>
                  <a:pt x="2401623" y="6594991"/>
                </a:cubicBezTo>
                <a:cubicBezTo>
                  <a:pt x="2402849" y="6591226"/>
                  <a:pt x="2404783" y="6587723"/>
                  <a:pt x="2407322" y="6584666"/>
                </a:cubicBezTo>
                <a:cubicBezTo>
                  <a:pt x="2411339" y="6580158"/>
                  <a:pt x="2416611" y="6577215"/>
                  <a:pt x="2422261" y="6576022"/>
                </a:cubicBezTo>
                <a:close/>
                <a:moveTo>
                  <a:pt x="2566159" y="6553486"/>
                </a:moveTo>
                <a:lnTo>
                  <a:pt x="2566159" y="6599432"/>
                </a:lnTo>
                <a:lnTo>
                  <a:pt x="2566159" y="6662773"/>
                </a:lnTo>
                <a:lnTo>
                  <a:pt x="2636149" y="6662773"/>
                </a:lnTo>
                <a:lnTo>
                  <a:pt x="2636548" y="6662773"/>
                </a:lnTo>
                <a:lnTo>
                  <a:pt x="2636548" y="6645772"/>
                </a:lnTo>
                <a:lnTo>
                  <a:pt x="2636149" y="6645772"/>
                </a:lnTo>
                <a:lnTo>
                  <a:pt x="2636149" y="6639674"/>
                </a:lnTo>
                <a:lnTo>
                  <a:pt x="2591821" y="6639674"/>
                </a:lnTo>
                <a:lnTo>
                  <a:pt x="2591821" y="6618349"/>
                </a:lnTo>
                <a:lnTo>
                  <a:pt x="2632231" y="6618349"/>
                </a:lnTo>
                <a:lnTo>
                  <a:pt x="2632231" y="6596277"/>
                </a:lnTo>
                <a:lnTo>
                  <a:pt x="2591821" y="6596277"/>
                </a:lnTo>
                <a:lnTo>
                  <a:pt x="2591821" y="6576755"/>
                </a:lnTo>
                <a:lnTo>
                  <a:pt x="2636149" y="6576755"/>
                </a:lnTo>
                <a:lnTo>
                  <a:pt x="2636149" y="6570487"/>
                </a:lnTo>
                <a:lnTo>
                  <a:pt x="2636548" y="6570487"/>
                </a:lnTo>
                <a:lnTo>
                  <a:pt x="2636548" y="6553486"/>
                </a:lnTo>
                <a:lnTo>
                  <a:pt x="2636149" y="6553486"/>
                </a:lnTo>
                <a:lnTo>
                  <a:pt x="2587888" y="6553486"/>
                </a:lnTo>
                <a:close/>
                <a:moveTo>
                  <a:pt x="2488703" y="6553486"/>
                </a:moveTo>
                <a:lnTo>
                  <a:pt x="2488703" y="6599432"/>
                </a:lnTo>
                <a:lnTo>
                  <a:pt x="2488703" y="6662773"/>
                </a:lnTo>
                <a:lnTo>
                  <a:pt x="2558693" y="6662773"/>
                </a:lnTo>
                <a:lnTo>
                  <a:pt x="2559078" y="6662773"/>
                </a:lnTo>
                <a:lnTo>
                  <a:pt x="2559078" y="6645772"/>
                </a:lnTo>
                <a:lnTo>
                  <a:pt x="2558693" y="6645772"/>
                </a:lnTo>
                <a:lnTo>
                  <a:pt x="2558693" y="6639674"/>
                </a:lnTo>
                <a:lnTo>
                  <a:pt x="2514351" y="6639674"/>
                </a:lnTo>
                <a:lnTo>
                  <a:pt x="2514351" y="6618349"/>
                </a:lnTo>
                <a:lnTo>
                  <a:pt x="2554761" y="6618349"/>
                </a:lnTo>
                <a:lnTo>
                  <a:pt x="2554761" y="6596277"/>
                </a:lnTo>
                <a:lnTo>
                  <a:pt x="2514351" y="6596277"/>
                </a:lnTo>
                <a:lnTo>
                  <a:pt x="2514351" y="6576755"/>
                </a:lnTo>
                <a:lnTo>
                  <a:pt x="2558693" y="6576755"/>
                </a:lnTo>
                <a:lnTo>
                  <a:pt x="2558693" y="6570487"/>
                </a:lnTo>
                <a:lnTo>
                  <a:pt x="2559078" y="6570487"/>
                </a:lnTo>
                <a:lnTo>
                  <a:pt x="2559078" y="6553486"/>
                </a:lnTo>
                <a:lnTo>
                  <a:pt x="2558693" y="6553486"/>
                </a:lnTo>
                <a:lnTo>
                  <a:pt x="2510418" y="6553486"/>
                </a:lnTo>
                <a:close/>
                <a:moveTo>
                  <a:pt x="2428439" y="6553453"/>
                </a:moveTo>
                <a:cubicBezTo>
                  <a:pt x="2420688" y="6553369"/>
                  <a:pt x="2412997" y="6554805"/>
                  <a:pt x="2405812" y="6557679"/>
                </a:cubicBezTo>
                <a:cubicBezTo>
                  <a:pt x="2402989" y="6558830"/>
                  <a:pt x="2400268" y="6560211"/>
                  <a:pt x="2397676" y="6561806"/>
                </a:cubicBezTo>
                <a:lnTo>
                  <a:pt x="2373310" y="6613372"/>
                </a:lnTo>
                <a:cubicBezTo>
                  <a:pt x="2373704" y="6619008"/>
                  <a:pt x="2374918" y="6624558"/>
                  <a:pt x="2376915" y="6629852"/>
                </a:cubicBezTo>
                <a:cubicBezTo>
                  <a:pt x="2381719" y="6642926"/>
                  <a:pt x="2391911" y="6653370"/>
                  <a:pt x="2404957" y="6658585"/>
                </a:cubicBezTo>
                <a:cubicBezTo>
                  <a:pt x="2412090" y="6661469"/>
                  <a:pt x="2419736" y="6662906"/>
                  <a:pt x="2427442" y="6662811"/>
                </a:cubicBezTo>
                <a:cubicBezTo>
                  <a:pt x="2435174" y="6662898"/>
                  <a:pt x="2442847" y="6661462"/>
                  <a:pt x="2450012" y="6658585"/>
                </a:cubicBezTo>
                <a:cubicBezTo>
                  <a:pt x="2456539" y="6655943"/>
                  <a:pt x="2462469" y="6652041"/>
                  <a:pt x="2467452" y="6647106"/>
                </a:cubicBezTo>
                <a:cubicBezTo>
                  <a:pt x="2472376" y="6642179"/>
                  <a:pt x="2476226" y="6636306"/>
                  <a:pt x="2478766" y="6629852"/>
                </a:cubicBezTo>
                <a:cubicBezTo>
                  <a:pt x="2481500" y="6622958"/>
                  <a:pt x="2482864" y="6615607"/>
                  <a:pt x="2482784" y="6608203"/>
                </a:cubicBezTo>
                <a:cubicBezTo>
                  <a:pt x="2482854" y="6600785"/>
                  <a:pt x="2481545" y="6593419"/>
                  <a:pt x="2478923" y="6586469"/>
                </a:cubicBezTo>
                <a:cubicBezTo>
                  <a:pt x="2476493" y="6580025"/>
                  <a:pt x="2472765" y="6574136"/>
                  <a:pt x="2467965" y="6569158"/>
                </a:cubicBezTo>
                <a:cubicBezTo>
                  <a:pt x="2463123" y="6564212"/>
                  <a:pt x="2457303" y="6560305"/>
                  <a:pt x="2450867" y="6557679"/>
                </a:cubicBezTo>
                <a:cubicBezTo>
                  <a:pt x="2443756" y="6554789"/>
                  <a:pt x="2436127" y="6553352"/>
                  <a:pt x="2428439" y="6553453"/>
                </a:cubicBezTo>
                <a:close/>
                <a:moveTo>
                  <a:pt x="2285729" y="6553106"/>
                </a:moveTo>
                <a:lnTo>
                  <a:pt x="2302072" y="6587178"/>
                </a:lnTo>
                <a:lnTo>
                  <a:pt x="2329031" y="6587178"/>
                </a:lnTo>
                <a:lnTo>
                  <a:pt x="2314682" y="6553106"/>
                </a:lnTo>
                <a:close/>
                <a:moveTo>
                  <a:pt x="2365579" y="6553092"/>
                </a:moveTo>
                <a:lnTo>
                  <a:pt x="2339889" y="6612222"/>
                </a:lnTo>
                <a:lnTo>
                  <a:pt x="2332921" y="6595883"/>
                </a:lnTo>
                <a:lnTo>
                  <a:pt x="2306176" y="6595883"/>
                </a:lnTo>
                <a:lnTo>
                  <a:pt x="2338108" y="6662548"/>
                </a:lnTo>
                <a:lnTo>
                  <a:pt x="2341071" y="6662548"/>
                </a:lnTo>
                <a:lnTo>
                  <a:pt x="2392809" y="6553092"/>
                </a:lnTo>
                <a:close/>
                <a:moveTo>
                  <a:pt x="2744808" y="6515554"/>
                </a:moveTo>
                <a:lnTo>
                  <a:pt x="2744808" y="6690482"/>
                </a:lnTo>
                <a:lnTo>
                  <a:pt x="2764197" y="6690482"/>
                </a:lnTo>
                <a:lnTo>
                  <a:pt x="2764197" y="6515554"/>
                </a:lnTo>
                <a:close/>
                <a:moveTo>
                  <a:pt x="0" y="0"/>
                </a:moveTo>
                <a:lnTo>
                  <a:pt x="3184526" y="0"/>
                </a:lnTo>
                <a:lnTo>
                  <a:pt x="3184526" y="6200776"/>
                </a:lnTo>
                <a:lnTo>
                  <a:pt x="3184526" y="6397151"/>
                </a:lnTo>
                <a:lnTo>
                  <a:pt x="3184526" y="6434962"/>
                </a:lnTo>
                <a:lnTo>
                  <a:pt x="3184526" y="6488089"/>
                </a:lnTo>
                <a:lnTo>
                  <a:pt x="3184526" y="6858000"/>
                </a:lnTo>
                <a:lnTo>
                  <a:pt x="3036055" y="6858000"/>
                </a:lnTo>
                <a:lnTo>
                  <a:pt x="1965244" y="6858000"/>
                </a:lnTo>
                <a:lnTo>
                  <a:pt x="5158" y="6858000"/>
                </a:lnTo>
                <a:lnTo>
                  <a:pt x="5158" y="6488089"/>
                </a:lnTo>
                <a:lnTo>
                  <a:pt x="0" y="6488089"/>
                </a:lnTo>
                <a:close/>
              </a:path>
            </a:pathLst>
          </a:custGeom>
          <a:solidFill>
            <a:schemeClr val="accent2"/>
          </a:solidFill>
          <a:ln>
            <a:noFill/>
          </a:ln>
        </p:spPr>
        <p:txBody>
          <a:bodyPr wrap="square" lIns="432000" rIns="432000" anchor="ctr">
            <a:noAutofit/>
          </a:bodyPr>
          <a:lstStyle>
            <a:lvl1pPr marL="0" indent="0" algn="ctr">
              <a:spcBef>
                <a:spcPts val="0"/>
              </a:spcBef>
              <a:spcAft>
                <a:spcPts val="0"/>
              </a:spcAft>
              <a:buNone/>
              <a:defRPr b="0">
                <a:solidFill>
                  <a:schemeClr val="bg2"/>
                </a:solidFill>
              </a:defRPr>
            </a:lvl1pPr>
          </a:lstStyle>
          <a:p>
            <a:r>
              <a:rPr lang="en-US" dirty="0"/>
              <a:t>Click icon to add photo.</a:t>
            </a:r>
            <a:br>
              <a:rPr lang="en-US" dirty="0"/>
            </a:br>
            <a:r>
              <a:rPr lang="en-US" dirty="0"/>
              <a:t>Strict rule: do not resize this image. (Crop if necessary.)</a:t>
            </a:r>
          </a:p>
        </p:txBody>
      </p:sp>
      <p:sp>
        <p:nvSpPr>
          <p:cNvPr id="116" name="Text Placeholder 21">
            <a:extLst>
              <a:ext uri="{FF2B5EF4-FFF2-40B4-BE49-F238E27FC236}">
                <a16:creationId xmlns:a16="http://schemas.microsoft.com/office/drawing/2014/main" id="{6D77A529-4F58-5E4F-95C8-1B870B6EF275}"/>
              </a:ext>
            </a:extLst>
          </p:cNvPr>
          <p:cNvSpPr>
            <a:spLocks noGrp="1"/>
          </p:cNvSpPr>
          <p:nvPr userDrawn="1">
            <p:ph type="body" sz="quarter" idx="14" hasCustomPrompt="1"/>
          </p:nvPr>
        </p:nvSpPr>
        <p:spPr>
          <a:xfrm>
            <a:off x="8474927" y="6200776"/>
            <a:ext cx="312928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118" name="Picture Placeholder 7">
            <a:extLst>
              <a:ext uri="{FF2B5EF4-FFF2-40B4-BE49-F238E27FC236}">
                <a16:creationId xmlns:a16="http://schemas.microsoft.com/office/drawing/2014/main" id="{50501BB8-75BC-4F41-A788-05E4DEAEAA35}"/>
              </a:ext>
            </a:extLst>
          </p:cNvPr>
          <p:cNvSpPr>
            <a:spLocks noGrp="1"/>
          </p:cNvSpPr>
          <p:nvPr userDrawn="1">
            <p:ph type="pic" sz="quarter" idx="108" hasCustomPrompt="1"/>
          </p:nvPr>
        </p:nvSpPr>
        <p:spPr>
          <a:xfrm>
            <a:off x="66493" y="1126869"/>
            <a:ext cx="7815776" cy="4395148"/>
          </a:xfrm>
          <a:solidFill>
            <a:srgbClr val="E8F3FD"/>
          </a:solidFill>
        </p:spPr>
        <p:txBody>
          <a:bodyPr anchor="ct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or quote graphic</a:t>
            </a:r>
          </a:p>
        </p:txBody>
      </p:sp>
      <p:sp>
        <p:nvSpPr>
          <p:cNvPr id="2" name="Date Placeholder 1">
            <a:extLst>
              <a:ext uri="{FF2B5EF4-FFF2-40B4-BE49-F238E27FC236}">
                <a16:creationId xmlns:a16="http://schemas.microsoft.com/office/drawing/2014/main" id="{884E28E5-6A67-0244-A79A-3AEB27D6D5DE}"/>
              </a:ext>
            </a:extLst>
          </p:cNvPr>
          <p:cNvSpPr>
            <a:spLocks noGrp="1"/>
          </p:cNvSpPr>
          <p:nvPr userDrawn="1">
            <p:ph type="dt" sz="half" idx="109"/>
          </p:nvPr>
        </p:nvSpPr>
        <p:spPr/>
        <p:txBody>
          <a:bodyPr/>
          <a:lstStyle/>
          <a:p>
            <a:endParaRPr lang="en-US" dirty="0"/>
          </a:p>
        </p:txBody>
      </p:sp>
      <p:sp>
        <p:nvSpPr>
          <p:cNvPr id="3" name="Footer Placeholder 2">
            <a:extLst>
              <a:ext uri="{FF2B5EF4-FFF2-40B4-BE49-F238E27FC236}">
                <a16:creationId xmlns:a16="http://schemas.microsoft.com/office/drawing/2014/main" id="{917C96B8-5877-064A-8DD0-AB1D7ECB4030}"/>
              </a:ext>
            </a:extLst>
          </p:cNvPr>
          <p:cNvSpPr>
            <a:spLocks noGrp="1"/>
          </p:cNvSpPr>
          <p:nvPr userDrawn="1">
            <p:ph type="ftr" sz="quarter" idx="110"/>
          </p:nvPr>
        </p:nvSpPr>
        <p:spPr/>
        <p:txBody>
          <a:bodyPr/>
          <a:lstStyle/>
          <a:p>
            <a:endParaRPr lang="en-US" dirty="0"/>
          </a:p>
        </p:txBody>
      </p:sp>
      <p:sp>
        <p:nvSpPr>
          <p:cNvPr id="4" name="Slide Number Placeholder 3">
            <a:extLst>
              <a:ext uri="{FF2B5EF4-FFF2-40B4-BE49-F238E27FC236}">
                <a16:creationId xmlns:a16="http://schemas.microsoft.com/office/drawing/2014/main" id="{52FEEDA1-ADD4-BD45-A1DD-CC2C4ADEB555}"/>
              </a:ext>
            </a:extLst>
          </p:cNvPr>
          <p:cNvSpPr>
            <a:spLocks noGrp="1"/>
          </p:cNvSpPr>
          <p:nvPr userDrawn="1">
            <p:ph type="sldNum" sz="quarter" idx="111"/>
          </p:nvPr>
        </p:nvSpPr>
        <p:spPr>
          <a:noFill/>
        </p:spPr>
        <p:txBody>
          <a:bodyPr/>
          <a:lstStyle>
            <a:lvl1pPr>
              <a:defRPr>
                <a:solidFill>
                  <a:schemeClr val="bg1"/>
                </a:solidFill>
              </a:defRPr>
            </a:lvl1pPr>
          </a:lstStyle>
          <a:p>
            <a:pPr marL="12700"/>
            <a:fld id="{078C017C-E1B9-8443-B047-B08AAA027B45}" type="slidenum">
              <a:rPr lang="en-US" smtClean="0"/>
              <a:pPr marL="12700"/>
              <a:t>‹#›</a:t>
            </a:fld>
            <a:endParaRPr lang="en-US" dirty="0"/>
          </a:p>
        </p:txBody>
      </p:sp>
      <p:grpSp>
        <p:nvGrpSpPr>
          <p:cNvPr id="37" name="Group 36">
            <a:extLst>
              <a:ext uri="{FF2B5EF4-FFF2-40B4-BE49-F238E27FC236}">
                <a16:creationId xmlns:a16="http://schemas.microsoft.com/office/drawing/2014/main" id="{1763432E-81DC-9141-B4E0-A88D726ADFFC}"/>
              </a:ext>
            </a:extLst>
          </p:cNvPr>
          <p:cNvGrpSpPr/>
          <p:nvPr userDrawn="1"/>
        </p:nvGrpSpPr>
        <p:grpSpPr>
          <a:xfrm>
            <a:off x="12532243" y="-1"/>
            <a:ext cx="3832280" cy="6858001"/>
            <a:chOff x="9399182" y="-1"/>
            <a:chExt cx="2874210" cy="6858001"/>
          </a:xfrm>
        </p:grpSpPr>
        <p:sp>
          <p:nvSpPr>
            <p:cNvPr id="38" name="Rectangle 37">
              <a:extLst>
                <a:ext uri="{FF2B5EF4-FFF2-40B4-BE49-F238E27FC236}">
                  <a16:creationId xmlns:a16="http://schemas.microsoft.com/office/drawing/2014/main" id="{3C939D41-EDD4-E145-AC70-1FEA78861983}"/>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sp>
          <p:nvSpPr>
            <p:cNvPr id="39" name="TextBox 38">
              <a:extLst>
                <a:ext uri="{FF2B5EF4-FFF2-40B4-BE49-F238E27FC236}">
                  <a16:creationId xmlns:a16="http://schemas.microsoft.com/office/drawing/2014/main" id="{D28E0661-751E-CE4C-8BC5-F16780187439}"/>
                </a:ext>
              </a:extLst>
            </p:cNvPr>
            <p:cNvSpPr txBox="1"/>
            <p:nvPr userDrawn="1"/>
          </p:nvSpPr>
          <p:spPr>
            <a:xfrm>
              <a:off x="9555251" y="150289"/>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40" name="Straight Connector 39">
              <a:extLst>
                <a:ext uri="{FF2B5EF4-FFF2-40B4-BE49-F238E27FC236}">
                  <a16:creationId xmlns:a16="http://schemas.microsoft.com/office/drawing/2014/main" id="{3408AD67-9977-5847-8456-1BA4A449DD94}"/>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8AC807C0-4C95-754F-9B48-24C2884EC3A8}"/>
                </a:ext>
              </a:extLst>
            </p:cNvPr>
            <p:cNvSpPr txBox="1"/>
            <p:nvPr userDrawn="1"/>
          </p:nvSpPr>
          <p:spPr>
            <a:xfrm>
              <a:off x="9683170" y="1211216"/>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3" name="Group 42">
              <a:extLst>
                <a:ext uri="{FF2B5EF4-FFF2-40B4-BE49-F238E27FC236}">
                  <a16:creationId xmlns:a16="http://schemas.microsoft.com/office/drawing/2014/main" id="{E5633BC6-629B-B243-98D5-93A61D37DCA2}"/>
                </a:ext>
              </a:extLst>
            </p:cNvPr>
            <p:cNvGrpSpPr/>
            <p:nvPr userDrawn="1"/>
          </p:nvGrpSpPr>
          <p:grpSpPr>
            <a:xfrm>
              <a:off x="9538241" y="5191130"/>
              <a:ext cx="2735151" cy="1411315"/>
              <a:chOff x="9296567" y="4910411"/>
              <a:chExt cx="2735151" cy="1411315"/>
            </a:xfrm>
          </p:grpSpPr>
          <p:sp>
            <p:nvSpPr>
              <p:cNvPr id="59" name="Rectangle 58">
                <a:extLst>
                  <a:ext uri="{FF2B5EF4-FFF2-40B4-BE49-F238E27FC236}">
                    <a16:creationId xmlns:a16="http://schemas.microsoft.com/office/drawing/2014/main" id="{9F863234-89FF-8F40-BE73-4316B3ABFA65}"/>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0" name="TextBox 59">
                <a:extLst>
                  <a:ext uri="{FF2B5EF4-FFF2-40B4-BE49-F238E27FC236}">
                    <a16:creationId xmlns:a16="http://schemas.microsoft.com/office/drawing/2014/main" id="{2C5A738D-CF1E-4B44-AC3D-BA4815CF185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1" name="Graphic 60">
                <a:extLst>
                  <a:ext uri="{FF2B5EF4-FFF2-40B4-BE49-F238E27FC236}">
                    <a16:creationId xmlns:a16="http://schemas.microsoft.com/office/drawing/2014/main" id="{EB95FA99-3430-0149-B21D-F142420715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62" name="TextBox 61">
                <a:extLst>
                  <a:ext uri="{FF2B5EF4-FFF2-40B4-BE49-F238E27FC236}">
                    <a16:creationId xmlns:a16="http://schemas.microsoft.com/office/drawing/2014/main" id="{2A101CD2-81BC-5247-9E37-65506544734B}"/>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3" name="TextBox 62">
                <a:extLst>
                  <a:ext uri="{FF2B5EF4-FFF2-40B4-BE49-F238E27FC236}">
                    <a16:creationId xmlns:a16="http://schemas.microsoft.com/office/drawing/2014/main" id="{DA111A3F-62A5-A341-B311-884D94AECDDC}"/>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4" name="TextBox 63">
                <a:extLst>
                  <a:ext uri="{FF2B5EF4-FFF2-40B4-BE49-F238E27FC236}">
                    <a16:creationId xmlns:a16="http://schemas.microsoft.com/office/drawing/2014/main" id="{A91A7249-E4DE-9045-B263-B2E6552B974A}"/>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44" name="Group 43">
              <a:extLst>
                <a:ext uri="{FF2B5EF4-FFF2-40B4-BE49-F238E27FC236}">
                  <a16:creationId xmlns:a16="http://schemas.microsoft.com/office/drawing/2014/main" id="{E81DE022-4C71-2544-8505-1761305A250F}"/>
                </a:ext>
              </a:extLst>
            </p:cNvPr>
            <p:cNvGrpSpPr/>
            <p:nvPr userDrawn="1"/>
          </p:nvGrpSpPr>
          <p:grpSpPr>
            <a:xfrm>
              <a:off x="9538241" y="3396143"/>
              <a:ext cx="2735151" cy="1666188"/>
              <a:chOff x="9286315" y="6976989"/>
              <a:chExt cx="2735151" cy="1666188"/>
            </a:xfrm>
          </p:grpSpPr>
          <p:sp>
            <p:nvSpPr>
              <p:cNvPr id="53" name="Rectangle 52">
                <a:extLst>
                  <a:ext uri="{FF2B5EF4-FFF2-40B4-BE49-F238E27FC236}">
                    <a16:creationId xmlns:a16="http://schemas.microsoft.com/office/drawing/2014/main" id="{FC6F4C93-688F-8D4E-ABCD-9BC9F8F9CBAA}"/>
                  </a:ext>
                </a:extLst>
              </p:cNvPr>
              <p:cNvSpPr/>
              <p:nvPr userDrawn="1"/>
            </p:nvSpPr>
            <p:spPr>
              <a:xfrm>
                <a:off x="9286315" y="6976989"/>
                <a:ext cx="2735151" cy="166618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4" name="TextBox 53">
                <a:extLst>
                  <a:ext uri="{FF2B5EF4-FFF2-40B4-BE49-F238E27FC236}">
                    <a16:creationId xmlns:a16="http://schemas.microsoft.com/office/drawing/2014/main" id="{35D49C1A-C836-5A44-8A49-80E5A075C93A}"/>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55" name="Graphic 54">
                <a:extLst>
                  <a:ext uri="{FF2B5EF4-FFF2-40B4-BE49-F238E27FC236}">
                    <a16:creationId xmlns:a16="http://schemas.microsoft.com/office/drawing/2014/main" id="{EB93AE78-B9CD-AB40-95D3-B134C74973B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56" name="TextBox 55">
                <a:extLst>
                  <a:ext uri="{FF2B5EF4-FFF2-40B4-BE49-F238E27FC236}">
                    <a16:creationId xmlns:a16="http://schemas.microsoft.com/office/drawing/2014/main" id="{5784DD63-BA1D-1542-806C-9B2E2FA95A95}"/>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7" name="Picture 56">
                <a:extLst>
                  <a:ext uri="{FF2B5EF4-FFF2-40B4-BE49-F238E27FC236}">
                    <a16:creationId xmlns:a16="http://schemas.microsoft.com/office/drawing/2014/main" id="{E0E8A988-05AB-3248-93C8-C5006E414A56}"/>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sp>
            <p:nvSpPr>
              <p:cNvPr id="58" name="TextBox 57">
                <a:extLst>
                  <a:ext uri="{FF2B5EF4-FFF2-40B4-BE49-F238E27FC236}">
                    <a16:creationId xmlns:a16="http://schemas.microsoft.com/office/drawing/2014/main" id="{88DD2CB9-AED7-714F-B970-5632385CD159}"/>
                  </a:ext>
                </a:extLst>
              </p:cNvPr>
              <p:cNvSpPr txBox="1"/>
              <p:nvPr userDrawn="1"/>
            </p:nvSpPr>
            <p:spPr>
              <a:xfrm>
                <a:off x="9446538" y="8244615"/>
                <a:ext cx="2467032"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3175" lvl="1" indent="0">
                  <a:buNone/>
                  <a:defRPr/>
                </a:pPr>
                <a:r>
                  <a:rPr lang="en-US" sz="900" i="1" kern="1200" dirty="0">
                    <a:solidFill>
                      <a:schemeClr val="tx1">
                        <a:lumMod val="50000"/>
                        <a:lumOff val="50000"/>
                      </a:schemeClr>
                    </a:solidFill>
                    <a:latin typeface="Arial" charset="0"/>
                    <a:cs typeface="Arial" charset="0"/>
                  </a:rPr>
                  <a:t>Strict rule: do not resize the image placeholder. It should always be 1/3rd of the slide width.</a:t>
                </a:r>
              </a:p>
            </p:txBody>
          </p:sp>
        </p:grpSp>
        <p:grpSp>
          <p:nvGrpSpPr>
            <p:cNvPr id="45" name="Group 44">
              <a:extLst>
                <a:ext uri="{FF2B5EF4-FFF2-40B4-BE49-F238E27FC236}">
                  <a16:creationId xmlns:a16="http://schemas.microsoft.com/office/drawing/2014/main" id="{522C1CD7-2090-FC48-80A3-6DC2AF4F2810}"/>
                </a:ext>
              </a:extLst>
            </p:cNvPr>
            <p:cNvGrpSpPr/>
            <p:nvPr userDrawn="1"/>
          </p:nvGrpSpPr>
          <p:grpSpPr>
            <a:xfrm>
              <a:off x="9518577" y="475409"/>
              <a:ext cx="2617883" cy="651460"/>
              <a:chOff x="12352022" y="513115"/>
              <a:chExt cx="2617883" cy="651460"/>
            </a:xfrm>
          </p:grpSpPr>
          <p:sp>
            <p:nvSpPr>
              <p:cNvPr id="50" name="TextBox 49">
                <a:extLst>
                  <a:ext uri="{FF2B5EF4-FFF2-40B4-BE49-F238E27FC236}">
                    <a16:creationId xmlns:a16="http://schemas.microsoft.com/office/drawing/2014/main" id="{697B859F-3589-2A4F-A834-9541E03CDE8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1" name="TextBox 50">
                <a:extLst>
                  <a:ext uri="{FF2B5EF4-FFF2-40B4-BE49-F238E27FC236}">
                    <a16:creationId xmlns:a16="http://schemas.microsoft.com/office/drawing/2014/main" id="{2EA4EEBF-44D6-B64D-A9A9-305B00FCA67C}"/>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2" name="TextBox 51">
                <a:extLst>
                  <a:ext uri="{FF2B5EF4-FFF2-40B4-BE49-F238E27FC236}">
                    <a16:creationId xmlns:a16="http://schemas.microsoft.com/office/drawing/2014/main" id="{4F609CAA-7DFC-C34E-9B3E-600CFAED5850}"/>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46" name="TextBox 45">
              <a:extLst>
                <a:ext uri="{FF2B5EF4-FFF2-40B4-BE49-F238E27FC236}">
                  <a16:creationId xmlns:a16="http://schemas.microsoft.com/office/drawing/2014/main" id="{825247B6-FFD6-8D42-800F-51E92618BD11}"/>
                </a:ext>
              </a:extLst>
            </p:cNvPr>
            <p:cNvSpPr txBox="1"/>
            <p:nvPr userDrawn="1"/>
          </p:nvSpPr>
          <p:spPr>
            <a:xfrm>
              <a:off x="9671011" y="1494521"/>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47" name="TextBox 46">
              <a:extLst>
                <a:ext uri="{FF2B5EF4-FFF2-40B4-BE49-F238E27FC236}">
                  <a16:creationId xmlns:a16="http://schemas.microsoft.com/office/drawing/2014/main" id="{970D307F-E4DB-E049-9932-D63E2B92B691}"/>
                </a:ext>
              </a:extLst>
            </p:cNvPr>
            <p:cNvSpPr txBox="1"/>
            <p:nvPr userDrawn="1"/>
          </p:nvSpPr>
          <p:spPr>
            <a:xfrm>
              <a:off x="9683170" y="1909778"/>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 </a:t>
              </a:r>
            </a:p>
            <a:p>
              <a:pPr lvl="1">
                <a:buNone/>
              </a:pPr>
              <a:r>
                <a:rPr lang="en-US" sz="1050" dirty="0"/>
                <a:t>Right-click or use keyboard shortcuts to paste the image.</a:t>
              </a:r>
            </a:p>
          </p:txBody>
        </p:sp>
        <p:sp>
          <p:nvSpPr>
            <p:cNvPr id="48" name="TextBox 47">
              <a:extLst>
                <a:ext uri="{FF2B5EF4-FFF2-40B4-BE49-F238E27FC236}">
                  <a16:creationId xmlns:a16="http://schemas.microsoft.com/office/drawing/2014/main" id="{882A7166-211F-0A4C-B965-143A64AF82E4}"/>
                </a:ext>
              </a:extLst>
            </p:cNvPr>
            <p:cNvSpPr txBox="1"/>
            <p:nvPr userDrawn="1"/>
          </p:nvSpPr>
          <p:spPr>
            <a:xfrm>
              <a:off x="9683170" y="2629868"/>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49" name="TextBox 48">
              <a:extLst>
                <a:ext uri="{FF2B5EF4-FFF2-40B4-BE49-F238E27FC236}">
                  <a16:creationId xmlns:a16="http://schemas.microsoft.com/office/drawing/2014/main" id="{D07C2016-E2F3-A14A-B1C2-86F63D44D337}"/>
                </a:ext>
              </a:extLst>
            </p:cNvPr>
            <p:cNvSpPr txBox="1"/>
            <p:nvPr userDrawn="1"/>
          </p:nvSpPr>
          <p:spPr>
            <a:xfrm>
              <a:off x="9671011" y="3060431"/>
              <a:ext cx="2374733"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 </a:t>
              </a:r>
              <a:br>
                <a:rPr lang="en-US" sz="700" dirty="0"/>
              </a:br>
              <a:r>
                <a:rPr lang="en-US" sz="700" dirty="0"/>
                <a:t>In this case use one of the other methods.</a:t>
              </a:r>
            </a:p>
          </p:txBody>
        </p:sp>
      </p:grpSp>
    </p:spTree>
    <p:extLst>
      <p:ext uri="{BB962C8B-B14F-4D97-AF65-F5344CB8AC3E}">
        <p14:creationId xmlns:p14="http://schemas.microsoft.com/office/powerpoint/2010/main" val="317626457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Ranking (Right) and Photo">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AE403CC8-0AF4-0B41-9F00-0561FB8057DC}"/>
              </a:ext>
            </a:extLst>
          </p:cNvPr>
          <p:cNvSpPr>
            <a:spLocks noGrp="1"/>
          </p:cNvSpPr>
          <p:nvPr>
            <p:ph type="pic" sz="quarter" idx="13" hasCustomPrompt="1"/>
          </p:nvPr>
        </p:nvSpPr>
        <p:spPr>
          <a:xfrm>
            <a:off x="0" y="1"/>
            <a:ext cx="4246035" cy="6858001"/>
          </a:xfrm>
          <a:prstGeom prst="rect">
            <a:avLst/>
          </a:prstGeom>
          <a:solidFill>
            <a:schemeClr val="accent2"/>
          </a:solidFill>
          <a:ln>
            <a:noFill/>
          </a:ln>
        </p:spPr>
        <p:txBody>
          <a:bodyPr wrap="square" lIns="432000" rIns="288000" anchor="ctr">
            <a:noAutofit/>
          </a:bodyPr>
          <a:lstStyle>
            <a:lvl1pPr marL="0" indent="0" algn="ctr">
              <a:spcBef>
                <a:spcPts val="0"/>
              </a:spcBef>
              <a:spcAft>
                <a:spcPts val="0"/>
              </a:spcAft>
              <a:buNone/>
              <a:defRPr b="0">
                <a:solidFill>
                  <a:schemeClr val="bg2"/>
                </a:solidFill>
              </a:defRPr>
            </a:lvl1pPr>
          </a:lstStyle>
          <a:p>
            <a:r>
              <a:rPr lang="en-US" dirty="0"/>
              <a:t>Click icon to add photo.</a:t>
            </a:r>
            <a:br>
              <a:rPr lang="en-US" dirty="0"/>
            </a:br>
            <a:r>
              <a:rPr lang="en-US" dirty="0"/>
              <a:t>Strict rule: do not resize this image. (Crop if necessary.)</a:t>
            </a:r>
          </a:p>
        </p:txBody>
      </p:sp>
      <p:sp>
        <p:nvSpPr>
          <p:cNvPr id="40" name="Text Placeholder 21">
            <a:extLst>
              <a:ext uri="{FF2B5EF4-FFF2-40B4-BE49-F238E27FC236}">
                <a16:creationId xmlns:a16="http://schemas.microsoft.com/office/drawing/2014/main" id="{D976F2F4-DE2A-DC4C-A765-97FABA1D68D1}"/>
              </a:ext>
            </a:extLst>
          </p:cNvPr>
          <p:cNvSpPr>
            <a:spLocks noGrp="1"/>
          </p:cNvSpPr>
          <p:nvPr>
            <p:ph type="body" sz="quarter" idx="14" hasCustomPrompt="1"/>
          </p:nvPr>
        </p:nvSpPr>
        <p:spPr>
          <a:xfrm>
            <a:off x="588870" y="6200776"/>
            <a:ext cx="3024797" cy="152349"/>
          </a:xfrm>
          <a:effectLst/>
        </p:spPr>
        <p:txBody>
          <a:bodyPr wrap="square" anchor="b">
            <a:spAutoFit/>
          </a:bodyPr>
          <a:lstStyle>
            <a:lvl1pPr marL="0" indent="0" algn="l">
              <a:spcBef>
                <a:spcPts val="0"/>
              </a:spcBef>
              <a:spcAft>
                <a:spcPts val="0"/>
              </a:spcAft>
              <a:buFontTx/>
              <a:buNone/>
              <a:tabLst/>
              <a:defRPr sz="1100" b="0">
                <a:solidFill>
                  <a:schemeClr val="bg1"/>
                </a:solidFill>
                <a:effectLst/>
              </a:defRPr>
            </a:lvl1pPr>
            <a:lvl2pPr marL="0" indent="0" algn="l">
              <a:spcBef>
                <a:spcPts val="0"/>
              </a:spcBef>
              <a:spcAft>
                <a:spcPts val="0"/>
              </a:spcAft>
              <a:buFontTx/>
              <a:buNone/>
              <a:tabLst/>
              <a:defRPr sz="1100">
                <a:solidFill>
                  <a:schemeClr val="bg1"/>
                </a:solidFill>
              </a:defRPr>
            </a:lvl2pPr>
            <a:lvl3pPr marL="0" indent="0" algn="l">
              <a:spcBef>
                <a:spcPts val="0"/>
              </a:spcBef>
              <a:spcAft>
                <a:spcPts val="0"/>
              </a:spcAft>
              <a:buFontTx/>
              <a:buNone/>
              <a:tabLst/>
              <a:defRPr sz="1100">
                <a:solidFill>
                  <a:schemeClr val="bg1"/>
                </a:solidFill>
              </a:defRPr>
            </a:lvl3pPr>
            <a:lvl4pPr marL="0" indent="0" algn="l">
              <a:spcBef>
                <a:spcPts val="0"/>
              </a:spcBef>
              <a:spcAft>
                <a:spcPts val="0"/>
              </a:spcAft>
              <a:buFontTx/>
              <a:buNone/>
              <a:tabLst/>
              <a:defRPr sz="1100">
                <a:solidFill>
                  <a:schemeClr val="bg1"/>
                </a:solidFill>
              </a:defRPr>
            </a:lvl4pPr>
            <a:lvl5pPr marL="0" indent="0" algn="l">
              <a:spcBef>
                <a:spcPts val="0"/>
              </a:spcBef>
              <a:spcAft>
                <a:spcPts val="0"/>
              </a:spcAft>
              <a:buFontTx/>
              <a:buNone/>
              <a:tabLst/>
              <a:defRPr sz="1100">
                <a:solidFill>
                  <a:schemeClr val="bg1"/>
                </a:solidFill>
              </a:defRPr>
            </a:lvl5pPr>
            <a:lvl6pPr marL="0" indent="0" algn="l">
              <a:spcBef>
                <a:spcPts val="0"/>
              </a:spcBef>
              <a:spcAft>
                <a:spcPts val="0"/>
              </a:spcAft>
              <a:buFontTx/>
              <a:buNone/>
              <a:tabLst/>
              <a:defRPr sz="1100">
                <a:solidFill>
                  <a:schemeClr val="bg1"/>
                </a:solidFill>
              </a:defRPr>
            </a:lvl6pPr>
            <a:lvl7pPr marL="0" indent="0" algn="l">
              <a:spcBef>
                <a:spcPts val="0"/>
              </a:spcBef>
              <a:spcAft>
                <a:spcPts val="0"/>
              </a:spcAft>
              <a:buFontTx/>
              <a:buNone/>
              <a:tabLst/>
              <a:defRPr sz="1100">
                <a:solidFill>
                  <a:schemeClr val="bg1"/>
                </a:solidFill>
              </a:defRPr>
            </a:lvl7pPr>
            <a:lvl8pPr marL="0" indent="0" algn="l">
              <a:spcBef>
                <a:spcPts val="0"/>
              </a:spcBef>
              <a:spcAft>
                <a:spcPts val="0"/>
              </a:spcAft>
              <a:buFontTx/>
              <a:buNone/>
              <a:tabLst/>
              <a:defRPr sz="1100">
                <a:solidFill>
                  <a:schemeClr val="bg1"/>
                </a:solidFill>
              </a:defRPr>
            </a:lvl8pPr>
            <a:lvl9pPr marL="0" indent="0" algn="l">
              <a:spcBef>
                <a:spcPts val="0"/>
              </a:spcBef>
              <a:spcAft>
                <a:spcPts val="0"/>
              </a:spcAft>
              <a:buFontTx/>
              <a:buNone/>
              <a:tabLst/>
              <a:defRPr sz="1100">
                <a:solidFill>
                  <a:schemeClr val="bg1"/>
                </a:solidFill>
              </a:defRPr>
            </a:lvl9pPr>
          </a:lstStyle>
          <a:p>
            <a:pPr lvl="0"/>
            <a:r>
              <a:rPr lang="en-US" dirty="0"/>
              <a:t>Click to add photo caption</a:t>
            </a:r>
          </a:p>
        </p:txBody>
      </p:sp>
      <p:sp>
        <p:nvSpPr>
          <p:cNvPr id="5" name="Date Placeholder 4">
            <a:extLst>
              <a:ext uri="{FF2B5EF4-FFF2-40B4-BE49-F238E27FC236}">
                <a16:creationId xmlns:a16="http://schemas.microsoft.com/office/drawing/2014/main" id="{D54C76DA-F528-244F-B82D-2FD6602BA875}"/>
              </a:ext>
            </a:extLst>
          </p:cNvPr>
          <p:cNvSpPr>
            <a:spLocks noGrp="1"/>
          </p:cNvSpPr>
          <p:nvPr>
            <p:ph type="dt" sz="half" idx="109"/>
          </p:nvPr>
        </p:nvSpPr>
        <p:spPr/>
        <p:txBody>
          <a:bodyPr/>
          <a:lstStyle/>
          <a:p>
            <a:endParaRPr lang="en-US" dirty="0"/>
          </a:p>
        </p:txBody>
      </p:sp>
      <p:sp>
        <p:nvSpPr>
          <p:cNvPr id="6" name="Footer Placeholder 5">
            <a:extLst>
              <a:ext uri="{FF2B5EF4-FFF2-40B4-BE49-F238E27FC236}">
                <a16:creationId xmlns:a16="http://schemas.microsoft.com/office/drawing/2014/main" id="{31625B55-E0DA-464D-BFB5-020839E75BEF}"/>
              </a:ext>
            </a:extLst>
          </p:cNvPr>
          <p:cNvSpPr>
            <a:spLocks noGrp="1"/>
          </p:cNvSpPr>
          <p:nvPr>
            <p:ph type="ftr" sz="quarter" idx="110"/>
          </p:nvPr>
        </p:nvSpPr>
        <p:spPr/>
        <p:txBody>
          <a:bodyPr/>
          <a:lstStyle/>
          <a:p>
            <a:endParaRPr lang="en-US" dirty="0"/>
          </a:p>
        </p:txBody>
      </p:sp>
      <p:sp>
        <p:nvSpPr>
          <p:cNvPr id="7" name="Slide Number Placeholder 6">
            <a:extLst>
              <a:ext uri="{FF2B5EF4-FFF2-40B4-BE49-F238E27FC236}">
                <a16:creationId xmlns:a16="http://schemas.microsoft.com/office/drawing/2014/main" id="{43D59DA1-A77E-7144-9771-F69145665B98}"/>
              </a:ext>
            </a:extLst>
          </p:cNvPr>
          <p:cNvSpPr>
            <a:spLocks noGrp="1"/>
          </p:cNvSpPr>
          <p:nvPr>
            <p:ph type="sldNum" sz="quarter" idx="111"/>
          </p:nvPr>
        </p:nvSpPr>
        <p:spPr/>
        <p:txBody>
          <a:bodyPr/>
          <a:lstStyle/>
          <a:p>
            <a:pPr marL="12700"/>
            <a:fld id="{078C017C-E1B9-8443-B047-B08AAA027B45}" type="slidenum">
              <a:rPr lang="en-US" smtClean="0"/>
              <a:pPr marL="12700"/>
              <a:t>‹#›</a:t>
            </a:fld>
            <a:endParaRPr lang="en-US" dirty="0"/>
          </a:p>
        </p:txBody>
      </p:sp>
      <p:sp>
        <p:nvSpPr>
          <p:cNvPr id="42" name="Picture Placeholder 7">
            <a:extLst>
              <a:ext uri="{FF2B5EF4-FFF2-40B4-BE49-F238E27FC236}">
                <a16:creationId xmlns:a16="http://schemas.microsoft.com/office/drawing/2014/main" id="{1F08C253-A48A-3143-84F4-862490E091D5}"/>
              </a:ext>
            </a:extLst>
          </p:cNvPr>
          <p:cNvSpPr>
            <a:spLocks noGrp="1"/>
          </p:cNvSpPr>
          <p:nvPr>
            <p:ph type="pic" sz="quarter" idx="108" hasCustomPrompt="1"/>
          </p:nvPr>
        </p:nvSpPr>
        <p:spPr>
          <a:xfrm>
            <a:off x="4312551" y="1126869"/>
            <a:ext cx="7815776" cy="4395148"/>
          </a:xfrm>
          <a:solidFill>
            <a:srgbClr val="E8F3FD"/>
          </a:solidFill>
        </p:spPr>
        <p:txBody>
          <a:bodyPr anchor="ctr"/>
          <a:lstStyle>
            <a:lvl1pPr algn="ctr">
              <a:defRPr b="0">
                <a:solidFill>
                  <a:schemeClr val="tx1">
                    <a:lumMod val="50000"/>
                    <a:lumOff val="50000"/>
                  </a:schemeClr>
                </a:solidFill>
              </a:defRPr>
            </a:lvl1pPr>
          </a:lstStyle>
          <a:p>
            <a:r>
              <a:rPr lang="en-US" dirty="0"/>
              <a:t>Click icon to add a pre-designed </a:t>
            </a:r>
            <a:br>
              <a:rPr lang="en-US" dirty="0"/>
            </a:br>
            <a:r>
              <a:rPr lang="en-US" dirty="0"/>
              <a:t>ranking or quote graphic</a:t>
            </a:r>
          </a:p>
        </p:txBody>
      </p:sp>
      <p:grpSp>
        <p:nvGrpSpPr>
          <p:cNvPr id="2" name="Group 1">
            <a:extLst>
              <a:ext uri="{FF2B5EF4-FFF2-40B4-BE49-F238E27FC236}">
                <a16:creationId xmlns:a16="http://schemas.microsoft.com/office/drawing/2014/main" id="{D1764BD5-D145-264C-B0A8-208A483730D7}"/>
              </a:ext>
            </a:extLst>
          </p:cNvPr>
          <p:cNvGrpSpPr/>
          <p:nvPr userDrawn="1"/>
        </p:nvGrpSpPr>
        <p:grpSpPr>
          <a:xfrm>
            <a:off x="12532243" y="-1"/>
            <a:ext cx="3832280" cy="6858001"/>
            <a:chOff x="9399182" y="-1"/>
            <a:chExt cx="2874210" cy="6858001"/>
          </a:xfrm>
        </p:grpSpPr>
        <p:sp>
          <p:nvSpPr>
            <p:cNvPr id="43" name="Rectangle 42">
              <a:extLst>
                <a:ext uri="{FF2B5EF4-FFF2-40B4-BE49-F238E27FC236}">
                  <a16:creationId xmlns:a16="http://schemas.microsoft.com/office/drawing/2014/main" id="{0E350FE8-9140-BD44-8746-BA901039FCE8}"/>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sp>
          <p:nvSpPr>
            <p:cNvPr id="44" name="TextBox 43">
              <a:extLst>
                <a:ext uri="{FF2B5EF4-FFF2-40B4-BE49-F238E27FC236}">
                  <a16:creationId xmlns:a16="http://schemas.microsoft.com/office/drawing/2014/main" id="{8D1B288D-9366-E241-BD9C-0C163D006B50}"/>
                </a:ext>
              </a:extLst>
            </p:cNvPr>
            <p:cNvSpPr txBox="1"/>
            <p:nvPr userDrawn="1"/>
          </p:nvSpPr>
          <p:spPr>
            <a:xfrm>
              <a:off x="9555251" y="150289"/>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45" name="Straight Connector 44">
              <a:extLst>
                <a:ext uri="{FF2B5EF4-FFF2-40B4-BE49-F238E27FC236}">
                  <a16:creationId xmlns:a16="http://schemas.microsoft.com/office/drawing/2014/main" id="{6B3ABA96-5F83-394D-9840-D7F0CBD05CB6}"/>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6EF9EA9D-2ECC-8B45-B42B-25173A4A4C25}"/>
                </a:ext>
              </a:extLst>
            </p:cNvPr>
            <p:cNvSpPr txBox="1"/>
            <p:nvPr userDrawn="1"/>
          </p:nvSpPr>
          <p:spPr>
            <a:xfrm>
              <a:off x="9683170" y="1211216"/>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7" name="Group 46">
              <a:extLst>
                <a:ext uri="{FF2B5EF4-FFF2-40B4-BE49-F238E27FC236}">
                  <a16:creationId xmlns:a16="http://schemas.microsoft.com/office/drawing/2014/main" id="{C8972E43-5336-2241-891B-35A2BC5D2DEE}"/>
                </a:ext>
              </a:extLst>
            </p:cNvPr>
            <p:cNvGrpSpPr/>
            <p:nvPr userDrawn="1"/>
          </p:nvGrpSpPr>
          <p:grpSpPr>
            <a:xfrm>
              <a:off x="9538241" y="5191130"/>
              <a:ext cx="2735151" cy="1411315"/>
              <a:chOff x="9296567" y="4910411"/>
              <a:chExt cx="2735151" cy="1411315"/>
            </a:xfrm>
          </p:grpSpPr>
          <p:sp>
            <p:nvSpPr>
              <p:cNvPr id="48" name="Rectangle 47">
                <a:extLst>
                  <a:ext uri="{FF2B5EF4-FFF2-40B4-BE49-F238E27FC236}">
                    <a16:creationId xmlns:a16="http://schemas.microsoft.com/office/drawing/2014/main" id="{E2C26990-7FF8-054E-A281-B53F537BEE27}"/>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9" name="TextBox 48">
                <a:extLst>
                  <a:ext uri="{FF2B5EF4-FFF2-40B4-BE49-F238E27FC236}">
                    <a16:creationId xmlns:a16="http://schemas.microsoft.com/office/drawing/2014/main" id="{3B995B5E-F502-524D-8B58-27186D7A107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0" name="Graphic 49">
                <a:extLst>
                  <a:ext uri="{FF2B5EF4-FFF2-40B4-BE49-F238E27FC236}">
                    <a16:creationId xmlns:a16="http://schemas.microsoft.com/office/drawing/2014/main" id="{A061601C-8C68-F242-B113-EE7F770949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51" name="TextBox 50">
                <a:extLst>
                  <a:ext uri="{FF2B5EF4-FFF2-40B4-BE49-F238E27FC236}">
                    <a16:creationId xmlns:a16="http://schemas.microsoft.com/office/drawing/2014/main" id="{2176A971-B2F1-5E43-B3E1-7B135F870F0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2" name="TextBox 51">
                <a:extLst>
                  <a:ext uri="{FF2B5EF4-FFF2-40B4-BE49-F238E27FC236}">
                    <a16:creationId xmlns:a16="http://schemas.microsoft.com/office/drawing/2014/main" id="{90EC215C-94D0-E34B-A0ED-1A1FAA96773F}"/>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3" name="TextBox 52">
                <a:extLst>
                  <a:ext uri="{FF2B5EF4-FFF2-40B4-BE49-F238E27FC236}">
                    <a16:creationId xmlns:a16="http://schemas.microsoft.com/office/drawing/2014/main" id="{76B9D522-8908-7049-B7A4-B57C5618ADD3}"/>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54" name="Group 53">
              <a:extLst>
                <a:ext uri="{FF2B5EF4-FFF2-40B4-BE49-F238E27FC236}">
                  <a16:creationId xmlns:a16="http://schemas.microsoft.com/office/drawing/2014/main" id="{AA4B5C55-C3B7-894B-A35E-D5CA95E6E7F1}"/>
                </a:ext>
              </a:extLst>
            </p:cNvPr>
            <p:cNvGrpSpPr/>
            <p:nvPr userDrawn="1"/>
          </p:nvGrpSpPr>
          <p:grpSpPr>
            <a:xfrm>
              <a:off x="9538241" y="3396143"/>
              <a:ext cx="2735151" cy="1666188"/>
              <a:chOff x="9286315" y="6976989"/>
              <a:chExt cx="2735151" cy="1666188"/>
            </a:xfrm>
          </p:grpSpPr>
          <p:sp>
            <p:nvSpPr>
              <p:cNvPr id="55" name="Rectangle 54">
                <a:extLst>
                  <a:ext uri="{FF2B5EF4-FFF2-40B4-BE49-F238E27FC236}">
                    <a16:creationId xmlns:a16="http://schemas.microsoft.com/office/drawing/2014/main" id="{0F3B6FDA-7E11-594D-AA59-432E8381D202}"/>
                  </a:ext>
                </a:extLst>
              </p:cNvPr>
              <p:cNvSpPr/>
              <p:nvPr userDrawn="1"/>
            </p:nvSpPr>
            <p:spPr>
              <a:xfrm>
                <a:off x="9286315" y="6976989"/>
                <a:ext cx="2735151" cy="166618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6" name="TextBox 55">
                <a:extLst>
                  <a:ext uri="{FF2B5EF4-FFF2-40B4-BE49-F238E27FC236}">
                    <a16:creationId xmlns:a16="http://schemas.microsoft.com/office/drawing/2014/main" id="{B533522C-4577-8A45-84ED-1C28ADF906A5}"/>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57" name="Graphic 56">
                <a:extLst>
                  <a:ext uri="{FF2B5EF4-FFF2-40B4-BE49-F238E27FC236}">
                    <a16:creationId xmlns:a16="http://schemas.microsoft.com/office/drawing/2014/main" id="{CAA725A2-71E0-CC44-BF0B-C7D949C4E17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58" name="TextBox 57">
                <a:extLst>
                  <a:ext uri="{FF2B5EF4-FFF2-40B4-BE49-F238E27FC236}">
                    <a16:creationId xmlns:a16="http://schemas.microsoft.com/office/drawing/2014/main" id="{877D7503-2CC1-D345-B445-E51D2E0A1D5E}"/>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9" name="Picture 58">
                <a:extLst>
                  <a:ext uri="{FF2B5EF4-FFF2-40B4-BE49-F238E27FC236}">
                    <a16:creationId xmlns:a16="http://schemas.microsoft.com/office/drawing/2014/main" id="{168D46CD-D101-064B-A62A-09B9595E705D}"/>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sp>
            <p:nvSpPr>
              <p:cNvPr id="60" name="TextBox 59">
                <a:extLst>
                  <a:ext uri="{FF2B5EF4-FFF2-40B4-BE49-F238E27FC236}">
                    <a16:creationId xmlns:a16="http://schemas.microsoft.com/office/drawing/2014/main" id="{5412DB5D-1726-FE4B-A4FC-19F1AAD0388A}"/>
                  </a:ext>
                </a:extLst>
              </p:cNvPr>
              <p:cNvSpPr txBox="1"/>
              <p:nvPr userDrawn="1"/>
            </p:nvSpPr>
            <p:spPr>
              <a:xfrm>
                <a:off x="9446538" y="8244615"/>
                <a:ext cx="2467032"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3175" lvl="1" indent="0">
                  <a:buNone/>
                  <a:defRPr/>
                </a:pPr>
                <a:r>
                  <a:rPr lang="en-US" sz="900" i="1" kern="1200" dirty="0">
                    <a:solidFill>
                      <a:schemeClr val="tx1">
                        <a:lumMod val="50000"/>
                        <a:lumOff val="50000"/>
                      </a:schemeClr>
                    </a:solidFill>
                    <a:latin typeface="Arial" charset="0"/>
                    <a:cs typeface="Arial" charset="0"/>
                  </a:rPr>
                  <a:t>Strict rule: do not resize the image placeholder. It should always be 1/3rd of the slide width.</a:t>
                </a:r>
              </a:p>
            </p:txBody>
          </p:sp>
        </p:grpSp>
        <p:grpSp>
          <p:nvGrpSpPr>
            <p:cNvPr id="61" name="Group 60">
              <a:extLst>
                <a:ext uri="{FF2B5EF4-FFF2-40B4-BE49-F238E27FC236}">
                  <a16:creationId xmlns:a16="http://schemas.microsoft.com/office/drawing/2014/main" id="{9DEDB481-299F-A241-8351-91656708A78B}"/>
                </a:ext>
              </a:extLst>
            </p:cNvPr>
            <p:cNvGrpSpPr/>
            <p:nvPr userDrawn="1"/>
          </p:nvGrpSpPr>
          <p:grpSpPr>
            <a:xfrm>
              <a:off x="9518577" y="475409"/>
              <a:ext cx="2617883" cy="651460"/>
              <a:chOff x="12352022" y="513115"/>
              <a:chExt cx="2617883" cy="651460"/>
            </a:xfrm>
          </p:grpSpPr>
          <p:sp>
            <p:nvSpPr>
              <p:cNvPr id="62" name="TextBox 61">
                <a:extLst>
                  <a:ext uri="{FF2B5EF4-FFF2-40B4-BE49-F238E27FC236}">
                    <a16:creationId xmlns:a16="http://schemas.microsoft.com/office/drawing/2014/main" id="{AB4D90F5-A24B-2141-B2C9-24D7F207050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3" name="TextBox 62">
                <a:extLst>
                  <a:ext uri="{FF2B5EF4-FFF2-40B4-BE49-F238E27FC236}">
                    <a16:creationId xmlns:a16="http://schemas.microsoft.com/office/drawing/2014/main" id="{81F83443-307B-1E45-9461-3D7B0B74AC6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64" name="TextBox 63">
                <a:extLst>
                  <a:ext uri="{FF2B5EF4-FFF2-40B4-BE49-F238E27FC236}">
                    <a16:creationId xmlns:a16="http://schemas.microsoft.com/office/drawing/2014/main" id="{9D96AAF3-257A-024D-8BEB-1EF46B227EF1}"/>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65" name="TextBox 64">
              <a:extLst>
                <a:ext uri="{FF2B5EF4-FFF2-40B4-BE49-F238E27FC236}">
                  <a16:creationId xmlns:a16="http://schemas.microsoft.com/office/drawing/2014/main" id="{3EAD2FB7-5D7E-3B4E-9279-C776EEE44836}"/>
                </a:ext>
              </a:extLst>
            </p:cNvPr>
            <p:cNvSpPr txBox="1"/>
            <p:nvPr userDrawn="1"/>
          </p:nvSpPr>
          <p:spPr>
            <a:xfrm>
              <a:off x="9671011" y="1494521"/>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66" name="TextBox 65">
              <a:extLst>
                <a:ext uri="{FF2B5EF4-FFF2-40B4-BE49-F238E27FC236}">
                  <a16:creationId xmlns:a16="http://schemas.microsoft.com/office/drawing/2014/main" id="{EE34DDB8-5373-A745-B56A-FBF923B54BF3}"/>
                </a:ext>
              </a:extLst>
            </p:cNvPr>
            <p:cNvSpPr txBox="1"/>
            <p:nvPr userDrawn="1"/>
          </p:nvSpPr>
          <p:spPr>
            <a:xfrm>
              <a:off x="9683170" y="1909778"/>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 </a:t>
              </a:r>
            </a:p>
            <a:p>
              <a:pPr lvl="1">
                <a:buNone/>
              </a:pPr>
              <a:r>
                <a:rPr lang="en-US" sz="1050" dirty="0"/>
                <a:t>Right-click or use keyboard shortcuts to paste the image.</a:t>
              </a:r>
            </a:p>
          </p:txBody>
        </p:sp>
        <p:sp>
          <p:nvSpPr>
            <p:cNvPr id="67" name="TextBox 66">
              <a:extLst>
                <a:ext uri="{FF2B5EF4-FFF2-40B4-BE49-F238E27FC236}">
                  <a16:creationId xmlns:a16="http://schemas.microsoft.com/office/drawing/2014/main" id="{FB22E602-F5E8-F549-B709-653F5ED78E9A}"/>
                </a:ext>
              </a:extLst>
            </p:cNvPr>
            <p:cNvSpPr txBox="1"/>
            <p:nvPr userDrawn="1"/>
          </p:nvSpPr>
          <p:spPr>
            <a:xfrm>
              <a:off x="9683170" y="2629868"/>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68" name="TextBox 67">
              <a:extLst>
                <a:ext uri="{FF2B5EF4-FFF2-40B4-BE49-F238E27FC236}">
                  <a16:creationId xmlns:a16="http://schemas.microsoft.com/office/drawing/2014/main" id="{D1EAB1B9-8082-D946-8E99-B3E0046C15E3}"/>
                </a:ext>
              </a:extLst>
            </p:cNvPr>
            <p:cNvSpPr txBox="1"/>
            <p:nvPr userDrawn="1"/>
          </p:nvSpPr>
          <p:spPr>
            <a:xfrm>
              <a:off x="9671011" y="3060431"/>
              <a:ext cx="2374733"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 </a:t>
              </a:r>
              <a:br>
                <a:rPr lang="en-US" sz="700" dirty="0"/>
              </a:br>
              <a:r>
                <a:rPr lang="en-US" sz="700" dirty="0"/>
                <a:t>In this case use one of the other methods.</a:t>
              </a:r>
            </a:p>
          </p:txBody>
        </p:sp>
      </p:grpSp>
    </p:spTree>
    <p:extLst>
      <p:ext uri="{BB962C8B-B14F-4D97-AF65-F5344CB8AC3E}">
        <p14:creationId xmlns:p14="http://schemas.microsoft.com/office/powerpoint/2010/main" val="2736136070"/>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One Graphic">
    <p:spTree>
      <p:nvGrpSpPr>
        <p:cNvPr id="1" name=""/>
        <p:cNvGrpSpPr/>
        <p:nvPr/>
      </p:nvGrpSpPr>
      <p:grpSpPr>
        <a:xfrm>
          <a:off x="0" y="0"/>
          <a:ext cx="0" cy="0"/>
          <a:chOff x="0" y="0"/>
          <a:chExt cx="0" cy="0"/>
        </a:xfrm>
      </p:grpSpPr>
      <p:sp>
        <p:nvSpPr>
          <p:cNvPr id="78" name="Picture Placeholder 77">
            <a:extLst>
              <a:ext uri="{FF2B5EF4-FFF2-40B4-BE49-F238E27FC236}">
                <a16:creationId xmlns:a16="http://schemas.microsoft.com/office/drawing/2014/main" id="{8899C19D-002F-AA43-B794-D3EAED42F093}"/>
              </a:ext>
            </a:extLst>
          </p:cNvPr>
          <p:cNvSpPr>
            <a:spLocks noGrp="1"/>
          </p:cNvSpPr>
          <p:nvPr>
            <p:ph type="pic" sz="quarter" idx="1004" hasCustomPrompt="1"/>
          </p:nvPr>
        </p:nvSpPr>
        <p:spPr>
          <a:xfrm>
            <a:off x="0" y="2"/>
            <a:ext cx="12192000" cy="6857999"/>
          </a:xfrm>
          <a:custGeom>
            <a:avLst/>
            <a:gdLst>
              <a:gd name="connsiteX0" fmla="*/ 8381735 w 9144000"/>
              <a:gd name="connsiteY0" fmla="*/ 6576021 h 6857999"/>
              <a:gd name="connsiteX1" fmla="*/ 8398942 w 9144000"/>
              <a:gd name="connsiteY1" fmla="*/ 6577876 h 6857999"/>
              <a:gd name="connsiteX2" fmla="*/ 8407847 w 9144000"/>
              <a:gd name="connsiteY2" fmla="*/ 6584665 h 6857999"/>
              <a:gd name="connsiteX3" fmla="*/ 8413547 w 9144000"/>
              <a:gd name="connsiteY3" fmla="*/ 6594990 h 6857999"/>
              <a:gd name="connsiteX4" fmla="*/ 8415584 w 9144000"/>
              <a:gd name="connsiteY4" fmla="*/ 6608202 h 6857999"/>
              <a:gd name="connsiteX5" fmla="*/ 8413646 w 9144000"/>
              <a:gd name="connsiteY5" fmla="*/ 6621273 h 6857999"/>
              <a:gd name="connsiteX6" fmla="*/ 8407947 w 9144000"/>
              <a:gd name="connsiteY6" fmla="*/ 6631668 h 6857999"/>
              <a:gd name="connsiteX7" fmla="*/ 8375887 w 9144000"/>
              <a:gd name="connsiteY7" fmla="*/ 6638513 h 6857999"/>
              <a:gd name="connsiteX8" fmla="*/ 8366910 w 9144000"/>
              <a:gd name="connsiteY8" fmla="*/ 6631668 h 6857999"/>
              <a:gd name="connsiteX9" fmla="*/ 8361211 w 9144000"/>
              <a:gd name="connsiteY9" fmla="*/ 6621273 h 6857999"/>
              <a:gd name="connsiteX10" fmla="*/ 8359045 w 9144000"/>
              <a:gd name="connsiteY10" fmla="*/ 6608202 h 6857999"/>
              <a:gd name="connsiteX11" fmla="*/ 8361097 w 9144000"/>
              <a:gd name="connsiteY11" fmla="*/ 6594990 h 6857999"/>
              <a:gd name="connsiteX12" fmla="*/ 8366796 w 9144000"/>
              <a:gd name="connsiteY12" fmla="*/ 6584665 h 6857999"/>
              <a:gd name="connsiteX13" fmla="*/ 8381735 w 9144000"/>
              <a:gd name="connsiteY13" fmla="*/ 6576021 h 6857999"/>
              <a:gd name="connsiteX14" fmla="*/ 8525633 w 9144000"/>
              <a:gd name="connsiteY14" fmla="*/ 6553485 h 6857999"/>
              <a:gd name="connsiteX15" fmla="*/ 8525633 w 9144000"/>
              <a:gd name="connsiteY15" fmla="*/ 6599431 h 6857999"/>
              <a:gd name="connsiteX16" fmla="*/ 8525633 w 9144000"/>
              <a:gd name="connsiteY16" fmla="*/ 6662772 h 6857999"/>
              <a:gd name="connsiteX17" fmla="*/ 8595623 w 9144000"/>
              <a:gd name="connsiteY17" fmla="*/ 6662772 h 6857999"/>
              <a:gd name="connsiteX18" fmla="*/ 8596022 w 9144000"/>
              <a:gd name="connsiteY18" fmla="*/ 6662772 h 6857999"/>
              <a:gd name="connsiteX19" fmla="*/ 8596022 w 9144000"/>
              <a:gd name="connsiteY19" fmla="*/ 6645771 h 6857999"/>
              <a:gd name="connsiteX20" fmla="*/ 8595623 w 9144000"/>
              <a:gd name="connsiteY20" fmla="*/ 6645771 h 6857999"/>
              <a:gd name="connsiteX21" fmla="*/ 8595623 w 9144000"/>
              <a:gd name="connsiteY21" fmla="*/ 6639673 h 6857999"/>
              <a:gd name="connsiteX22" fmla="*/ 8551295 w 9144000"/>
              <a:gd name="connsiteY22" fmla="*/ 6639673 h 6857999"/>
              <a:gd name="connsiteX23" fmla="*/ 8551295 w 9144000"/>
              <a:gd name="connsiteY23" fmla="*/ 6618348 h 6857999"/>
              <a:gd name="connsiteX24" fmla="*/ 8591705 w 9144000"/>
              <a:gd name="connsiteY24" fmla="*/ 6618348 h 6857999"/>
              <a:gd name="connsiteX25" fmla="*/ 8591705 w 9144000"/>
              <a:gd name="connsiteY25" fmla="*/ 6596276 h 6857999"/>
              <a:gd name="connsiteX26" fmla="*/ 8551295 w 9144000"/>
              <a:gd name="connsiteY26" fmla="*/ 6596276 h 6857999"/>
              <a:gd name="connsiteX27" fmla="*/ 8551295 w 9144000"/>
              <a:gd name="connsiteY27" fmla="*/ 6576754 h 6857999"/>
              <a:gd name="connsiteX28" fmla="*/ 8595623 w 9144000"/>
              <a:gd name="connsiteY28" fmla="*/ 6576754 h 6857999"/>
              <a:gd name="connsiteX29" fmla="*/ 8595623 w 9144000"/>
              <a:gd name="connsiteY29" fmla="*/ 6570486 h 6857999"/>
              <a:gd name="connsiteX30" fmla="*/ 8596022 w 9144000"/>
              <a:gd name="connsiteY30" fmla="*/ 6570486 h 6857999"/>
              <a:gd name="connsiteX31" fmla="*/ 8596022 w 9144000"/>
              <a:gd name="connsiteY31" fmla="*/ 6553485 h 6857999"/>
              <a:gd name="connsiteX32" fmla="*/ 8595623 w 9144000"/>
              <a:gd name="connsiteY32" fmla="*/ 6553485 h 6857999"/>
              <a:gd name="connsiteX33" fmla="*/ 8547362 w 9144000"/>
              <a:gd name="connsiteY33" fmla="*/ 6553485 h 6857999"/>
              <a:gd name="connsiteX34" fmla="*/ 8448177 w 9144000"/>
              <a:gd name="connsiteY34" fmla="*/ 6553485 h 6857999"/>
              <a:gd name="connsiteX35" fmla="*/ 8448177 w 9144000"/>
              <a:gd name="connsiteY35" fmla="*/ 6599431 h 6857999"/>
              <a:gd name="connsiteX36" fmla="*/ 8448177 w 9144000"/>
              <a:gd name="connsiteY36" fmla="*/ 6662772 h 6857999"/>
              <a:gd name="connsiteX37" fmla="*/ 8518167 w 9144000"/>
              <a:gd name="connsiteY37" fmla="*/ 6662772 h 6857999"/>
              <a:gd name="connsiteX38" fmla="*/ 8518552 w 9144000"/>
              <a:gd name="connsiteY38" fmla="*/ 6662772 h 6857999"/>
              <a:gd name="connsiteX39" fmla="*/ 8518552 w 9144000"/>
              <a:gd name="connsiteY39" fmla="*/ 6645771 h 6857999"/>
              <a:gd name="connsiteX40" fmla="*/ 8518167 w 9144000"/>
              <a:gd name="connsiteY40" fmla="*/ 6645771 h 6857999"/>
              <a:gd name="connsiteX41" fmla="*/ 8518167 w 9144000"/>
              <a:gd name="connsiteY41" fmla="*/ 6639673 h 6857999"/>
              <a:gd name="connsiteX42" fmla="*/ 8473825 w 9144000"/>
              <a:gd name="connsiteY42" fmla="*/ 6639673 h 6857999"/>
              <a:gd name="connsiteX43" fmla="*/ 8473825 w 9144000"/>
              <a:gd name="connsiteY43" fmla="*/ 6618348 h 6857999"/>
              <a:gd name="connsiteX44" fmla="*/ 8514235 w 9144000"/>
              <a:gd name="connsiteY44" fmla="*/ 6618348 h 6857999"/>
              <a:gd name="connsiteX45" fmla="*/ 8514235 w 9144000"/>
              <a:gd name="connsiteY45" fmla="*/ 6596276 h 6857999"/>
              <a:gd name="connsiteX46" fmla="*/ 8473825 w 9144000"/>
              <a:gd name="connsiteY46" fmla="*/ 6596276 h 6857999"/>
              <a:gd name="connsiteX47" fmla="*/ 8473825 w 9144000"/>
              <a:gd name="connsiteY47" fmla="*/ 6576754 h 6857999"/>
              <a:gd name="connsiteX48" fmla="*/ 8518167 w 9144000"/>
              <a:gd name="connsiteY48" fmla="*/ 6576754 h 6857999"/>
              <a:gd name="connsiteX49" fmla="*/ 8518167 w 9144000"/>
              <a:gd name="connsiteY49" fmla="*/ 6570486 h 6857999"/>
              <a:gd name="connsiteX50" fmla="*/ 8518552 w 9144000"/>
              <a:gd name="connsiteY50" fmla="*/ 6570486 h 6857999"/>
              <a:gd name="connsiteX51" fmla="*/ 8518552 w 9144000"/>
              <a:gd name="connsiteY51" fmla="*/ 6553485 h 6857999"/>
              <a:gd name="connsiteX52" fmla="*/ 8518167 w 9144000"/>
              <a:gd name="connsiteY52" fmla="*/ 6553485 h 6857999"/>
              <a:gd name="connsiteX53" fmla="*/ 8469892 w 9144000"/>
              <a:gd name="connsiteY53" fmla="*/ 6553485 h 6857999"/>
              <a:gd name="connsiteX54" fmla="*/ 8387913 w 9144000"/>
              <a:gd name="connsiteY54" fmla="*/ 6553452 h 6857999"/>
              <a:gd name="connsiteX55" fmla="*/ 8365286 w 9144000"/>
              <a:gd name="connsiteY55" fmla="*/ 6557678 h 6857999"/>
              <a:gd name="connsiteX56" fmla="*/ 8357150 w 9144000"/>
              <a:gd name="connsiteY56" fmla="*/ 6561805 h 6857999"/>
              <a:gd name="connsiteX57" fmla="*/ 8332784 w 9144000"/>
              <a:gd name="connsiteY57" fmla="*/ 6613371 h 6857999"/>
              <a:gd name="connsiteX58" fmla="*/ 8336389 w 9144000"/>
              <a:gd name="connsiteY58" fmla="*/ 6629851 h 6857999"/>
              <a:gd name="connsiteX59" fmla="*/ 8364431 w 9144000"/>
              <a:gd name="connsiteY59" fmla="*/ 6658584 h 6857999"/>
              <a:gd name="connsiteX60" fmla="*/ 8386916 w 9144000"/>
              <a:gd name="connsiteY60" fmla="*/ 6662810 h 6857999"/>
              <a:gd name="connsiteX61" fmla="*/ 8409486 w 9144000"/>
              <a:gd name="connsiteY61" fmla="*/ 6658584 h 6857999"/>
              <a:gd name="connsiteX62" fmla="*/ 8426926 w 9144000"/>
              <a:gd name="connsiteY62" fmla="*/ 6647105 h 6857999"/>
              <a:gd name="connsiteX63" fmla="*/ 8438240 w 9144000"/>
              <a:gd name="connsiteY63" fmla="*/ 6629851 h 6857999"/>
              <a:gd name="connsiteX64" fmla="*/ 8442258 w 9144000"/>
              <a:gd name="connsiteY64" fmla="*/ 6608202 h 6857999"/>
              <a:gd name="connsiteX65" fmla="*/ 8438397 w 9144000"/>
              <a:gd name="connsiteY65" fmla="*/ 6586468 h 6857999"/>
              <a:gd name="connsiteX66" fmla="*/ 8427439 w 9144000"/>
              <a:gd name="connsiteY66" fmla="*/ 6569157 h 6857999"/>
              <a:gd name="connsiteX67" fmla="*/ 8410341 w 9144000"/>
              <a:gd name="connsiteY67" fmla="*/ 6557678 h 6857999"/>
              <a:gd name="connsiteX68" fmla="*/ 8387913 w 9144000"/>
              <a:gd name="connsiteY68" fmla="*/ 6553452 h 6857999"/>
              <a:gd name="connsiteX69" fmla="*/ 8245203 w 9144000"/>
              <a:gd name="connsiteY69" fmla="*/ 6553105 h 6857999"/>
              <a:gd name="connsiteX70" fmla="*/ 8261546 w 9144000"/>
              <a:gd name="connsiteY70" fmla="*/ 6587177 h 6857999"/>
              <a:gd name="connsiteX71" fmla="*/ 8288505 w 9144000"/>
              <a:gd name="connsiteY71" fmla="*/ 6587177 h 6857999"/>
              <a:gd name="connsiteX72" fmla="*/ 8274156 w 9144000"/>
              <a:gd name="connsiteY72" fmla="*/ 6553105 h 6857999"/>
              <a:gd name="connsiteX73" fmla="*/ 8325053 w 9144000"/>
              <a:gd name="connsiteY73" fmla="*/ 6553091 h 6857999"/>
              <a:gd name="connsiteX74" fmla="*/ 8299363 w 9144000"/>
              <a:gd name="connsiteY74" fmla="*/ 6612221 h 6857999"/>
              <a:gd name="connsiteX75" fmla="*/ 8292395 w 9144000"/>
              <a:gd name="connsiteY75" fmla="*/ 6595882 h 6857999"/>
              <a:gd name="connsiteX76" fmla="*/ 8265650 w 9144000"/>
              <a:gd name="connsiteY76" fmla="*/ 6595882 h 6857999"/>
              <a:gd name="connsiteX77" fmla="*/ 8297582 w 9144000"/>
              <a:gd name="connsiteY77" fmla="*/ 6662547 h 6857999"/>
              <a:gd name="connsiteX78" fmla="*/ 8300545 w 9144000"/>
              <a:gd name="connsiteY78" fmla="*/ 6662547 h 6857999"/>
              <a:gd name="connsiteX79" fmla="*/ 8352283 w 9144000"/>
              <a:gd name="connsiteY79" fmla="*/ 6553091 h 6857999"/>
              <a:gd name="connsiteX80" fmla="*/ 8704282 w 9144000"/>
              <a:gd name="connsiteY80" fmla="*/ 6515553 h 6857999"/>
              <a:gd name="connsiteX81" fmla="*/ 8704282 w 9144000"/>
              <a:gd name="connsiteY81" fmla="*/ 6690481 h 6857999"/>
              <a:gd name="connsiteX82" fmla="*/ 8723671 w 9144000"/>
              <a:gd name="connsiteY82" fmla="*/ 6690481 h 6857999"/>
              <a:gd name="connsiteX83" fmla="*/ 8723671 w 9144000"/>
              <a:gd name="connsiteY83" fmla="*/ 6515553 h 6857999"/>
              <a:gd name="connsiteX84" fmla="*/ 0 w 9144000"/>
              <a:gd name="connsiteY84" fmla="*/ 0 h 6857999"/>
              <a:gd name="connsiteX85" fmla="*/ 9144000 w 9144000"/>
              <a:gd name="connsiteY85" fmla="*/ 0 h 6857999"/>
              <a:gd name="connsiteX86" fmla="*/ 9144000 w 9144000"/>
              <a:gd name="connsiteY86" fmla="*/ 6199631 h 6857999"/>
              <a:gd name="connsiteX87" fmla="*/ 9144000 w 9144000"/>
              <a:gd name="connsiteY87" fmla="*/ 6293057 h 6857999"/>
              <a:gd name="connsiteX88" fmla="*/ 9144000 w 9144000"/>
              <a:gd name="connsiteY88" fmla="*/ 6857999 h 6857999"/>
              <a:gd name="connsiteX89" fmla="*/ 8995529 w 9144000"/>
              <a:gd name="connsiteY89" fmla="*/ 6857999 h 6857999"/>
              <a:gd name="connsiteX90" fmla="*/ 7924718 w 9144000"/>
              <a:gd name="connsiteY90" fmla="*/ 6857999 h 6857999"/>
              <a:gd name="connsiteX91" fmla="*/ 0 w 9144000"/>
              <a:gd name="connsiteY91" fmla="*/ 6857999 h 6857999"/>
              <a:gd name="connsiteX92" fmla="*/ 0 w 9144000"/>
              <a:gd name="connsiteY92" fmla="*/ 6293057 h 6857999"/>
              <a:gd name="connsiteX93" fmla="*/ 0 w 9144000"/>
              <a:gd name="connsiteY93" fmla="*/ 619963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9144000" h="6857999">
                <a:moveTo>
                  <a:pt x="8381735" y="6576021"/>
                </a:moveTo>
                <a:cubicBezTo>
                  <a:pt x="8387385" y="6574828"/>
                  <a:pt x="8393413" y="6575384"/>
                  <a:pt x="8398942" y="6577876"/>
                </a:cubicBezTo>
                <a:cubicBezTo>
                  <a:pt x="8402361" y="6579494"/>
                  <a:pt x="8405396" y="6581807"/>
                  <a:pt x="8407847" y="6584665"/>
                </a:cubicBezTo>
                <a:cubicBezTo>
                  <a:pt x="8410387" y="6587722"/>
                  <a:pt x="8412320" y="6591225"/>
                  <a:pt x="8413547" y="6594990"/>
                </a:cubicBezTo>
                <a:cubicBezTo>
                  <a:pt x="8414952" y="6599254"/>
                  <a:pt x="8415640" y="6603717"/>
                  <a:pt x="8415584" y="6608202"/>
                </a:cubicBezTo>
                <a:cubicBezTo>
                  <a:pt x="8415665" y="6612634"/>
                  <a:pt x="8415011" y="6617050"/>
                  <a:pt x="8413646" y="6621273"/>
                </a:cubicBezTo>
                <a:cubicBezTo>
                  <a:pt x="8412411" y="6625055"/>
                  <a:pt x="8410478" y="6628579"/>
                  <a:pt x="8407947" y="6631668"/>
                </a:cubicBezTo>
                <a:cubicBezTo>
                  <a:pt x="8399972" y="6640714"/>
                  <a:pt x="8386928" y="6643499"/>
                  <a:pt x="8375887" y="6638513"/>
                </a:cubicBezTo>
                <a:cubicBezTo>
                  <a:pt x="8372423" y="6636910"/>
                  <a:pt x="8369358" y="6634573"/>
                  <a:pt x="8366910" y="6631668"/>
                </a:cubicBezTo>
                <a:cubicBezTo>
                  <a:pt x="8364379" y="6628579"/>
                  <a:pt x="8362446" y="6625055"/>
                  <a:pt x="8361211" y="6621273"/>
                </a:cubicBezTo>
                <a:cubicBezTo>
                  <a:pt x="8359769" y="6617062"/>
                  <a:pt x="8359038" y="6612646"/>
                  <a:pt x="8359045" y="6608202"/>
                </a:cubicBezTo>
                <a:cubicBezTo>
                  <a:pt x="8358993" y="6603716"/>
                  <a:pt x="8359686" y="6599253"/>
                  <a:pt x="8361097" y="6594990"/>
                </a:cubicBezTo>
                <a:cubicBezTo>
                  <a:pt x="8362323" y="6591225"/>
                  <a:pt x="8364257" y="6587722"/>
                  <a:pt x="8366796" y="6584665"/>
                </a:cubicBezTo>
                <a:cubicBezTo>
                  <a:pt x="8370813" y="6580157"/>
                  <a:pt x="8376085" y="6577214"/>
                  <a:pt x="8381735" y="6576021"/>
                </a:cubicBezTo>
                <a:close/>
                <a:moveTo>
                  <a:pt x="8525633" y="6553485"/>
                </a:moveTo>
                <a:lnTo>
                  <a:pt x="8525633" y="6599431"/>
                </a:lnTo>
                <a:lnTo>
                  <a:pt x="8525633" y="6662772"/>
                </a:lnTo>
                <a:lnTo>
                  <a:pt x="8595623" y="6662772"/>
                </a:lnTo>
                <a:lnTo>
                  <a:pt x="8596022" y="6662772"/>
                </a:lnTo>
                <a:lnTo>
                  <a:pt x="8596022" y="6645771"/>
                </a:lnTo>
                <a:lnTo>
                  <a:pt x="8595623" y="6645771"/>
                </a:lnTo>
                <a:lnTo>
                  <a:pt x="8595623" y="6639673"/>
                </a:lnTo>
                <a:lnTo>
                  <a:pt x="8551295" y="6639673"/>
                </a:lnTo>
                <a:lnTo>
                  <a:pt x="8551295" y="6618348"/>
                </a:lnTo>
                <a:lnTo>
                  <a:pt x="8591705" y="6618348"/>
                </a:lnTo>
                <a:lnTo>
                  <a:pt x="8591705" y="6596276"/>
                </a:lnTo>
                <a:lnTo>
                  <a:pt x="8551295" y="6596276"/>
                </a:lnTo>
                <a:lnTo>
                  <a:pt x="8551295" y="6576754"/>
                </a:lnTo>
                <a:lnTo>
                  <a:pt x="8595623" y="6576754"/>
                </a:lnTo>
                <a:lnTo>
                  <a:pt x="8595623" y="6570486"/>
                </a:lnTo>
                <a:lnTo>
                  <a:pt x="8596022" y="6570486"/>
                </a:lnTo>
                <a:lnTo>
                  <a:pt x="8596022" y="6553485"/>
                </a:lnTo>
                <a:lnTo>
                  <a:pt x="8595623" y="6553485"/>
                </a:lnTo>
                <a:lnTo>
                  <a:pt x="8547362" y="6553485"/>
                </a:lnTo>
                <a:close/>
                <a:moveTo>
                  <a:pt x="8448177" y="6553485"/>
                </a:moveTo>
                <a:lnTo>
                  <a:pt x="8448177" y="6599431"/>
                </a:lnTo>
                <a:lnTo>
                  <a:pt x="8448177" y="6662772"/>
                </a:lnTo>
                <a:lnTo>
                  <a:pt x="8518167" y="6662772"/>
                </a:lnTo>
                <a:lnTo>
                  <a:pt x="8518552" y="6662772"/>
                </a:lnTo>
                <a:lnTo>
                  <a:pt x="8518552" y="6645771"/>
                </a:lnTo>
                <a:lnTo>
                  <a:pt x="8518167" y="6645771"/>
                </a:lnTo>
                <a:lnTo>
                  <a:pt x="8518167" y="6639673"/>
                </a:lnTo>
                <a:lnTo>
                  <a:pt x="8473825" y="6639673"/>
                </a:lnTo>
                <a:lnTo>
                  <a:pt x="8473825" y="6618348"/>
                </a:lnTo>
                <a:lnTo>
                  <a:pt x="8514235" y="6618348"/>
                </a:lnTo>
                <a:lnTo>
                  <a:pt x="8514235" y="6596276"/>
                </a:lnTo>
                <a:lnTo>
                  <a:pt x="8473825" y="6596276"/>
                </a:lnTo>
                <a:lnTo>
                  <a:pt x="8473825" y="6576754"/>
                </a:lnTo>
                <a:lnTo>
                  <a:pt x="8518167" y="6576754"/>
                </a:lnTo>
                <a:lnTo>
                  <a:pt x="8518167" y="6570486"/>
                </a:lnTo>
                <a:lnTo>
                  <a:pt x="8518552" y="6570486"/>
                </a:lnTo>
                <a:lnTo>
                  <a:pt x="8518552" y="6553485"/>
                </a:lnTo>
                <a:lnTo>
                  <a:pt x="8518167" y="6553485"/>
                </a:lnTo>
                <a:lnTo>
                  <a:pt x="8469892" y="6553485"/>
                </a:lnTo>
                <a:close/>
                <a:moveTo>
                  <a:pt x="8387913" y="6553452"/>
                </a:moveTo>
                <a:cubicBezTo>
                  <a:pt x="8380162" y="6553368"/>
                  <a:pt x="8372471" y="6554804"/>
                  <a:pt x="8365286" y="6557678"/>
                </a:cubicBezTo>
                <a:cubicBezTo>
                  <a:pt x="8362463" y="6558829"/>
                  <a:pt x="8359742" y="6560210"/>
                  <a:pt x="8357150" y="6561805"/>
                </a:cubicBezTo>
                <a:lnTo>
                  <a:pt x="8332784" y="6613371"/>
                </a:lnTo>
                <a:cubicBezTo>
                  <a:pt x="8333178" y="6619007"/>
                  <a:pt x="8334392" y="6624557"/>
                  <a:pt x="8336389" y="6629851"/>
                </a:cubicBezTo>
                <a:cubicBezTo>
                  <a:pt x="8341193" y="6642925"/>
                  <a:pt x="8351385" y="6653369"/>
                  <a:pt x="8364431" y="6658584"/>
                </a:cubicBezTo>
                <a:cubicBezTo>
                  <a:pt x="8371564" y="6661468"/>
                  <a:pt x="8379210" y="6662905"/>
                  <a:pt x="8386916" y="6662810"/>
                </a:cubicBezTo>
                <a:cubicBezTo>
                  <a:pt x="8394648" y="6662897"/>
                  <a:pt x="8402321" y="6661461"/>
                  <a:pt x="8409486" y="6658584"/>
                </a:cubicBezTo>
                <a:cubicBezTo>
                  <a:pt x="8416013" y="6655942"/>
                  <a:pt x="8421943" y="6652040"/>
                  <a:pt x="8426926" y="6647105"/>
                </a:cubicBezTo>
                <a:cubicBezTo>
                  <a:pt x="8431850" y="6642178"/>
                  <a:pt x="8435700" y="6636305"/>
                  <a:pt x="8438240" y="6629851"/>
                </a:cubicBezTo>
                <a:cubicBezTo>
                  <a:pt x="8440974" y="6622957"/>
                  <a:pt x="8442338" y="6615606"/>
                  <a:pt x="8442258" y="6608202"/>
                </a:cubicBezTo>
                <a:cubicBezTo>
                  <a:pt x="8442328" y="6600784"/>
                  <a:pt x="8441019" y="6593418"/>
                  <a:pt x="8438397" y="6586468"/>
                </a:cubicBezTo>
                <a:cubicBezTo>
                  <a:pt x="8435967" y="6580024"/>
                  <a:pt x="8432239" y="6574135"/>
                  <a:pt x="8427439" y="6569157"/>
                </a:cubicBezTo>
                <a:cubicBezTo>
                  <a:pt x="8422597" y="6564211"/>
                  <a:pt x="8416777" y="6560304"/>
                  <a:pt x="8410341" y="6557678"/>
                </a:cubicBezTo>
                <a:cubicBezTo>
                  <a:pt x="8403230" y="6554788"/>
                  <a:pt x="8395601" y="6553351"/>
                  <a:pt x="8387913" y="6553452"/>
                </a:cubicBezTo>
                <a:close/>
                <a:moveTo>
                  <a:pt x="8245203" y="6553105"/>
                </a:moveTo>
                <a:lnTo>
                  <a:pt x="8261546" y="6587177"/>
                </a:lnTo>
                <a:lnTo>
                  <a:pt x="8288505" y="6587177"/>
                </a:lnTo>
                <a:lnTo>
                  <a:pt x="8274156" y="6553105"/>
                </a:lnTo>
                <a:close/>
                <a:moveTo>
                  <a:pt x="8325053" y="6553091"/>
                </a:moveTo>
                <a:lnTo>
                  <a:pt x="8299363" y="6612221"/>
                </a:lnTo>
                <a:lnTo>
                  <a:pt x="8292395" y="6595882"/>
                </a:lnTo>
                <a:lnTo>
                  <a:pt x="8265650" y="6595882"/>
                </a:lnTo>
                <a:lnTo>
                  <a:pt x="8297582" y="6662547"/>
                </a:lnTo>
                <a:lnTo>
                  <a:pt x="8300545" y="6662547"/>
                </a:lnTo>
                <a:lnTo>
                  <a:pt x="8352283" y="6553091"/>
                </a:lnTo>
                <a:close/>
                <a:moveTo>
                  <a:pt x="8704282" y="6515553"/>
                </a:moveTo>
                <a:lnTo>
                  <a:pt x="8704282" y="6690481"/>
                </a:lnTo>
                <a:lnTo>
                  <a:pt x="8723671" y="6690481"/>
                </a:lnTo>
                <a:lnTo>
                  <a:pt x="8723671" y="6515553"/>
                </a:lnTo>
                <a:close/>
                <a:moveTo>
                  <a:pt x="0" y="0"/>
                </a:moveTo>
                <a:lnTo>
                  <a:pt x="9144000" y="0"/>
                </a:lnTo>
                <a:lnTo>
                  <a:pt x="9144000" y="6199631"/>
                </a:lnTo>
                <a:lnTo>
                  <a:pt x="9144000" y="6293057"/>
                </a:lnTo>
                <a:lnTo>
                  <a:pt x="9144000" y="6857999"/>
                </a:lnTo>
                <a:lnTo>
                  <a:pt x="8995529" y="6857999"/>
                </a:lnTo>
                <a:lnTo>
                  <a:pt x="7924718" y="6857999"/>
                </a:lnTo>
                <a:lnTo>
                  <a:pt x="0" y="6857999"/>
                </a:lnTo>
                <a:lnTo>
                  <a:pt x="0" y="6293057"/>
                </a:lnTo>
                <a:lnTo>
                  <a:pt x="0" y="6199631"/>
                </a:lnTo>
                <a:close/>
              </a:path>
            </a:pathLst>
          </a:custGeom>
          <a:solidFill>
            <a:srgbClr val="E8F3FD"/>
          </a:solidFill>
        </p:spPr>
        <p:txBody>
          <a:bodyPr wrap="square" anchor="ctr">
            <a:noAutofit/>
          </a:bodyPr>
          <a:lstStyle>
            <a:lvl1pPr algn="ctr">
              <a:defRPr b="0">
                <a:solidFill>
                  <a:schemeClr val="tx1">
                    <a:lumMod val="50000"/>
                    <a:lumOff val="50000"/>
                  </a:schemeClr>
                </a:solidFill>
              </a:defRPr>
            </a:lvl1pPr>
          </a:lstStyle>
          <a:p>
            <a:r>
              <a:rPr lang="en-US" dirty="0"/>
              <a:t>Click icon to add a pre-designed graphic</a:t>
            </a:r>
            <a:br>
              <a:rPr lang="en-US" dirty="0"/>
            </a:br>
            <a:r>
              <a:rPr lang="en-US" dirty="0"/>
              <a:t>(e.g. ranking, quote, or map)</a:t>
            </a:r>
          </a:p>
        </p:txBody>
      </p:sp>
      <p:sp>
        <p:nvSpPr>
          <p:cNvPr id="5" name="Title 4">
            <a:extLst>
              <a:ext uri="{FF2B5EF4-FFF2-40B4-BE49-F238E27FC236}">
                <a16:creationId xmlns:a16="http://schemas.microsoft.com/office/drawing/2014/main" id="{4D5405C3-B529-8445-891B-5DC49F4AC2AA}"/>
              </a:ext>
            </a:extLst>
          </p:cNvPr>
          <p:cNvSpPr>
            <a:spLocks noGrp="1"/>
          </p:cNvSpPr>
          <p:nvPr userDrawn="1">
            <p:ph type="title" hasCustomPrompt="1"/>
          </p:nvPr>
        </p:nvSpPr>
        <p:spPr/>
        <p:txBody>
          <a:bodyPr/>
          <a:lstStyle/>
          <a:p>
            <a:r>
              <a:rPr lang="en-US" dirty="0"/>
              <a:t>CLICK TO ADD Slide TITLE. ALL CAPS. TWO LINES max.</a:t>
            </a:r>
          </a:p>
        </p:txBody>
      </p:sp>
      <p:sp>
        <p:nvSpPr>
          <p:cNvPr id="1000" name="Footnotes Placeholder">
            <a:extLst>
              <a:ext uri="{FF2B5EF4-FFF2-40B4-BE49-F238E27FC236}">
                <a16:creationId xmlns:a16="http://schemas.microsoft.com/office/drawing/2014/main" id="{7689135C-1344-F94E-8F1C-BE454F6FBFBE}"/>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3" name="Date Placeholder 2">
            <a:extLst>
              <a:ext uri="{FF2B5EF4-FFF2-40B4-BE49-F238E27FC236}">
                <a16:creationId xmlns:a16="http://schemas.microsoft.com/office/drawing/2014/main" id="{10B0DF10-D944-7E44-8C33-475A3A1A8A9D}"/>
              </a:ext>
            </a:extLst>
          </p:cNvPr>
          <p:cNvSpPr>
            <a:spLocks noGrp="1"/>
          </p:cNvSpPr>
          <p:nvPr>
            <p:ph type="dt" sz="half" idx="101"/>
          </p:nvPr>
        </p:nvSpPr>
        <p:spPr/>
        <p:txBody>
          <a:bodyPr/>
          <a:lstStyle/>
          <a:p>
            <a:endParaRPr lang="en-US" dirty="0"/>
          </a:p>
        </p:txBody>
      </p:sp>
      <p:sp>
        <p:nvSpPr>
          <p:cNvPr id="7" name="Footer Placeholder 6">
            <a:extLst>
              <a:ext uri="{FF2B5EF4-FFF2-40B4-BE49-F238E27FC236}">
                <a16:creationId xmlns:a16="http://schemas.microsoft.com/office/drawing/2014/main" id="{2C4CCAAA-DF95-7842-8BC9-3F8AB6B46ED7}"/>
              </a:ext>
            </a:extLst>
          </p:cNvPr>
          <p:cNvSpPr>
            <a:spLocks noGrp="1"/>
          </p:cNvSpPr>
          <p:nvPr>
            <p:ph type="ftr" sz="quarter" idx="102"/>
          </p:nvPr>
        </p:nvSpPr>
        <p:spPr/>
        <p:txBody>
          <a:bodyPr/>
          <a:lstStyle/>
          <a:p>
            <a:endParaRPr lang="en-US" dirty="0"/>
          </a:p>
        </p:txBody>
      </p:sp>
      <p:sp>
        <p:nvSpPr>
          <p:cNvPr id="8" name="Slide Number Placeholder 7">
            <a:extLst>
              <a:ext uri="{FF2B5EF4-FFF2-40B4-BE49-F238E27FC236}">
                <a16:creationId xmlns:a16="http://schemas.microsoft.com/office/drawing/2014/main" id="{77E60850-6391-3041-B4D0-C92867F3DEB4}"/>
              </a:ext>
            </a:extLst>
          </p:cNvPr>
          <p:cNvSpPr>
            <a:spLocks noGrp="1"/>
          </p:cNvSpPr>
          <p:nvPr>
            <p:ph type="sldNum" sz="quarter" idx="103"/>
          </p:nvPr>
        </p:nvSpPr>
        <p:spPr>
          <a:noFill/>
        </p:spPr>
        <p:txBody>
          <a:bodyPr/>
          <a:lstStyle/>
          <a:p>
            <a:pPr marL="12700"/>
            <a:fld id="{078C017C-E1B9-8443-B047-B08AAA027B45}" type="slidenum">
              <a:rPr lang="en-US" smtClean="0"/>
              <a:pPr marL="12700"/>
              <a:t>‹#›</a:t>
            </a:fld>
            <a:endParaRPr lang="en-US" dirty="0"/>
          </a:p>
        </p:txBody>
      </p:sp>
      <p:grpSp>
        <p:nvGrpSpPr>
          <p:cNvPr id="44" name="Group 43">
            <a:extLst>
              <a:ext uri="{FF2B5EF4-FFF2-40B4-BE49-F238E27FC236}">
                <a16:creationId xmlns:a16="http://schemas.microsoft.com/office/drawing/2014/main" id="{67D02F64-F08E-0F4E-B529-5BC62DBE3DF1}"/>
              </a:ext>
            </a:extLst>
          </p:cNvPr>
          <p:cNvGrpSpPr/>
          <p:nvPr userDrawn="1"/>
        </p:nvGrpSpPr>
        <p:grpSpPr>
          <a:xfrm>
            <a:off x="12532243" y="-1"/>
            <a:ext cx="3832280" cy="6858001"/>
            <a:chOff x="9144000" y="-1"/>
            <a:chExt cx="2874210" cy="6858001"/>
          </a:xfrm>
        </p:grpSpPr>
        <p:sp>
          <p:nvSpPr>
            <p:cNvPr id="51" name="Rectangle 50">
              <a:extLst>
                <a:ext uri="{FF2B5EF4-FFF2-40B4-BE49-F238E27FC236}">
                  <a16:creationId xmlns:a16="http://schemas.microsoft.com/office/drawing/2014/main" id="{B502E77A-94C0-9946-8D2F-BE9E8B1B62E9}"/>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grpSp>
          <p:nvGrpSpPr>
            <p:cNvPr id="52" name="Group 51">
              <a:extLst>
                <a:ext uri="{FF2B5EF4-FFF2-40B4-BE49-F238E27FC236}">
                  <a16:creationId xmlns:a16="http://schemas.microsoft.com/office/drawing/2014/main" id="{527EA42E-6AC0-B547-9370-A426FC3DA920}"/>
                </a:ext>
              </a:extLst>
            </p:cNvPr>
            <p:cNvGrpSpPr/>
            <p:nvPr userDrawn="1"/>
          </p:nvGrpSpPr>
          <p:grpSpPr>
            <a:xfrm>
              <a:off x="9263395" y="150289"/>
              <a:ext cx="2754815" cy="6013825"/>
              <a:chOff x="9266651" y="185338"/>
              <a:chExt cx="2754815" cy="6013825"/>
            </a:xfrm>
          </p:grpSpPr>
          <p:sp>
            <p:nvSpPr>
              <p:cNvPr id="53" name="TextBox 52">
                <a:extLst>
                  <a:ext uri="{FF2B5EF4-FFF2-40B4-BE49-F238E27FC236}">
                    <a16:creationId xmlns:a16="http://schemas.microsoft.com/office/drawing/2014/main" id="{318F7B6C-E16E-7A45-B2AD-D99A7D30D7AC}"/>
                  </a:ext>
                </a:extLst>
              </p:cNvPr>
              <p:cNvSpPr txBox="1"/>
              <p:nvPr userDrawn="1"/>
            </p:nvSpPr>
            <p:spPr>
              <a:xfrm>
                <a:off x="9303325" y="18533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54" name="Straight Connector 53">
                <a:extLst>
                  <a:ext uri="{FF2B5EF4-FFF2-40B4-BE49-F238E27FC236}">
                    <a16:creationId xmlns:a16="http://schemas.microsoft.com/office/drawing/2014/main" id="{AA79330A-89D2-B64E-BB5A-387368250368}"/>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9688A793-3D82-5747-92B2-2E732EDCE5AE}"/>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56" name="Group 55">
                <a:extLst>
                  <a:ext uri="{FF2B5EF4-FFF2-40B4-BE49-F238E27FC236}">
                    <a16:creationId xmlns:a16="http://schemas.microsoft.com/office/drawing/2014/main" id="{B6DBEC5E-BD0E-9241-A3E4-2F56C03C1A05}"/>
                  </a:ext>
                </a:extLst>
              </p:cNvPr>
              <p:cNvGrpSpPr/>
              <p:nvPr userDrawn="1"/>
            </p:nvGrpSpPr>
            <p:grpSpPr>
              <a:xfrm>
                <a:off x="9286315" y="4787848"/>
                <a:ext cx="2735151" cy="1411315"/>
                <a:chOff x="9296567" y="4910411"/>
                <a:chExt cx="2735151" cy="1411315"/>
              </a:xfrm>
            </p:grpSpPr>
            <p:sp>
              <p:nvSpPr>
                <p:cNvPr id="71" name="Rectangle 70">
                  <a:extLst>
                    <a:ext uri="{FF2B5EF4-FFF2-40B4-BE49-F238E27FC236}">
                      <a16:creationId xmlns:a16="http://schemas.microsoft.com/office/drawing/2014/main" id="{FFA48DED-F3DA-EC47-97E5-E6739BF46422}"/>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2" name="TextBox 71">
                  <a:extLst>
                    <a:ext uri="{FF2B5EF4-FFF2-40B4-BE49-F238E27FC236}">
                      <a16:creationId xmlns:a16="http://schemas.microsoft.com/office/drawing/2014/main" id="{82CFB4CC-B76D-A94D-AB78-1A7F4E4CE9E0}"/>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73" name="Graphic 72">
                  <a:extLst>
                    <a:ext uri="{FF2B5EF4-FFF2-40B4-BE49-F238E27FC236}">
                      <a16:creationId xmlns:a16="http://schemas.microsoft.com/office/drawing/2014/main" id="{786BEA28-9B2D-2C46-85BC-0D2CF1D6365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74" name="TextBox 73">
                  <a:extLst>
                    <a:ext uri="{FF2B5EF4-FFF2-40B4-BE49-F238E27FC236}">
                      <a16:creationId xmlns:a16="http://schemas.microsoft.com/office/drawing/2014/main" id="{71831B6F-88D4-2D4F-9998-C1B41572775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5" name="TextBox 74">
                  <a:extLst>
                    <a:ext uri="{FF2B5EF4-FFF2-40B4-BE49-F238E27FC236}">
                      <a16:creationId xmlns:a16="http://schemas.microsoft.com/office/drawing/2014/main" id="{EFBA3B08-C039-6D48-BC25-182C2C66DF32}"/>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6" name="TextBox 75">
                  <a:extLst>
                    <a:ext uri="{FF2B5EF4-FFF2-40B4-BE49-F238E27FC236}">
                      <a16:creationId xmlns:a16="http://schemas.microsoft.com/office/drawing/2014/main" id="{5FCB126F-01A3-9A47-AD52-F8C4B63FEC23}"/>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57" name="Group 56">
                <a:extLst>
                  <a:ext uri="{FF2B5EF4-FFF2-40B4-BE49-F238E27FC236}">
                    <a16:creationId xmlns:a16="http://schemas.microsoft.com/office/drawing/2014/main" id="{6136081A-ADDF-5648-821B-4397ABC813A2}"/>
                  </a:ext>
                </a:extLst>
              </p:cNvPr>
              <p:cNvGrpSpPr/>
              <p:nvPr userDrawn="1"/>
            </p:nvGrpSpPr>
            <p:grpSpPr>
              <a:xfrm>
                <a:off x="9286315" y="3431192"/>
                <a:ext cx="2735151" cy="1280928"/>
                <a:chOff x="9286315" y="6976989"/>
                <a:chExt cx="2735151" cy="1280928"/>
              </a:xfrm>
            </p:grpSpPr>
            <p:sp>
              <p:nvSpPr>
                <p:cNvPr id="66" name="Rectangle 65">
                  <a:extLst>
                    <a:ext uri="{FF2B5EF4-FFF2-40B4-BE49-F238E27FC236}">
                      <a16:creationId xmlns:a16="http://schemas.microsoft.com/office/drawing/2014/main" id="{A1A968B8-5BC5-284F-898B-B6637A41DEF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7" name="TextBox 66">
                  <a:extLst>
                    <a:ext uri="{FF2B5EF4-FFF2-40B4-BE49-F238E27FC236}">
                      <a16:creationId xmlns:a16="http://schemas.microsoft.com/office/drawing/2014/main" id="{51A95283-5490-1742-84A3-68783BE5430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8" name="Graphic 67">
                  <a:extLst>
                    <a:ext uri="{FF2B5EF4-FFF2-40B4-BE49-F238E27FC236}">
                      <a16:creationId xmlns:a16="http://schemas.microsoft.com/office/drawing/2014/main" id="{986C6630-8E1B-6642-9DBA-0BE12B3DE85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69" name="TextBox 68">
                  <a:extLst>
                    <a:ext uri="{FF2B5EF4-FFF2-40B4-BE49-F238E27FC236}">
                      <a16:creationId xmlns:a16="http://schemas.microsoft.com/office/drawing/2014/main" id="{F073B232-F982-1B48-B310-DCE7A95E03B2}"/>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70" name="Picture 69">
                  <a:extLst>
                    <a:ext uri="{FF2B5EF4-FFF2-40B4-BE49-F238E27FC236}">
                      <a16:creationId xmlns:a16="http://schemas.microsoft.com/office/drawing/2014/main" id="{808FFCB2-7DF3-CA48-B29E-9FEAAB8F2B7D}"/>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58" name="Group 57">
                <a:extLst>
                  <a:ext uri="{FF2B5EF4-FFF2-40B4-BE49-F238E27FC236}">
                    <a16:creationId xmlns:a16="http://schemas.microsoft.com/office/drawing/2014/main" id="{07236D2B-D298-EB49-8ABB-E7D7376416F2}"/>
                  </a:ext>
                </a:extLst>
              </p:cNvPr>
              <p:cNvGrpSpPr/>
              <p:nvPr userDrawn="1"/>
            </p:nvGrpSpPr>
            <p:grpSpPr>
              <a:xfrm>
                <a:off x="9266651" y="510458"/>
                <a:ext cx="2617883" cy="651460"/>
                <a:chOff x="12352022" y="513115"/>
                <a:chExt cx="2617883" cy="651460"/>
              </a:xfrm>
            </p:grpSpPr>
            <p:sp>
              <p:nvSpPr>
                <p:cNvPr id="63" name="TextBox 62">
                  <a:extLst>
                    <a:ext uri="{FF2B5EF4-FFF2-40B4-BE49-F238E27FC236}">
                      <a16:creationId xmlns:a16="http://schemas.microsoft.com/office/drawing/2014/main" id="{A2A47C15-08E4-7049-935A-EDE4F9DCF822}"/>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4" name="TextBox 63">
                  <a:extLst>
                    <a:ext uri="{FF2B5EF4-FFF2-40B4-BE49-F238E27FC236}">
                      <a16:creationId xmlns:a16="http://schemas.microsoft.com/office/drawing/2014/main" id="{FC6539D2-0500-124D-81F7-76B67EA90792}"/>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65" name="TextBox 64">
                  <a:extLst>
                    <a:ext uri="{FF2B5EF4-FFF2-40B4-BE49-F238E27FC236}">
                      <a16:creationId xmlns:a16="http://schemas.microsoft.com/office/drawing/2014/main" id="{F1F80A10-B10E-A846-8794-521C2A75678D}"/>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59" name="TextBox 58">
                <a:extLst>
                  <a:ext uri="{FF2B5EF4-FFF2-40B4-BE49-F238E27FC236}">
                    <a16:creationId xmlns:a16="http://schemas.microsoft.com/office/drawing/2014/main" id="{170F57E5-FA5E-C04D-ABAC-987519A35248}"/>
                  </a:ext>
                </a:extLst>
              </p:cNvPr>
              <p:cNvSpPr txBox="1"/>
              <p:nvPr userDrawn="1"/>
            </p:nvSpPr>
            <p:spPr>
              <a:xfrm>
                <a:off x="9419085" y="152957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60" name="TextBox 59">
                <a:extLst>
                  <a:ext uri="{FF2B5EF4-FFF2-40B4-BE49-F238E27FC236}">
                    <a16:creationId xmlns:a16="http://schemas.microsoft.com/office/drawing/2014/main" id="{54C63403-02A3-EB42-BBF7-B19D923AF7CB}"/>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61" name="TextBox 60">
                <a:extLst>
                  <a:ext uri="{FF2B5EF4-FFF2-40B4-BE49-F238E27FC236}">
                    <a16:creationId xmlns:a16="http://schemas.microsoft.com/office/drawing/2014/main" id="{73B0C4AD-7511-3A44-A092-8D4C4CCE19ED}"/>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62" name="TextBox 61">
                <a:extLst>
                  <a:ext uri="{FF2B5EF4-FFF2-40B4-BE49-F238E27FC236}">
                    <a16:creationId xmlns:a16="http://schemas.microsoft.com/office/drawing/2014/main" id="{9689DDA7-3FF5-0447-8D1D-746B7CEB0585}"/>
                  </a:ext>
                </a:extLst>
              </p:cNvPr>
              <p:cNvSpPr txBox="1"/>
              <p:nvPr userDrawn="1"/>
            </p:nvSpPr>
            <p:spPr>
              <a:xfrm>
                <a:off x="9419085" y="3095480"/>
                <a:ext cx="2374733"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327045154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One Graphic (Dark)">
    <p:bg>
      <p:bgPr>
        <a:solidFill>
          <a:schemeClr val="bg1"/>
        </a:solidFill>
        <a:effectLst/>
      </p:bgPr>
    </p:bg>
    <p:spTree>
      <p:nvGrpSpPr>
        <p:cNvPr id="1" name=""/>
        <p:cNvGrpSpPr/>
        <p:nvPr/>
      </p:nvGrpSpPr>
      <p:grpSpPr>
        <a:xfrm>
          <a:off x="0" y="0"/>
          <a:ext cx="0" cy="0"/>
          <a:chOff x="0" y="0"/>
          <a:chExt cx="0" cy="0"/>
        </a:xfrm>
      </p:grpSpPr>
      <p:sp>
        <p:nvSpPr>
          <p:cNvPr id="55" name="Picture Placeholder 54">
            <a:extLst>
              <a:ext uri="{FF2B5EF4-FFF2-40B4-BE49-F238E27FC236}">
                <a16:creationId xmlns:a16="http://schemas.microsoft.com/office/drawing/2014/main" id="{07BBE168-1AF7-B444-B06D-63574329D9FB}"/>
              </a:ext>
            </a:extLst>
          </p:cNvPr>
          <p:cNvSpPr>
            <a:spLocks noGrp="1"/>
          </p:cNvSpPr>
          <p:nvPr>
            <p:ph type="pic" sz="quarter" idx="10" hasCustomPrompt="1"/>
          </p:nvPr>
        </p:nvSpPr>
        <p:spPr>
          <a:xfrm>
            <a:off x="0" y="0"/>
            <a:ext cx="12192000" cy="6858000"/>
          </a:xfrm>
          <a:custGeom>
            <a:avLst/>
            <a:gdLst>
              <a:gd name="connsiteX0" fmla="*/ 8381735 w 9144000"/>
              <a:gd name="connsiteY0" fmla="*/ 6576022 h 6858000"/>
              <a:gd name="connsiteX1" fmla="*/ 8398942 w 9144000"/>
              <a:gd name="connsiteY1" fmla="*/ 6577877 h 6858000"/>
              <a:gd name="connsiteX2" fmla="*/ 8407847 w 9144000"/>
              <a:gd name="connsiteY2" fmla="*/ 6584666 h 6858000"/>
              <a:gd name="connsiteX3" fmla="*/ 8413547 w 9144000"/>
              <a:gd name="connsiteY3" fmla="*/ 6594991 h 6858000"/>
              <a:gd name="connsiteX4" fmla="*/ 8415584 w 9144000"/>
              <a:gd name="connsiteY4" fmla="*/ 6608203 h 6858000"/>
              <a:gd name="connsiteX5" fmla="*/ 8413646 w 9144000"/>
              <a:gd name="connsiteY5" fmla="*/ 6621274 h 6858000"/>
              <a:gd name="connsiteX6" fmla="*/ 8407947 w 9144000"/>
              <a:gd name="connsiteY6" fmla="*/ 6631669 h 6858000"/>
              <a:gd name="connsiteX7" fmla="*/ 8375887 w 9144000"/>
              <a:gd name="connsiteY7" fmla="*/ 6638514 h 6858000"/>
              <a:gd name="connsiteX8" fmla="*/ 8366910 w 9144000"/>
              <a:gd name="connsiteY8" fmla="*/ 6631669 h 6858000"/>
              <a:gd name="connsiteX9" fmla="*/ 8361211 w 9144000"/>
              <a:gd name="connsiteY9" fmla="*/ 6621274 h 6858000"/>
              <a:gd name="connsiteX10" fmla="*/ 8359045 w 9144000"/>
              <a:gd name="connsiteY10" fmla="*/ 6608203 h 6858000"/>
              <a:gd name="connsiteX11" fmla="*/ 8361097 w 9144000"/>
              <a:gd name="connsiteY11" fmla="*/ 6594991 h 6858000"/>
              <a:gd name="connsiteX12" fmla="*/ 8366796 w 9144000"/>
              <a:gd name="connsiteY12" fmla="*/ 6584666 h 6858000"/>
              <a:gd name="connsiteX13" fmla="*/ 8381735 w 9144000"/>
              <a:gd name="connsiteY13" fmla="*/ 6576022 h 6858000"/>
              <a:gd name="connsiteX14" fmla="*/ 8525633 w 9144000"/>
              <a:gd name="connsiteY14" fmla="*/ 6553486 h 6858000"/>
              <a:gd name="connsiteX15" fmla="*/ 8525633 w 9144000"/>
              <a:gd name="connsiteY15" fmla="*/ 6599432 h 6858000"/>
              <a:gd name="connsiteX16" fmla="*/ 8525633 w 9144000"/>
              <a:gd name="connsiteY16" fmla="*/ 6662773 h 6858000"/>
              <a:gd name="connsiteX17" fmla="*/ 8595623 w 9144000"/>
              <a:gd name="connsiteY17" fmla="*/ 6662773 h 6858000"/>
              <a:gd name="connsiteX18" fmla="*/ 8596022 w 9144000"/>
              <a:gd name="connsiteY18" fmla="*/ 6662773 h 6858000"/>
              <a:gd name="connsiteX19" fmla="*/ 8596022 w 9144000"/>
              <a:gd name="connsiteY19" fmla="*/ 6645772 h 6858000"/>
              <a:gd name="connsiteX20" fmla="*/ 8595623 w 9144000"/>
              <a:gd name="connsiteY20" fmla="*/ 6645772 h 6858000"/>
              <a:gd name="connsiteX21" fmla="*/ 8595623 w 9144000"/>
              <a:gd name="connsiteY21" fmla="*/ 6639674 h 6858000"/>
              <a:gd name="connsiteX22" fmla="*/ 8551295 w 9144000"/>
              <a:gd name="connsiteY22" fmla="*/ 6639674 h 6858000"/>
              <a:gd name="connsiteX23" fmla="*/ 8551295 w 9144000"/>
              <a:gd name="connsiteY23" fmla="*/ 6618349 h 6858000"/>
              <a:gd name="connsiteX24" fmla="*/ 8591705 w 9144000"/>
              <a:gd name="connsiteY24" fmla="*/ 6618349 h 6858000"/>
              <a:gd name="connsiteX25" fmla="*/ 8591705 w 9144000"/>
              <a:gd name="connsiteY25" fmla="*/ 6596277 h 6858000"/>
              <a:gd name="connsiteX26" fmla="*/ 8551295 w 9144000"/>
              <a:gd name="connsiteY26" fmla="*/ 6596277 h 6858000"/>
              <a:gd name="connsiteX27" fmla="*/ 8551295 w 9144000"/>
              <a:gd name="connsiteY27" fmla="*/ 6576755 h 6858000"/>
              <a:gd name="connsiteX28" fmla="*/ 8595623 w 9144000"/>
              <a:gd name="connsiteY28" fmla="*/ 6576755 h 6858000"/>
              <a:gd name="connsiteX29" fmla="*/ 8595623 w 9144000"/>
              <a:gd name="connsiteY29" fmla="*/ 6570487 h 6858000"/>
              <a:gd name="connsiteX30" fmla="*/ 8596022 w 9144000"/>
              <a:gd name="connsiteY30" fmla="*/ 6570487 h 6858000"/>
              <a:gd name="connsiteX31" fmla="*/ 8596022 w 9144000"/>
              <a:gd name="connsiteY31" fmla="*/ 6553486 h 6858000"/>
              <a:gd name="connsiteX32" fmla="*/ 8595623 w 9144000"/>
              <a:gd name="connsiteY32" fmla="*/ 6553486 h 6858000"/>
              <a:gd name="connsiteX33" fmla="*/ 8547362 w 9144000"/>
              <a:gd name="connsiteY33" fmla="*/ 6553486 h 6858000"/>
              <a:gd name="connsiteX34" fmla="*/ 8448177 w 9144000"/>
              <a:gd name="connsiteY34" fmla="*/ 6553486 h 6858000"/>
              <a:gd name="connsiteX35" fmla="*/ 8448177 w 9144000"/>
              <a:gd name="connsiteY35" fmla="*/ 6599432 h 6858000"/>
              <a:gd name="connsiteX36" fmla="*/ 8448177 w 9144000"/>
              <a:gd name="connsiteY36" fmla="*/ 6662773 h 6858000"/>
              <a:gd name="connsiteX37" fmla="*/ 8518167 w 9144000"/>
              <a:gd name="connsiteY37" fmla="*/ 6662773 h 6858000"/>
              <a:gd name="connsiteX38" fmla="*/ 8518552 w 9144000"/>
              <a:gd name="connsiteY38" fmla="*/ 6662773 h 6858000"/>
              <a:gd name="connsiteX39" fmla="*/ 8518552 w 9144000"/>
              <a:gd name="connsiteY39" fmla="*/ 6645772 h 6858000"/>
              <a:gd name="connsiteX40" fmla="*/ 8518167 w 9144000"/>
              <a:gd name="connsiteY40" fmla="*/ 6645772 h 6858000"/>
              <a:gd name="connsiteX41" fmla="*/ 8518167 w 9144000"/>
              <a:gd name="connsiteY41" fmla="*/ 6639674 h 6858000"/>
              <a:gd name="connsiteX42" fmla="*/ 8473825 w 9144000"/>
              <a:gd name="connsiteY42" fmla="*/ 6639674 h 6858000"/>
              <a:gd name="connsiteX43" fmla="*/ 8473825 w 9144000"/>
              <a:gd name="connsiteY43" fmla="*/ 6618349 h 6858000"/>
              <a:gd name="connsiteX44" fmla="*/ 8514235 w 9144000"/>
              <a:gd name="connsiteY44" fmla="*/ 6618349 h 6858000"/>
              <a:gd name="connsiteX45" fmla="*/ 8514235 w 9144000"/>
              <a:gd name="connsiteY45" fmla="*/ 6596277 h 6858000"/>
              <a:gd name="connsiteX46" fmla="*/ 8473825 w 9144000"/>
              <a:gd name="connsiteY46" fmla="*/ 6596277 h 6858000"/>
              <a:gd name="connsiteX47" fmla="*/ 8473825 w 9144000"/>
              <a:gd name="connsiteY47" fmla="*/ 6576755 h 6858000"/>
              <a:gd name="connsiteX48" fmla="*/ 8518167 w 9144000"/>
              <a:gd name="connsiteY48" fmla="*/ 6576755 h 6858000"/>
              <a:gd name="connsiteX49" fmla="*/ 8518167 w 9144000"/>
              <a:gd name="connsiteY49" fmla="*/ 6570487 h 6858000"/>
              <a:gd name="connsiteX50" fmla="*/ 8518552 w 9144000"/>
              <a:gd name="connsiteY50" fmla="*/ 6570487 h 6858000"/>
              <a:gd name="connsiteX51" fmla="*/ 8518552 w 9144000"/>
              <a:gd name="connsiteY51" fmla="*/ 6553486 h 6858000"/>
              <a:gd name="connsiteX52" fmla="*/ 8518167 w 9144000"/>
              <a:gd name="connsiteY52" fmla="*/ 6553486 h 6858000"/>
              <a:gd name="connsiteX53" fmla="*/ 8469892 w 9144000"/>
              <a:gd name="connsiteY53" fmla="*/ 6553486 h 6858000"/>
              <a:gd name="connsiteX54" fmla="*/ 8387913 w 9144000"/>
              <a:gd name="connsiteY54" fmla="*/ 6553453 h 6858000"/>
              <a:gd name="connsiteX55" fmla="*/ 8365286 w 9144000"/>
              <a:gd name="connsiteY55" fmla="*/ 6557679 h 6858000"/>
              <a:gd name="connsiteX56" fmla="*/ 8357150 w 9144000"/>
              <a:gd name="connsiteY56" fmla="*/ 6561806 h 6858000"/>
              <a:gd name="connsiteX57" fmla="*/ 8332784 w 9144000"/>
              <a:gd name="connsiteY57" fmla="*/ 6613372 h 6858000"/>
              <a:gd name="connsiteX58" fmla="*/ 8336389 w 9144000"/>
              <a:gd name="connsiteY58" fmla="*/ 6629852 h 6858000"/>
              <a:gd name="connsiteX59" fmla="*/ 8364431 w 9144000"/>
              <a:gd name="connsiteY59" fmla="*/ 6658585 h 6858000"/>
              <a:gd name="connsiteX60" fmla="*/ 8386916 w 9144000"/>
              <a:gd name="connsiteY60" fmla="*/ 6662811 h 6858000"/>
              <a:gd name="connsiteX61" fmla="*/ 8409486 w 9144000"/>
              <a:gd name="connsiteY61" fmla="*/ 6658585 h 6858000"/>
              <a:gd name="connsiteX62" fmla="*/ 8426926 w 9144000"/>
              <a:gd name="connsiteY62" fmla="*/ 6647106 h 6858000"/>
              <a:gd name="connsiteX63" fmla="*/ 8438240 w 9144000"/>
              <a:gd name="connsiteY63" fmla="*/ 6629852 h 6858000"/>
              <a:gd name="connsiteX64" fmla="*/ 8442258 w 9144000"/>
              <a:gd name="connsiteY64" fmla="*/ 6608203 h 6858000"/>
              <a:gd name="connsiteX65" fmla="*/ 8438397 w 9144000"/>
              <a:gd name="connsiteY65" fmla="*/ 6586469 h 6858000"/>
              <a:gd name="connsiteX66" fmla="*/ 8427439 w 9144000"/>
              <a:gd name="connsiteY66" fmla="*/ 6569158 h 6858000"/>
              <a:gd name="connsiteX67" fmla="*/ 8410341 w 9144000"/>
              <a:gd name="connsiteY67" fmla="*/ 6557679 h 6858000"/>
              <a:gd name="connsiteX68" fmla="*/ 8387913 w 9144000"/>
              <a:gd name="connsiteY68" fmla="*/ 6553453 h 6858000"/>
              <a:gd name="connsiteX69" fmla="*/ 8245203 w 9144000"/>
              <a:gd name="connsiteY69" fmla="*/ 6553106 h 6858000"/>
              <a:gd name="connsiteX70" fmla="*/ 8261546 w 9144000"/>
              <a:gd name="connsiteY70" fmla="*/ 6587178 h 6858000"/>
              <a:gd name="connsiteX71" fmla="*/ 8288505 w 9144000"/>
              <a:gd name="connsiteY71" fmla="*/ 6587178 h 6858000"/>
              <a:gd name="connsiteX72" fmla="*/ 8274156 w 9144000"/>
              <a:gd name="connsiteY72" fmla="*/ 6553106 h 6858000"/>
              <a:gd name="connsiteX73" fmla="*/ 8325053 w 9144000"/>
              <a:gd name="connsiteY73" fmla="*/ 6553092 h 6858000"/>
              <a:gd name="connsiteX74" fmla="*/ 8299363 w 9144000"/>
              <a:gd name="connsiteY74" fmla="*/ 6612222 h 6858000"/>
              <a:gd name="connsiteX75" fmla="*/ 8292395 w 9144000"/>
              <a:gd name="connsiteY75" fmla="*/ 6595883 h 6858000"/>
              <a:gd name="connsiteX76" fmla="*/ 8265650 w 9144000"/>
              <a:gd name="connsiteY76" fmla="*/ 6595883 h 6858000"/>
              <a:gd name="connsiteX77" fmla="*/ 8297582 w 9144000"/>
              <a:gd name="connsiteY77" fmla="*/ 6662548 h 6858000"/>
              <a:gd name="connsiteX78" fmla="*/ 8300545 w 9144000"/>
              <a:gd name="connsiteY78" fmla="*/ 6662548 h 6858000"/>
              <a:gd name="connsiteX79" fmla="*/ 8352283 w 9144000"/>
              <a:gd name="connsiteY79" fmla="*/ 6553092 h 6858000"/>
              <a:gd name="connsiteX80" fmla="*/ 8704282 w 9144000"/>
              <a:gd name="connsiteY80" fmla="*/ 6515554 h 6858000"/>
              <a:gd name="connsiteX81" fmla="*/ 8704282 w 9144000"/>
              <a:gd name="connsiteY81" fmla="*/ 6690482 h 6858000"/>
              <a:gd name="connsiteX82" fmla="*/ 8723671 w 9144000"/>
              <a:gd name="connsiteY82" fmla="*/ 6690482 h 6858000"/>
              <a:gd name="connsiteX83" fmla="*/ 8723671 w 9144000"/>
              <a:gd name="connsiteY83" fmla="*/ 6515554 h 6858000"/>
              <a:gd name="connsiteX84" fmla="*/ 0 w 9144000"/>
              <a:gd name="connsiteY84" fmla="*/ 0 h 6858000"/>
              <a:gd name="connsiteX85" fmla="*/ 9144000 w 9144000"/>
              <a:gd name="connsiteY85" fmla="*/ 0 h 6858000"/>
              <a:gd name="connsiteX86" fmla="*/ 9144000 w 9144000"/>
              <a:gd name="connsiteY86" fmla="*/ 6397151 h 6858000"/>
              <a:gd name="connsiteX87" fmla="*/ 9144000 w 9144000"/>
              <a:gd name="connsiteY87" fmla="*/ 6434962 h 6858000"/>
              <a:gd name="connsiteX88" fmla="*/ 9144000 w 9144000"/>
              <a:gd name="connsiteY88" fmla="*/ 6858000 h 6858000"/>
              <a:gd name="connsiteX89" fmla="*/ 8995529 w 9144000"/>
              <a:gd name="connsiteY89" fmla="*/ 6858000 h 6858000"/>
              <a:gd name="connsiteX90" fmla="*/ 7924718 w 9144000"/>
              <a:gd name="connsiteY90" fmla="*/ 6858000 h 6858000"/>
              <a:gd name="connsiteX91" fmla="*/ 0 w 9144000"/>
              <a:gd name="connsiteY91" fmla="*/ 6858000 h 6858000"/>
              <a:gd name="connsiteX92" fmla="*/ 0 w 9144000"/>
              <a:gd name="connsiteY92" fmla="*/ 6434962 h 6858000"/>
              <a:gd name="connsiteX93" fmla="*/ 0 w 9144000"/>
              <a:gd name="connsiteY93" fmla="*/ 639715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9144000" h="6858000">
                <a:moveTo>
                  <a:pt x="8381735" y="6576022"/>
                </a:moveTo>
                <a:cubicBezTo>
                  <a:pt x="8387385" y="6574829"/>
                  <a:pt x="8393413" y="6575385"/>
                  <a:pt x="8398942" y="6577877"/>
                </a:cubicBezTo>
                <a:cubicBezTo>
                  <a:pt x="8402361" y="6579495"/>
                  <a:pt x="8405396" y="6581808"/>
                  <a:pt x="8407847" y="6584666"/>
                </a:cubicBezTo>
                <a:cubicBezTo>
                  <a:pt x="8410387" y="6587723"/>
                  <a:pt x="8412320" y="6591226"/>
                  <a:pt x="8413547" y="6594991"/>
                </a:cubicBezTo>
                <a:cubicBezTo>
                  <a:pt x="8414952" y="6599255"/>
                  <a:pt x="8415640" y="6603718"/>
                  <a:pt x="8415584" y="6608203"/>
                </a:cubicBezTo>
                <a:cubicBezTo>
                  <a:pt x="8415665" y="6612635"/>
                  <a:pt x="8415011" y="6617051"/>
                  <a:pt x="8413646" y="6621274"/>
                </a:cubicBezTo>
                <a:cubicBezTo>
                  <a:pt x="8412411" y="6625056"/>
                  <a:pt x="8410478" y="6628580"/>
                  <a:pt x="8407947" y="6631669"/>
                </a:cubicBezTo>
                <a:cubicBezTo>
                  <a:pt x="8399972" y="6640715"/>
                  <a:pt x="8386928" y="6643500"/>
                  <a:pt x="8375887" y="6638514"/>
                </a:cubicBezTo>
                <a:cubicBezTo>
                  <a:pt x="8372423" y="6636911"/>
                  <a:pt x="8369358" y="6634574"/>
                  <a:pt x="8366910" y="6631669"/>
                </a:cubicBezTo>
                <a:cubicBezTo>
                  <a:pt x="8364379" y="6628580"/>
                  <a:pt x="8362446" y="6625056"/>
                  <a:pt x="8361211" y="6621274"/>
                </a:cubicBezTo>
                <a:cubicBezTo>
                  <a:pt x="8359769" y="6617063"/>
                  <a:pt x="8359038" y="6612647"/>
                  <a:pt x="8359045" y="6608203"/>
                </a:cubicBezTo>
                <a:cubicBezTo>
                  <a:pt x="8358993" y="6603717"/>
                  <a:pt x="8359686" y="6599254"/>
                  <a:pt x="8361097" y="6594991"/>
                </a:cubicBezTo>
                <a:cubicBezTo>
                  <a:pt x="8362323" y="6591226"/>
                  <a:pt x="8364257" y="6587723"/>
                  <a:pt x="8366796" y="6584666"/>
                </a:cubicBezTo>
                <a:cubicBezTo>
                  <a:pt x="8370813" y="6580158"/>
                  <a:pt x="8376085" y="6577215"/>
                  <a:pt x="8381735" y="6576022"/>
                </a:cubicBezTo>
                <a:close/>
                <a:moveTo>
                  <a:pt x="8525633" y="6553486"/>
                </a:moveTo>
                <a:lnTo>
                  <a:pt x="8525633" y="6599432"/>
                </a:lnTo>
                <a:lnTo>
                  <a:pt x="8525633" y="6662773"/>
                </a:lnTo>
                <a:lnTo>
                  <a:pt x="8595623" y="6662773"/>
                </a:lnTo>
                <a:lnTo>
                  <a:pt x="8596022" y="6662773"/>
                </a:lnTo>
                <a:lnTo>
                  <a:pt x="8596022" y="6645772"/>
                </a:lnTo>
                <a:lnTo>
                  <a:pt x="8595623" y="6645772"/>
                </a:lnTo>
                <a:lnTo>
                  <a:pt x="8595623" y="6639674"/>
                </a:lnTo>
                <a:lnTo>
                  <a:pt x="8551295" y="6639674"/>
                </a:lnTo>
                <a:lnTo>
                  <a:pt x="8551295" y="6618349"/>
                </a:lnTo>
                <a:lnTo>
                  <a:pt x="8591705" y="6618349"/>
                </a:lnTo>
                <a:lnTo>
                  <a:pt x="8591705" y="6596277"/>
                </a:lnTo>
                <a:lnTo>
                  <a:pt x="8551295" y="6596277"/>
                </a:lnTo>
                <a:lnTo>
                  <a:pt x="8551295" y="6576755"/>
                </a:lnTo>
                <a:lnTo>
                  <a:pt x="8595623" y="6576755"/>
                </a:lnTo>
                <a:lnTo>
                  <a:pt x="8595623" y="6570487"/>
                </a:lnTo>
                <a:lnTo>
                  <a:pt x="8596022" y="6570487"/>
                </a:lnTo>
                <a:lnTo>
                  <a:pt x="8596022" y="6553486"/>
                </a:lnTo>
                <a:lnTo>
                  <a:pt x="8595623" y="6553486"/>
                </a:lnTo>
                <a:lnTo>
                  <a:pt x="8547362" y="6553486"/>
                </a:lnTo>
                <a:close/>
                <a:moveTo>
                  <a:pt x="8448177" y="6553486"/>
                </a:moveTo>
                <a:lnTo>
                  <a:pt x="8448177" y="6599432"/>
                </a:lnTo>
                <a:lnTo>
                  <a:pt x="8448177" y="6662773"/>
                </a:lnTo>
                <a:lnTo>
                  <a:pt x="8518167" y="6662773"/>
                </a:lnTo>
                <a:lnTo>
                  <a:pt x="8518552" y="6662773"/>
                </a:lnTo>
                <a:lnTo>
                  <a:pt x="8518552" y="6645772"/>
                </a:lnTo>
                <a:lnTo>
                  <a:pt x="8518167" y="6645772"/>
                </a:lnTo>
                <a:lnTo>
                  <a:pt x="8518167" y="6639674"/>
                </a:lnTo>
                <a:lnTo>
                  <a:pt x="8473825" y="6639674"/>
                </a:lnTo>
                <a:lnTo>
                  <a:pt x="8473825" y="6618349"/>
                </a:lnTo>
                <a:lnTo>
                  <a:pt x="8514235" y="6618349"/>
                </a:lnTo>
                <a:lnTo>
                  <a:pt x="8514235" y="6596277"/>
                </a:lnTo>
                <a:lnTo>
                  <a:pt x="8473825" y="6596277"/>
                </a:lnTo>
                <a:lnTo>
                  <a:pt x="8473825" y="6576755"/>
                </a:lnTo>
                <a:lnTo>
                  <a:pt x="8518167" y="6576755"/>
                </a:lnTo>
                <a:lnTo>
                  <a:pt x="8518167" y="6570487"/>
                </a:lnTo>
                <a:lnTo>
                  <a:pt x="8518552" y="6570487"/>
                </a:lnTo>
                <a:lnTo>
                  <a:pt x="8518552" y="6553486"/>
                </a:lnTo>
                <a:lnTo>
                  <a:pt x="8518167" y="6553486"/>
                </a:lnTo>
                <a:lnTo>
                  <a:pt x="8469892" y="6553486"/>
                </a:lnTo>
                <a:close/>
                <a:moveTo>
                  <a:pt x="8387913" y="6553453"/>
                </a:moveTo>
                <a:cubicBezTo>
                  <a:pt x="8380162" y="6553369"/>
                  <a:pt x="8372471" y="6554805"/>
                  <a:pt x="8365286" y="6557679"/>
                </a:cubicBezTo>
                <a:cubicBezTo>
                  <a:pt x="8362463" y="6558830"/>
                  <a:pt x="8359742" y="6560211"/>
                  <a:pt x="8357150" y="6561806"/>
                </a:cubicBezTo>
                <a:lnTo>
                  <a:pt x="8332784" y="6613372"/>
                </a:lnTo>
                <a:cubicBezTo>
                  <a:pt x="8333178" y="6619008"/>
                  <a:pt x="8334392" y="6624558"/>
                  <a:pt x="8336389" y="6629852"/>
                </a:cubicBezTo>
                <a:cubicBezTo>
                  <a:pt x="8341193" y="6642926"/>
                  <a:pt x="8351385" y="6653370"/>
                  <a:pt x="8364431" y="6658585"/>
                </a:cubicBezTo>
                <a:cubicBezTo>
                  <a:pt x="8371564" y="6661469"/>
                  <a:pt x="8379210" y="6662906"/>
                  <a:pt x="8386916" y="6662811"/>
                </a:cubicBezTo>
                <a:cubicBezTo>
                  <a:pt x="8394648" y="6662898"/>
                  <a:pt x="8402321" y="6661462"/>
                  <a:pt x="8409486" y="6658585"/>
                </a:cubicBezTo>
                <a:cubicBezTo>
                  <a:pt x="8416013" y="6655943"/>
                  <a:pt x="8421943" y="6652041"/>
                  <a:pt x="8426926" y="6647106"/>
                </a:cubicBezTo>
                <a:cubicBezTo>
                  <a:pt x="8431850" y="6642179"/>
                  <a:pt x="8435700" y="6636306"/>
                  <a:pt x="8438240" y="6629852"/>
                </a:cubicBezTo>
                <a:cubicBezTo>
                  <a:pt x="8440974" y="6622958"/>
                  <a:pt x="8442338" y="6615607"/>
                  <a:pt x="8442258" y="6608203"/>
                </a:cubicBezTo>
                <a:cubicBezTo>
                  <a:pt x="8442328" y="6600785"/>
                  <a:pt x="8441019" y="6593419"/>
                  <a:pt x="8438397" y="6586469"/>
                </a:cubicBezTo>
                <a:cubicBezTo>
                  <a:pt x="8435967" y="6580025"/>
                  <a:pt x="8432239" y="6574136"/>
                  <a:pt x="8427439" y="6569158"/>
                </a:cubicBezTo>
                <a:cubicBezTo>
                  <a:pt x="8422597" y="6564212"/>
                  <a:pt x="8416777" y="6560305"/>
                  <a:pt x="8410341" y="6557679"/>
                </a:cubicBezTo>
                <a:cubicBezTo>
                  <a:pt x="8403230" y="6554789"/>
                  <a:pt x="8395601" y="6553352"/>
                  <a:pt x="8387913" y="6553453"/>
                </a:cubicBezTo>
                <a:close/>
                <a:moveTo>
                  <a:pt x="8245203" y="6553106"/>
                </a:moveTo>
                <a:lnTo>
                  <a:pt x="8261546" y="6587178"/>
                </a:lnTo>
                <a:lnTo>
                  <a:pt x="8288505" y="6587178"/>
                </a:lnTo>
                <a:lnTo>
                  <a:pt x="8274156" y="6553106"/>
                </a:lnTo>
                <a:close/>
                <a:moveTo>
                  <a:pt x="8325053" y="6553092"/>
                </a:moveTo>
                <a:lnTo>
                  <a:pt x="8299363" y="6612222"/>
                </a:lnTo>
                <a:lnTo>
                  <a:pt x="8292395" y="6595883"/>
                </a:lnTo>
                <a:lnTo>
                  <a:pt x="8265650" y="6595883"/>
                </a:lnTo>
                <a:lnTo>
                  <a:pt x="8297582" y="6662548"/>
                </a:lnTo>
                <a:lnTo>
                  <a:pt x="8300545" y="6662548"/>
                </a:lnTo>
                <a:lnTo>
                  <a:pt x="8352283" y="6553092"/>
                </a:lnTo>
                <a:close/>
                <a:moveTo>
                  <a:pt x="8704282" y="6515554"/>
                </a:moveTo>
                <a:lnTo>
                  <a:pt x="8704282" y="6690482"/>
                </a:lnTo>
                <a:lnTo>
                  <a:pt x="8723671" y="6690482"/>
                </a:lnTo>
                <a:lnTo>
                  <a:pt x="8723671" y="6515554"/>
                </a:lnTo>
                <a:close/>
                <a:moveTo>
                  <a:pt x="0" y="0"/>
                </a:moveTo>
                <a:lnTo>
                  <a:pt x="9144000" y="0"/>
                </a:lnTo>
                <a:lnTo>
                  <a:pt x="9144000" y="6397151"/>
                </a:lnTo>
                <a:lnTo>
                  <a:pt x="9144000" y="6434962"/>
                </a:lnTo>
                <a:lnTo>
                  <a:pt x="9144000" y="6858000"/>
                </a:lnTo>
                <a:lnTo>
                  <a:pt x="8995529" y="6858000"/>
                </a:lnTo>
                <a:lnTo>
                  <a:pt x="7924718" y="6858000"/>
                </a:lnTo>
                <a:lnTo>
                  <a:pt x="0" y="6858000"/>
                </a:lnTo>
                <a:lnTo>
                  <a:pt x="0" y="6434962"/>
                </a:lnTo>
                <a:lnTo>
                  <a:pt x="0" y="6397151"/>
                </a:lnTo>
                <a:close/>
              </a:path>
            </a:pathLst>
          </a:custGeom>
          <a:solidFill>
            <a:schemeClr val="accent2"/>
          </a:solidFill>
        </p:spPr>
        <p:txBody>
          <a:bodyPr wrap="square" anchor="ctr">
            <a:noAutofit/>
          </a:bodyPr>
          <a:lstStyle>
            <a:lvl1pPr algn="ctr">
              <a:defRPr b="0">
                <a:solidFill>
                  <a:schemeClr val="bg1"/>
                </a:solidFill>
              </a:defRPr>
            </a:lvl1pPr>
          </a:lstStyle>
          <a:p>
            <a:r>
              <a:rPr lang="en-US" dirty="0"/>
              <a:t>Click icon to add a pre-designed graphic</a:t>
            </a:r>
            <a:br>
              <a:rPr lang="en-US" dirty="0"/>
            </a:br>
            <a:r>
              <a:rPr lang="en-US" dirty="0"/>
              <a:t>(e.g. ranking, quote, or map)</a:t>
            </a:r>
          </a:p>
        </p:txBody>
      </p:sp>
      <p:sp>
        <p:nvSpPr>
          <p:cNvPr id="5" name="Title 4">
            <a:extLst>
              <a:ext uri="{FF2B5EF4-FFF2-40B4-BE49-F238E27FC236}">
                <a16:creationId xmlns:a16="http://schemas.microsoft.com/office/drawing/2014/main" id="{4D5405C3-B529-8445-891B-5DC49F4AC2AA}"/>
              </a:ext>
            </a:extLst>
          </p:cNvPr>
          <p:cNvSpPr>
            <a:spLocks noGrp="1"/>
          </p:cNvSpPr>
          <p:nvPr userDrawn="1">
            <p:ph type="title" hasCustomPrompt="1"/>
          </p:nvPr>
        </p:nvSpPr>
        <p:spPr/>
        <p:txBody>
          <a:bodyPr/>
          <a:lstStyle>
            <a:lvl1pPr>
              <a:defRPr>
                <a:solidFill>
                  <a:schemeClr val="bg1"/>
                </a:solidFill>
              </a:defRPr>
            </a:lvl1pPr>
          </a:lstStyle>
          <a:p>
            <a:r>
              <a:rPr lang="en-US" dirty="0"/>
              <a:t>CLICK TO ADD Slide TITLE. ALL CAPS. TWO LINES max.</a:t>
            </a:r>
          </a:p>
        </p:txBody>
      </p:sp>
      <p:sp>
        <p:nvSpPr>
          <p:cNvPr id="1000" name="Footnotes Placeholder">
            <a:extLst>
              <a:ext uri="{FF2B5EF4-FFF2-40B4-BE49-F238E27FC236}">
                <a16:creationId xmlns:a16="http://schemas.microsoft.com/office/drawing/2014/main" id="{7689135C-1344-F94E-8F1C-BE454F6FBFBE}"/>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grpSp>
        <p:nvGrpSpPr>
          <p:cNvPr id="16" name="Group 15">
            <a:extLst>
              <a:ext uri="{FF2B5EF4-FFF2-40B4-BE49-F238E27FC236}">
                <a16:creationId xmlns:a16="http://schemas.microsoft.com/office/drawing/2014/main" id="{10A60567-C6A8-9745-A7BD-650F05617F55}"/>
              </a:ext>
            </a:extLst>
          </p:cNvPr>
          <p:cNvGrpSpPr/>
          <p:nvPr userDrawn="1"/>
        </p:nvGrpSpPr>
        <p:grpSpPr>
          <a:xfrm>
            <a:off x="12532243" y="-1"/>
            <a:ext cx="3832280" cy="6858001"/>
            <a:chOff x="9144000" y="-1"/>
            <a:chExt cx="2874210" cy="6858001"/>
          </a:xfrm>
        </p:grpSpPr>
        <p:sp>
          <p:nvSpPr>
            <p:cNvPr id="17" name="Rectangle 16">
              <a:extLst>
                <a:ext uri="{FF2B5EF4-FFF2-40B4-BE49-F238E27FC236}">
                  <a16:creationId xmlns:a16="http://schemas.microsoft.com/office/drawing/2014/main" id="{448C1A1C-69E6-2E4B-B77D-A4ECA59B3F9E}"/>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grpSp>
          <p:nvGrpSpPr>
            <p:cNvPr id="18" name="Group 17">
              <a:extLst>
                <a:ext uri="{FF2B5EF4-FFF2-40B4-BE49-F238E27FC236}">
                  <a16:creationId xmlns:a16="http://schemas.microsoft.com/office/drawing/2014/main" id="{58B4174A-1940-A14D-BE35-2361AF2DB700}"/>
                </a:ext>
              </a:extLst>
            </p:cNvPr>
            <p:cNvGrpSpPr/>
            <p:nvPr userDrawn="1"/>
          </p:nvGrpSpPr>
          <p:grpSpPr>
            <a:xfrm>
              <a:off x="9263395" y="150289"/>
              <a:ext cx="2754815" cy="6013825"/>
              <a:chOff x="9266651" y="185338"/>
              <a:chExt cx="2754815" cy="6013825"/>
            </a:xfrm>
          </p:grpSpPr>
          <p:sp>
            <p:nvSpPr>
              <p:cNvPr id="19" name="TextBox 18">
                <a:extLst>
                  <a:ext uri="{FF2B5EF4-FFF2-40B4-BE49-F238E27FC236}">
                    <a16:creationId xmlns:a16="http://schemas.microsoft.com/office/drawing/2014/main" id="{8154AD6F-FF5C-AF46-AF46-3A2F76383F84}"/>
                  </a:ext>
                </a:extLst>
              </p:cNvPr>
              <p:cNvSpPr txBox="1"/>
              <p:nvPr userDrawn="1"/>
            </p:nvSpPr>
            <p:spPr>
              <a:xfrm>
                <a:off x="9303325" y="18533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20" name="Straight Connector 19">
                <a:extLst>
                  <a:ext uri="{FF2B5EF4-FFF2-40B4-BE49-F238E27FC236}">
                    <a16:creationId xmlns:a16="http://schemas.microsoft.com/office/drawing/2014/main" id="{A473109F-0CBB-3543-B531-C9EE5039E8F3}"/>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4255D80-C41E-D843-BA4B-49C358DE9F33}"/>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3" name="Group 42">
                <a:extLst>
                  <a:ext uri="{FF2B5EF4-FFF2-40B4-BE49-F238E27FC236}">
                    <a16:creationId xmlns:a16="http://schemas.microsoft.com/office/drawing/2014/main" id="{E66BE7A5-B95E-5647-BB64-B391E7B70B4C}"/>
                  </a:ext>
                </a:extLst>
              </p:cNvPr>
              <p:cNvGrpSpPr/>
              <p:nvPr userDrawn="1"/>
            </p:nvGrpSpPr>
            <p:grpSpPr>
              <a:xfrm>
                <a:off x="9286315" y="4787848"/>
                <a:ext cx="2735151" cy="1411315"/>
                <a:chOff x="9296567" y="4910411"/>
                <a:chExt cx="2735151" cy="1411315"/>
              </a:xfrm>
            </p:grpSpPr>
            <p:sp>
              <p:nvSpPr>
                <p:cNvPr id="45" name="Rectangle 44">
                  <a:extLst>
                    <a:ext uri="{FF2B5EF4-FFF2-40B4-BE49-F238E27FC236}">
                      <a16:creationId xmlns:a16="http://schemas.microsoft.com/office/drawing/2014/main" id="{3E456B4A-35E2-1E46-AF5B-69BC4A031DFD}"/>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6" name="TextBox 45">
                  <a:extLst>
                    <a:ext uri="{FF2B5EF4-FFF2-40B4-BE49-F238E27FC236}">
                      <a16:creationId xmlns:a16="http://schemas.microsoft.com/office/drawing/2014/main" id="{5020C91E-8ECD-9446-9FD6-8317FDCC66B1}"/>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47" name="Graphic 46">
                  <a:extLst>
                    <a:ext uri="{FF2B5EF4-FFF2-40B4-BE49-F238E27FC236}">
                      <a16:creationId xmlns:a16="http://schemas.microsoft.com/office/drawing/2014/main" id="{F8B2E612-99F0-C842-8E04-621A4A3B40E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48" name="TextBox 47">
                  <a:extLst>
                    <a:ext uri="{FF2B5EF4-FFF2-40B4-BE49-F238E27FC236}">
                      <a16:creationId xmlns:a16="http://schemas.microsoft.com/office/drawing/2014/main" id="{FFF1E73D-444F-B546-A7C4-57D3717E9A5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49" name="TextBox 48">
                  <a:extLst>
                    <a:ext uri="{FF2B5EF4-FFF2-40B4-BE49-F238E27FC236}">
                      <a16:creationId xmlns:a16="http://schemas.microsoft.com/office/drawing/2014/main" id="{EA65B9F0-297D-D74A-AED0-C2DF6E16365B}"/>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0" name="TextBox 49">
                  <a:extLst>
                    <a:ext uri="{FF2B5EF4-FFF2-40B4-BE49-F238E27FC236}">
                      <a16:creationId xmlns:a16="http://schemas.microsoft.com/office/drawing/2014/main" id="{FF9CCBAC-EFF1-D64D-BAA2-00D33EB2E99E}"/>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29" name="Group 28">
                <a:extLst>
                  <a:ext uri="{FF2B5EF4-FFF2-40B4-BE49-F238E27FC236}">
                    <a16:creationId xmlns:a16="http://schemas.microsoft.com/office/drawing/2014/main" id="{599AA6FE-1950-8F41-9D7B-376A540F81F8}"/>
                  </a:ext>
                </a:extLst>
              </p:cNvPr>
              <p:cNvGrpSpPr/>
              <p:nvPr userDrawn="1"/>
            </p:nvGrpSpPr>
            <p:grpSpPr>
              <a:xfrm>
                <a:off x="9286315" y="3431192"/>
                <a:ext cx="2735151" cy="1280928"/>
                <a:chOff x="9286315" y="6976989"/>
                <a:chExt cx="2735151" cy="1280928"/>
              </a:xfrm>
            </p:grpSpPr>
            <p:sp>
              <p:nvSpPr>
                <p:cNvPr id="38" name="Rectangle 37">
                  <a:extLst>
                    <a:ext uri="{FF2B5EF4-FFF2-40B4-BE49-F238E27FC236}">
                      <a16:creationId xmlns:a16="http://schemas.microsoft.com/office/drawing/2014/main" id="{96798E0F-BB64-0746-87AC-50312AED96E1}"/>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9" name="TextBox 38">
                  <a:extLst>
                    <a:ext uri="{FF2B5EF4-FFF2-40B4-BE49-F238E27FC236}">
                      <a16:creationId xmlns:a16="http://schemas.microsoft.com/office/drawing/2014/main" id="{F9048FEE-4AC5-F346-8AA9-B96470C93BB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0" name="Graphic 39">
                  <a:extLst>
                    <a:ext uri="{FF2B5EF4-FFF2-40B4-BE49-F238E27FC236}">
                      <a16:creationId xmlns:a16="http://schemas.microsoft.com/office/drawing/2014/main" id="{DDFDEDFA-065B-6446-8C5E-888321D0CE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1" name="TextBox 40">
                  <a:extLst>
                    <a:ext uri="{FF2B5EF4-FFF2-40B4-BE49-F238E27FC236}">
                      <a16:creationId xmlns:a16="http://schemas.microsoft.com/office/drawing/2014/main" id="{7DC42090-9A4E-1948-920E-D0251217ED8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2" name="Picture 41">
                  <a:extLst>
                    <a:ext uri="{FF2B5EF4-FFF2-40B4-BE49-F238E27FC236}">
                      <a16:creationId xmlns:a16="http://schemas.microsoft.com/office/drawing/2014/main" id="{49506D48-EE49-E344-BD58-0E7ACE18BEA4}"/>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0" name="Group 29">
                <a:extLst>
                  <a:ext uri="{FF2B5EF4-FFF2-40B4-BE49-F238E27FC236}">
                    <a16:creationId xmlns:a16="http://schemas.microsoft.com/office/drawing/2014/main" id="{8289D14B-260D-364C-8834-60C0FB3F053F}"/>
                  </a:ext>
                </a:extLst>
              </p:cNvPr>
              <p:cNvGrpSpPr/>
              <p:nvPr userDrawn="1"/>
            </p:nvGrpSpPr>
            <p:grpSpPr>
              <a:xfrm>
                <a:off x="9266651" y="510458"/>
                <a:ext cx="2617883" cy="651460"/>
                <a:chOff x="12352022" y="513115"/>
                <a:chExt cx="2617883" cy="651460"/>
              </a:xfrm>
            </p:grpSpPr>
            <p:sp>
              <p:nvSpPr>
                <p:cNvPr id="35" name="TextBox 34">
                  <a:extLst>
                    <a:ext uri="{FF2B5EF4-FFF2-40B4-BE49-F238E27FC236}">
                      <a16:creationId xmlns:a16="http://schemas.microsoft.com/office/drawing/2014/main" id="{6530850F-5903-4241-B33B-7472896369B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6" name="TextBox 35">
                  <a:extLst>
                    <a:ext uri="{FF2B5EF4-FFF2-40B4-BE49-F238E27FC236}">
                      <a16:creationId xmlns:a16="http://schemas.microsoft.com/office/drawing/2014/main" id="{B9AE25B5-349B-5C47-9854-CC58C3DFD0E6}"/>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37" name="TextBox 36">
                  <a:extLst>
                    <a:ext uri="{FF2B5EF4-FFF2-40B4-BE49-F238E27FC236}">
                      <a16:creationId xmlns:a16="http://schemas.microsoft.com/office/drawing/2014/main" id="{FBC27616-0537-A643-80CA-4C159C63CC02}"/>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31" name="TextBox 30">
                <a:extLst>
                  <a:ext uri="{FF2B5EF4-FFF2-40B4-BE49-F238E27FC236}">
                    <a16:creationId xmlns:a16="http://schemas.microsoft.com/office/drawing/2014/main" id="{02138E1E-A77D-E446-B51D-5B1FD135B9BF}"/>
                  </a:ext>
                </a:extLst>
              </p:cNvPr>
              <p:cNvSpPr txBox="1"/>
              <p:nvPr userDrawn="1"/>
            </p:nvSpPr>
            <p:spPr>
              <a:xfrm>
                <a:off x="9419085" y="152957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2" name="TextBox 31">
                <a:extLst>
                  <a:ext uri="{FF2B5EF4-FFF2-40B4-BE49-F238E27FC236}">
                    <a16:creationId xmlns:a16="http://schemas.microsoft.com/office/drawing/2014/main" id="{620C17C2-E7A1-8A48-AD81-3A9EAACA602D}"/>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3" name="TextBox 32">
                <a:extLst>
                  <a:ext uri="{FF2B5EF4-FFF2-40B4-BE49-F238E27FC236}">
                    <a16:creationId xmlns:a16="http://schemas.microsoft.com/office/drawing/2014/main" id="{FCE72D9E-F64A-6C45-B5E4-5509FBC7C3DA}"/>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34" name="TextBox 33">
                <a:extLst>
                  <a:ext uri="{FF2B5EF4-FFF2-40B4-BE49-F238E27FC236}">
                    <a16:creationId xmlns:a16="http://schemas.microsoft.com/office/drawing/2014/main" id="{F7CB64C4-3F1A-F84B-B69A-13F4593C12B6}"/>
                  </a:ext>
                </a:extLst>
              </p:cNvPr>
              <p:cNvSpPr txBox="1"/>
              <p:nvPr userDrawn="1"/>
            </p:nvSpPr>
            <p:spPr>
              <a:xfrm>
                <a:off x="9419085" y="3095480"/>
                <a:ext cx="2374733"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3" name="Date Placeholder 2">
            <a:extLst>
              <a:ext uri="{FF2B5EF4-FFF2-40B4-BE49-F238E27FC236}">
                <a16:creationId xmlns:a16="http://schemas.microsoft.com/office/drawing/2014/main" id="{996897C2-6DB8-D84B-835C-E23BE83E1A08}"/>
              </a:ext>
            </a:extLst>
          </p:cNvPr>
          <p:cNvSpPr>
            <a:spLocks noGrp="1"/>
          </p:cNvSpPr>
          <p:nvPr>
            <p:ph type="dt" sz="half" idx="101"/>
          </p:nvPr>
        </p:nvSpPr>
        <p:spPr/>
        <p:txBody>
          <a:bodyPr/>
          <a:lstStyle/>
          <a:p>
            <a:endParaRPr lang="en-US" dirty="0"/>
          </a:p>
        </p:txBody>
      </p:sp>
      <p:sp>
        <p:nvSpPr>
          <p:cNvPr id="8" name="Footer Placeholder 7">
            <a:extLst>
              <a:ext uri="{FF2B5EF4-FFF2-40B4-BE49-F238E27FC236}">
                <a16:creationId xmlns:a16="http://schemas.microsoft.com/office/drawing/2014/main" id="{0967810F-AD16-6E49-B2A3-1DA6D8B1281F}"/>
              </a:ext>
            </a:extLst>
          </p:cNvPr>
          <p:cNvSpPr>
            <a:spLocks noGrp="1"/>
          </p:cNvSpPr>
          <p:nvPr>
            <p:ph type="ftr" sz="quarter" idx="102"/>
          </p:nvPr>
        </p:nvSpPr>
        <p:spPr/>
        <p:txBody>
          <a:bodyPr/>
          <a:lstStyle/>
          <a:p>
            <a:endParaRPr lang="en-US" dirty="0"/>
          </a:p>
        </p:txBody>
      </p:sp>
      <p:sp>
        <p:nvSpPr>
          <p:cNvPr id="10" name="Slide Number Placeholder 9">
            <a:extLst>
              <a:ext uri="{FF2B5EF4-FFF2-40B4-BE49-F238E27FC236}">
                <a16:creationId xmlns:a16="http://schemas.microsoft.com/office/drawing/2014/main" id="{5E7FAC5D-4E0E-F541-A5F0-7B548D5C6943}"/>
              </a:ext>
            </a:extLst>
          </p:cNvPr>
          <p:cNvSpPr>
            <a:spLocks noGrp="1"/>
          </p:cNvSpPr>
          <p:nvPr>
            <p:ph type="sldNum" sz="quarter" idx="103"/>
          </p:nvPr>
        </p:nvSpPr>
        <p:spPr>
          <a:noFill/>
        </p:spPr>
        <p:txBody>
          <a:bodyPr/>
          <a:lstStyle>
            <a:lvl1pPr>
              <a:defRPr>
                <a:solidFill>
                  <a:schemeClr val="bg1"/>
                </a:solidFill>
              </a:defRPr>
            </a:lvl1pPr>
          </a:lstStyle>
          <a:p>
            <a:pPr marL="12700"/>
            <a:fld id="{078C017C-E1B9-8443-B047-B08AAA027B45}" type="slidenum">
              <a:rPr lang="en-US" smtClean="0"/>
              <a:pPr marL="12700"/>
              <a:t>‹#›</a:t>
            </a:fld>
            <a:endParaRPr lang="en-US" dirty="0"/>
          </a:p>
        </p:txBody>
      </p:sp>
    </p:spTree>
    <p:extLst>
      <p:ext uri="{BB962C8B-B14F-4D97-AF65-F5344CB8AC3E}">
        <p14:creationId xmlns:p14="http://schemas.microsoft.com/office/powerpoint/2010/main" val="41612850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ntent (Stacke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575736" y="1233489"/>
            <a:ext cx="11040531" cy="2381499"/>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575736" y="3784352"/>
            <a:ext cx="11040531" cy="2381499"/>
          </a:xfrm>
        </p:spPr>
        <p:txBody>
          <a:body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1000" name="Footnotes Placeholder">
            <a:extLst>
              <a:ext uri="{FF2B5EF4-FFF2-40B4-BE49-F238E27FC236}">
                <a16:creationId xmlns:a16="http://schemas.microsoft.com/office/drawing/2014/main" id="{4A06038C-128D-734E-9D80-8DBA43C1A8F8}"/>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402CC4C5-26A5-4F45-BB5F-846EFE4C15E8}"/>
              </a:ext>
            </a:extLst>
          </p:cNvPr>
          <p:cNvSpPr>
            <a:spLocks noGrp="1"/>
          </p:cNvSpPr>
          <p:nvPr>
            <p:ph type="dt" sz="half" idx="106"/>
          </p:nvPr>
        </p:nvSpPr>
        <p:spPr/>
        <p:txBody>
          <a:bodyPr/>
          <a:lstStyle/>
          <a:p>
            <a:endParaRPr lang="en-US"/>
          </a:p>
        </p:txBody>
      </p:sp>
      <p:sp>
        <p:nvSpPr>
          <p:cNvPr id="7" name="Footer Placeholder 6">
            <a:extLst>
              <a:ext uri="{FF2B5EF4-FFF2-40B4-BE49-F238E27FC236}">
                <a16:creationId xmlns:a16="http://schemas.microsoft.com/office/drawing/2014/main" id="{DEC332D7-9604-5C49-9FCA-6EED3EB703A5}"/>
              </a:ext>
            </a:extLst>
          </p:cNvPr>
          <p:cNvSpPr>
            <a:spLocks noGrp="1"/>
          </p:cNvSpPr>
          <p:nvPr>
            <p:ph type="ftr" sz="quarter" idx="107"/>
          </p:nvPr>
        </p:nvSpPr>
        <p:spPr/>
        <p:txBody>
          <a:bodyPr/>
          <a:lstStyle/>
          <a:p>
            <a:endParaRPr lang="en-US"/>
          </a:p>
        </p:txBody>
      </p:sp>
      <p:sp>
        <p:nvSpPr>
          <p:cNvPr id="8" name="Slide Number Placeholder 7">
            <a:extLst>
              <a:ext uri="{FF2B5EF4-FFF2-40B4-BE49-F238E27FC236}">
                <a16:creationId xmlns:a16="http://schemas.microsoft.com/office/drawing/2014/main" id="{D2381C1A-6FC0-BF4F-8124-7B7DCAB4EE32}"/>
              </a:ext>
            </a:extLst>
          </p:cNvPr>
          <p:cNvSpPr>
            <a:spLocks noGrp="1"/>
          </p:cNvSpPr>
          <p:nvPr>
            <p:ph type="sldNum" sz="quarter" idx="108"/>
          </p:nvPr>
        </p:nvSpPr>
        <p:spPr/>
        <p:txBody>
          <a:bodyPr/>
          <a:lstStyle/>
          <a:p>
            <a:pPr marL="12700"/>
            <a:fld id="{078C017C-E1B9-8443-B047-B08AAA027B45}" type="slidenum">
              <a:rPr lang="en-US" smtClean="0"/>
              <a:pPr marL="12700"/>
              <a:t>‹#›</a:t>
            </a:fld>
            <a:endParaRPr lang="en-US"/>
          </a:p>
        </p:txBody>
      </p:sp>
      <p:grpSp>
        <p:nvGrpSpPr>
          <p:cNvPr id="57" name="Group 56">
            <a:extLst>
              <a:ext uri="{FF2B5EF4-FFF2-40B4-BE49-F238E27FC236}">
                <a16:creationId xmlns:a16="http://schemas.microsoft.com/office/drawing/2014/main" id="{E24E88A7-5D0A-1349-9456-2D263AAF18BC}"/>
              </a:ext>
            </a:extLst>
          </p:cNvPr>
          <p:cNvGrpSpPr/>
          <p:nvPr userDrawn="1"/>
        </p:nvGrpSpPr>
        <p:grpSpPr>
          <a:xfrm>
            <a:off x="12532243" y="1"/>
            <a:ext cx="2997567" cy="6857995"/>
            <a:chOff x="9399182" y="0"/>
            <a:chExt cx="2974470" cy="6857995"/>
          </a:xfrm>
        </p:grpSpPr>
        <p:sp>
          <p:nvSpPr>
            <p:cNvPr id="58" name="Rectangle 57">
              <a:extLst>
                <a:ext uri="{FF2B5EF4-FFF2-40B4-BE49-F238E27FC236}">
                  <a16:creationId xmlns:a16="http://schemas.microsoft.com/office/drawing/2014/main" id="{F8EBF1AE-E54E-5F42-BCF0-62A498E75AB4}"/>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59" name="Picture 58">
              <a:extLst>
                <a:ext uri="{FF2B5EF4-FFF2-40B4-BE49-F238E27FC236}">
                  <a16:creationId xmlns:a16="http://schemas.microsoft.com/office/drawing/2014/main" id="{0D64F76F-110E-7B4F-8E44-A24383479A35}"/>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0" name="Group 59">
              <a:extLst>
                <a:ext uri="{FF2B5EF4-FFF2-40B4-BE49-F238E27FC236}">
                  <a16:creationId xmlns:a16="http://schemas.microsoft.com/office/drawing/2014/main" id="{8F80748D-2504-2944-B112-0706B51790D8}"/>
                </a:ext>
              </a:extLst>
            </p:cNvPr>
            <p:cNvGrpSpPr/>
            <p:nvPr userDrawn="1"/>
          </p:nvGrpSpPr>
          <p:grpSpPr>
            <a:xfrm>
              <a:off x="9541497" y="162442"/>
              <a:ext cx="2819400" cy="814510"/>
              <a:chOff x="-3644733" y="165205"/>
              <a:chExt cx="2819400" cy="814510"/>
            </a:xfrm>
          </p:grpSpPr>
          <p:sp>
            <p:nvSpPr>
              <p:cNvPr id="100" name="Rectangle 99">
                <a:extLst>
                  <a:ext uri="{FF2B5EF4-FFF2-40B4-BE49-F238E27FC236}">
                    <a16:creationId xmlns:a16="http://schemas.microsoft.com/office/drawing/2014/main" id="{D7828769-B96E-C648-9178-57C8E7AA5057}"/>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01" name="TextBox 100">
                <a:extLst>
                  <a:ext uri="{FF2B5EF4-FFF2-40B4-BE49-F238E27FC236}">
                    <a16:creationId xmlns:a16="http://schemas.microsoft.com/office/drawing/2014/main" id="{7464A144-1A86-7741-BE36-0E6509A0A1B5}"/>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02" name="Picture 101">
                <a:extLst>
                  <a:ext uri="{FF2B5EF4-FFF2-40B4-BE49-F238E27FC236}">
                    <a16:creationId xmlns:a16="http://schemas.microsoft.com/office/drawing/2014/main" id="{EB777785-DFC6-CC43-B588-4CC7CFBB9D8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1" name="Group 60">
              <a:extLst>
                <a:ext uri="{FF2B5EF4-FFF2-40B4-BE49-F238E27FC236}">
                  <a16:creationId xmlns:a16="http://schemas.microsoft.com/office/drawing/2014/main" id="{BA588D24-86AD-6643-A5A2-1B4848B36D12}"/>
                </a:ext>
              </a:extLst>
            </p:cNvPr>
            <p:cNvGrpSpPr/>
            <p:nvPr userDrawn="1"/>
          </p:nvGrpSpPr>
          <p:grpSpPr>
            <a:xfrm>
              <a:off x="9558507" y="1119891"/>
              <a:ext cx="2639328" cy="202617"/>
              <a:chOff x="9303325" y="149270"/>
              <a:chExt cx="2639328" cy="202617"/>
            </a:xfrm>
          </p:grpSpPr>
          <p:sp>
            <p:nvSpPr>
              <p:cNvPr id="98" name="TextBox 97">
                <a:extLst>
                  <a:ext uri="{FF2B5EF4-FFF2-40B4-BE49-F238E27FC236}">
                    <a16:creationId xmlns:a16="http://schemas.microsoft.com/office/drawing/2014/main" id="{E7B33A12-7A0C-2246-9AB5-F450D8B11503}"/>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99" name="Straight Connector 98">
                <a:extLst>
                  <a:ext uri="{FF2B5EF4-FFF2-40B4-BE49-F238E27FC236}">
                    <a16:creationId xmlns:a16="http://schemas.microsoft.com/office/drawing/2014/main" id="{0D4B53D7-CA3E-FB4D-A63D-BADCBD970E49}"/>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974CDB72-03FA-8A4E-9296-B7B2E28DC29B}"/>
                </a:ext>
              </a:extLst>
            </p:cNvPr>
            <p:cNvGrpSpPr/>
            <p:nvPr userDrawn="1"/>
          </p:nvGrpSpPr>
          <p:grpSpPr>
            <a:xfrm>
              <a:off x="9554253" y="3678850"/>
              <a:ext cx="2735151" cy="2655095"/>
              <a:chOff x="9541497" y="2555080"/>
              <a:chExt cx="2735151" cy="2655095"/>
            </a:xfrm>
          </p:grpSpPr>
          <p:grpSp>
            <p:nvGrpSpPr>
              <p:cNvPr id="75" name="Group 74">
                <a:extLst>
                  <a:ext uri="{FF2B5EF4-FFF2-40B4-BE49-F238E27FC236}">
                    <a16:creationId xmlns:a16="http://schemas.microsoft.com/office/drawing/2014/main" id="{18C09505-213D-CD4D-BF17-E61EAADA5F20}"/>
                  </a:ext>
                </a:extLst>
              </p:cNvPr>
              <p:cNvGrpSpPr/>
              <p:nvPr userDrawn="1"/>
            </p:nvGrpSpPr>
            <p:grpSpPr>
              <a:xfrm>
                <a:off x="9541497" y="2555080"/>
                <a:ext cx="2735151" cy="2655095"/>
                <a:chOff x="9296567" y="4910411"/>
                <a:chExt cx="2735151" cy="2655095"/>
              </a:xfrm>
            </p:grpSpPr>
            <p:sp>
              <p:nvSpPr>
                <p:cNvPr id="82" name="Rectangle 81">
                  <a:extLst>
                    <a:ext uri="{FF2B5EF4-FFF2-40B4-BE49-F238E27FC236}">
                      <a16:creationId xmlns:a16="http://schemas.microsoft.com/office/drawing/2014/main" id="{CC347E23-6D4D-B649-812E-144EF6DECFD4}"/>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95" name="TextBox 94">
                  <a:extLst>
                    <a:ext uri="{FF2B5EF4-FFF2-40B4-BE49-F238E27FC236}">
                      <a16:creationId xmlns:a16="http://schemas.microsoft.com/office/drawing/2014/main" id="{16BEC7B6-F1D6-7643-98C8-2189518E859C}"/>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Automatic paragraph spacing</a:t>
                  </a:r>
                </a:p>
              </p:txBody>
            </p:sp>
            <p:pic>
              <p:nvPicPr>
                <p:cNvPr id="96" name="Graphic 95">
                  <a:extLst>
                    <a:ext uri="{FF2B5EF4-FFF2-40B4-BE49-F238E27FC236}">
                      <a16:creationId xmlns:a16="http://schemas.microsoft.com/office/drawing/2014/main" id="{2A2F275B-E3A7-3642-954F-EB34B0C169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97" name="TextBox 96">
                  <a:extLst>
                    <a:ext uri="{FF2B5EF4-FFF2-40B4-BE49-F238E27FC236}">
                      <a16:creationId xmlns:a16="http://schemas.microsoft.com/office/drawing/2014/main" id="{A3AC78EC-6FF9-B049-88C7-F70249BFA56A}"/>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a:t>This template automatically adds paragraph spacing between first-level text paragraphs. When pasting in content, remember to delete any extra blank lines from your text.</a:t>
                  </a:r>
                </a:p>
              </p:txBody>
            </p:sp>
          </p:grpSp>
          <p:grpSp>
            <p:nvGrpSpPr>
              <p:cNvPr id="76" name="Group 75">
                <a:extLst>
                  <a:ext uri="{FF2B5EF4-FFF2-40B4-BE49-F238E27FC236}">
                    <a16:creationId xmlns:a16="http://schemas.microsoft.com/office/drawing/2014/main" id="{D6317086-334F-4043-B242-D7E74BBBCAA9}"/>
                  </a:ext>
                </a:extLst>
              </p:cNvPr>
              <p:cNvGrpSpPr/>
              <p:nvPr userDrawn="1"/>
            </p:nvGrpSpPr>
            <p:grpSpPr>
              <a:xfrm>
                <a:off x="9832250" y="3569700"/>
                <a:ext cx="2074000" cy="1627918"/>
                <a:chOff x="9832250" y="3617325"/>
                <a:chExt cx="2074000" cy="1627918"/>
              </a:xfrm>
            </p:grpSpPr>
            <p:pic>
              <p:nvPicPr>
                <p:cNvPr id="77" name="Picture 76">
                  <a:extLst>
                    <a:ext uri="{FF2B5EF4-FFF2-40B4-BE49-F238E27FC236}">
                      <a16:creationId xmlns:a16="http://schemas.microsoft.com/office/drawing/2014/main" id="{AF3D6898-BEF3-2A49-AE86-473124E9AC5F}"/>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78" name="Straight Connector 77">
                  <a:extLst>
                    <a:ext uri="{FF2B5EF4-FFF2-40B4-BE49-F238E27FC236}">
                      <a16:creationId xmlns:a16="http://schemas.microsoft.com/office/drawing/2014/main" id="{7C470EE7-5F1C-FB4E-A043-EC01764FDE8B}"/>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81130AEE-6B11-E249-B62E-846A0B22C7FF}"/>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D1F1B510-9A3A-CF47-819E-D9233F5B8643}"/>
                    </a:ext>
                  </a:extLst>
                </p:cNvPr>
                <p:cNvSpPr txBox="1"/>
                <p:nvPr userDrawn="1"/>
              </p:nvSpPr>
              <p:spPr>
                <a:xfrm>
                  <a:off x="9832250" y="3828243"/>
                  <a:ext cx="257282" cy="184666"/>
                </a:xfrm>
                <a:prstGeom prst="rect">
                  <a:avLst/>
                </a:prstGeom>
              </p:spPr>
              <p:txBody>
                <a:bodyPr vert="horz" wrap="none" lIns="0" tIns="0" rIns="0" bIns="0" rtlCol="0" anchor="t">
                  <a:spAutoFit/>
                </a:bodyPr>
                <a:lstStyle/>
                <a:p>
                  <a:pPr algn="r"/>
                  <a:r>
                    <a:rPr lang="en-US" sz="600">
                      <a:solidFill>
                        <a:schemeClr val="tx1">
                          <a:lumMod val="50000"/>
                          <a:lumOff val="50000"/>
                        </a:schemeClr>
                      </a:solidFill>
                      <a:latin typeface="Arial" charset="0"/>
                      <a:ea typeface="Arial" charset="0"/>
                      <a:cs typeface="Arial" charset="0"/>
                    </a:rPr>
                    <a:t>Automatic</a:t>
                  </a:r>
                  <a:br>
                    <a:rPr lang="en-US" sz="600">
                      <a:solidFill>
                        <a:schemeClr val="tx1">
                          <a:lumMod val="50000"/>
                          <a:lumOff val="50000"/>
                        </a:schemeClr>
                      </a:solidFill>
                      <a:latin typeface="Arial" charset="0"/>
                      <a:ea typeface="Arial" charset="0"/>
                      <a:cs typeface="Arial" charset="0"/>
                    </a:rPr>
                  </a:br>
                  <a:r>
                    <a:rPr lang="en-US" sz="600">
                      <a:solidFill>
                        <a:schemeClr val="tx1">
                          <a:lumMod val="50000"/>
                          <a:lumOff val="50000"/>
                        </a:schemeClr>
                      </a:solidFill>
                      <a:latin typeface="Arial" charset="0"/>
                      <a:ea typeface="Arial" charset="0"/>
                      <a:cs typeface="Arial" charset="0"/>
                    </a:rPr>
                    <a:t>space</a:t>
                  </a:r>
                </a:p>
              </p:txBody>
            </p:sp>
            <p:sp>
              <p:nvSpPr>
                <p:cNvPr id="81" name="TextBox 80">
                  <a:extLst>
                    <a:ext uri="{FF2B5EF4-FFF2-40B4-BE49-F238E27FC236}">
                      <a16:creationId xmlns:a16="http://schemas.microsoft.com/office/drawing/2014/main" id="{1A6AE980-A7ED-D944-83C0-3FD9E44543EE}"/>
                    </a:ext>
                  </a:extLst>
                </p:cNvPr>
                <p:cNvSpPr txBox="1"/>
                <p:nvPr userDrawn="1"/>
              </p:nvSpPr>
              <p:spPr>
                <a:xfrm>
                  <a:off x="9832250" y="4721742"/>
                  <a:ext cx="257282" cy="184666"/>
                </a:xfrm>
                <a:prstGeom prst="rect">
                  <a:avLst/>
                </a:prstGeom>
              </p:spPr>
              <p:txBody>
                <a:bodyPr vert="horz" wrap="none" lIns="0" tIns="0" rIns="0" bIns="0" rtlCol="0" anchor="t">
                  <a:spAutoFit/>
                </a:bodyPr>
                <a:lstStyle/>
                <a:p>
                  <a:pPr algn="r"/>
                  <a:r>
                    <a:rPr lang="en-US" sz="600">
                      <a:solidFill>
                        <a:schemeClr val="tx1">
                          <a:lumMod val="50000"/>
                          <a:lumOff val="50000"/>
                        </a:schemeClr>
                      </a:solidFill>
                      <a:latin typeface="Arial" charset="0"/>
                      <a:ea typeface="Arial" charset="0"/>
                      <a:cs typeface="Arial" charset="0"/>
                    </a:rPr>
                    <a:t>Automatic</a:t>
                  </a:r>
                  <a:br>
                    <a:rPr lang="en-US" sz="600">
                      <a:solidFill>
                        <a:schemeClr val="tx1">
                          <a:lumMod val="50000"/>
                          <a:lumOff val="50000"/>
                        </a:schemeClr>
                      </a:solidFill>
                      <a:latin typeface="Arial" charset="0"/>
                      <a:ea typeface="Arial" charset="0"/>
                      <a:cs typeface="Arial" charset="0"/>
                    </a:rPr>
                  </a:br>
                  <a:r>
                    <a:rPr lang="en-US" sz="600">
                      <a:solidFill>
                        <a:schemeClr val="tx1">
                          <a:lumMod val="50000"/>
                          <a:lumOff val="50000"/>
                        </a:schemeClr>
                      </a:solidFill>
                      <a:latin typeface="Arial" charset="0"/>
                      <a:ea typeface="Arial" charset="0"/>
                      <a:cs typeface="Arial" charset="0"/>
                    </a:rPr>
                    <a:t>space</a:t>
                  </a:r>
                </a:p>
              </p:txBody>
            </p:sp>
          </p:grpSp>
        </p:grpSp>
        <p:grpSp>
          <p:nvGrpSpPr>
            <p:cNvPr id="63" name="Group 62">
              <a:extLst>
                <a:ext uri="{FF2B5EF4-FFF2-40B4-BE49-F238E27FC236}">
                  <a16:creationId xmlns:a16="http://schemas.microsoft.com/office/drawing/2014/main" id="{CDFECE10-22F4-404C-A6C5-6A6DD3C954B0}"/>
                </a:ext>
              </a:extLst>
            </p:cNvPr>
            <p:cNvGrpSpPr/>
            <p:nvPr userDrawn="1"/>
          </p:nvGrpSpPr>
          <p:grpSpPr>
            <a:xfrm>
              <a:off x="9558506" y="2409506"/>
              <a:ext cx="2639327" cy="684608"/>
              <a:chOff x="9558506" y="2476806"/>
              <a:chExt cx="2639327" cy="684608"/>
            </a:xfrm>
          </p:grpSpPr>
          <p:pic>
            <p:nvPicPr>
              <p:cNvPr id="72" name="Picture 71">
                <a:extLst>
                  <a:ext uri="{FF2B5EF4-FFF2-40B4-BE49-F238E27FC236}">
                    <a16:creationId xmlns:a16="http://schemas.microsoft.com/office/drawing/2014/main" id="{3BD7BB2A-9EBD-D14C-849E-BCCBBF3F1D5B}"/>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73" name="Rectangle 72">
                <a:extLst>
                  <a:ext uri="{FF2B5EF4-FFF2-40B4-BE49-F238E27FC236}">
                    <a16:creationId xmlns:a16="http://schemas.microsoft.com/office/drawing/2014/main" id="{DA9C5115-E2EE-5340-8081-441C2AF4DF17}"/>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4" name="TextBox 73">
                <a:extLst>
                  <a:ext uri="{FF2B5EF4-FFF2-40B4-BE49-F238E27FC236}">
                    <a16:creationId xmlns:a16="http://schemas.microsoft.com/office/drawing/2014/main" id="{82E5B01B-8CE0-0240-9FA6-3667F5C0F9BC}"/>
                  </a:ext>
                </a:extLst>
              </p:cNvPr>
              <p:cNvSpPr txBox="1"/>
              <p:nvPr userDrawn="1"/>
            </p:nvSpPr>
            <p:spPr>
              <a:xfrm>
                <a:off x="9635558" y="2549805"/>
                <a:ext cx="676269" cy="430887"/>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a:solidFill>
                      <a:schemeClr val="bg1"/>
                    </a:solidFill>
                    <a:latin typeface="+mn-lt"/>
                    <a:ea typeface="+mn-ea"/>
                    <a:cs typeface="+mn-cs"/>
                  </a:rPr>
                  <a:t>Note: </a:t>
                </a:r>
                <a:br>
                  <a:rPr lang="en-US" sz="700" kern="1200">
                    <a:solidFill>
                      <a:schemeClr val="bg1"/>
                    </a:solidFill>
                    <a:latin typeface="+mn-lt"/>
                    <a:ea typeface="+mn-ea"/>
                    <a:cs typeface="+mn-cs"/>
                  </a:rPr>
                </a:br>
                <a:r>
                  <a:rPr lang="en-US" sz="700" kern="1200">
                    <a:solidFill>
                      <a:schemeClr val="bg1"/>
                    </a:solidFill>
                    <a:latin typeface="+mn-lt"/>
                    <a:ea typeface="+mn-ea"/>
                    <a:cs typeface="+mn-cs"/>
                  </a:rPr>
                  <a:t>For numbered lists, see the most up-to-date Asset File.</a:t>
                </a:r>
              </a:p>
            </p:txBody>
          </p:sp>
        </p:grpSp>
        <p:grpSp>
          <p:nvGrpSpPr>
            <p:cNvPr id="64" name="Group 63">
              <a:extLst>
                <a:ext uri="{FF2B5EF4-FFF2-40B4-BE49-F238E27FC236}">
                  <a16:creationId xmlns:a16="http://schemas.microsoft.com/office/drawing/2014/main" id="{3C4AE3C0-219A-584B-812F-56244C37C85F}"/>
                </a:ext>
              </a:extLst>
            </p:cNvPr>
            <p:cNvGrpSpPr/>
            <p:nvPr userDrawn="1"/>
          </p:nvGrpSpPr>
          <p:grpSpPr>
            <a:xfrm>
              <a:off x="9554253" y="2414886"/>
              <a:ext cx="2819399" cy="1181890"/>
              <a:chOff x="9541498" y="3352649"/>
              <a:chExt cx="2819399" cy="1181890"/>
            </a:xfrm>
          </p:grpSpPr>
          <p:grpSp>
            <p:nvGrpSpPr>
              <p:cNvPr id="65" name="Group 64">
                <a:extLst>
                  <a:ext uri="{FF2B5EF4-FFF2-40B4-BE49-F238E27FC236}">
                    <a16:creationId xmlns:a16="http://schemas.microsoft.com/office/drawing/2014/main" id="{53802C2B-0A85-184A-80C7-FC5A11B0AE1E}"/>
                  </a:ext>
                </a:extLst>
              </p:cNvPr>
              <p:cNvGrpSpPr/>
              <p:nvPr userDrawn="1"/>
            </p:nvGrpSpPr>
            <p:grpSpPr>
              <a:xfrm>
                <a:off x="9541498" y="3352649"/>
                <a:ext cx="2735150" cy="1181890"/>
                <a:chOff x="9541498" y="3751132"/>
                <a:chExt cx="2735150" cy="1181890"/>
              </a:xfrm>
            </p:grpSpPr>
            <p:grpSp>
              <p:nvGrpSpPr>
                <p:cNvPr id="67" name="Group 66">
                  <a:extLst>
                    <a:ext uri="{FF2B5EF4-FFF2-40B4-BE49-F238E27FC236}">
                      <a16:creationId xmlns:a16="http://schemas.microsoft.com/office/drawing/2014/main" id="{0FF3A6D0-7628-5C47-B08E-8AC972EFFFCF}"/>
                    </a:ext>
                  </a:extLst>
                </p:cNvPr>
                <p:cNvGrpSpPr/>
                <p:nvPr userDrawn="1"/>
              </p:nvGrpSpPr>
              <p:grpSpPr>
                <a:xfrm>
                  <a:off x="9541498" y="3751132"/>
                  <a:ext cx="2735150" cy="1181890"/>
                  <a:chOff x="9296568" y="4910411"/>
                  <a:chExt cx="2735150" cy="1181890"/>
                </a:xfrm>
              </p:grpSpPr>
              <p:sp>
                <p:nvSpPr>
                  <p:cNvPr id="69" name="Rectangle 68">
                    <a:extLst>
                      <a:ext uri="{FF2B5EF4-FFF2-40B4-BE49-F238E27FC236}">
                        <a16:creationId xmlns:a16="http://schemas.microsoft.com/office/drawing/2014/main" id="{15BC31AA-C3C5-864D-AEA5-A6A6CA877D3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0" name="TextBox 69">
                    <a:extLst>
                      <a:ext uri="{FF2B5EF4-FFF2-40B4-BE49-F238E27FC236}">
                        <a16:creationId xmlns:a16="http://schemas.microsoft.com/office/drawing/2014/main" id="{D6A3EBA3-3CEF-B042-9525-0B3E3D5B3807}"/>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71" name="TextBox 70">
                    <a:extLst>
                      <a:ext uri="{FF2B5EF4-FFF2-40B4-BE49-F238E27FC236}">
                        <a16:creationId xmlns:a16="http://schemas.microsoft.com/office/drawing/2014/main" id="{33A483ED-7E9B-644A-B91B-E8719D2432E5}"/>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8" name="Graphic 67">
                  <a:extLst>
                    <a:ext uri="{FF2B5EF4-FFF2-40B4-BE49-F238E27FC236}">
                      <a16:creationId xmlns:a16="http://schemas.microsoft.com/office/drawing/2014/main" id="{7335EC3B-92DE-4E46-9ACF-131FE776FBE8}"/>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66" name="Picture 65">
                <a:extLst>
                  <a:ext uri="{FF2B5EF4-FFF2-40B4-BE49-F238E27FC236}">
                    <a16:creationId xmlns:a16="http://schemas.microsoft.com/office/drawing/2014/main" id="{C46B4E7C-3E55-4C4F-B3EA-6E7A0C388F32}"/>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946728426"/>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Map and Chart">
    <p:spTree>
      <p:nvGrpSpPr>
        <p:cNvPr id="1" name=""/>
        <p:cNvGrpSpPr/>
        <p:nvPr/>
      </p:nvGrpSpPr>
      <p:grpSpPr>
        <a:xfrm>
          <a:off x="0" y="0"/>
          <a:ext cx="0" cy="0"/>
          <a:chOff x="0" y="0"/>
          <a:chExt cx="0" cy="0"/>
        </a:xfrm>
      </p:grpSpPr>
      <p:sp>
        <p:nvSpPr>
          <p:cNvPr id="66" name="Picture Placeholder 65">
            <a:extLst>
              <a:ext uri="{FF2B5EF4-FFF2-40B4-BE49-F238E27FC236}">
                <a16:creationId xmlns:a16="http://schemas.microsoft.com/office/drawing/2014/main" id="{47AC9F2B-9FA3-B946-AE1F-F9768BBA8DF6}"/>
              </a:ext>
            </a:extLst>
          </p:cNvPr>
          <p:cNvSpPr>
            <a:spLocks noGrp="1"/>
          </p:cNvSpPr>
          <p:nvPr>
            <p:ph type="pic" sz="quarter" idx="1002" hasCustomPrompt="1"/>
          </p:nvPr>
        </p:nvSpPr>
        <p:spPr>
          <a:xfrm>
            <a:off x="-2337" y="-5203"/>
            <a:ext cx="12196676" cy="6868407"/>
          </a:xfrm>
          <a:custGeom>
            <a:avLst/>
            <a:gdLst>
              <a:gd name="connsiteX0" fmla="*/ 8385242 w 9147507"/>
              <a:gd name="connsiteY0" fmla="*/ 6586428 h 6868407"/>
              <a:gd name="connsiteX1" fmla="*/ 8402449 w 9147507"/>
              <a:gd name="connsiteY1" fmla="*/ 6588283 h 6868407"/>
              <a:gd name="connsiteX2" fmla="*/ 8411354 w 9147507"/>
              <a:gd name="connsiteY2" fmla="*/ 6595072 h 6868407"/>
              <a:gd name="connsiteX3" fmla="*/ 8417054 w 9147507"/>
              <a:gd name="connsiteY3" fmla="*/ 6605397 h 6868407"/>
              <a:gd name="connsiteX4" fmla="*/ 8419091 w 9147507"/>
              <a:gd name="connsiteY4" fmla="*/ 6618609 h 6868407"/>
              <a:gd name="connsiteX5" fmla="*/ 8417153 w 9147507"/>
              <a:gd name="connsiteY5" fmla="*/ 6631680 h 6868407"/>
              <a:gd name="connsiteX6" fmla="*/ 8411454 w 9147507"/>
              <a:gd name="connsiteY6" fmla="*/ 6642075 h 6868407"/>
              <a:gd name="connsiteX7" fmla="*/ 8379394 w 9147507"/>
              <a:gd name="connsiteY7" fmla="*/ 6648920 h 6868407"/>
              <a:gd name="connsiteX8" fmla="*/ 8370417 w 9147507"/>
              <a:gd name="connsiteY8" fmla="*/ 6642075 h 6868407"/>
              <a:gd name="connsiteX9" fmla="*/ 8364718 w 9147507"/>
              <a:gd name="connsiteY9" fmla="*/ 6631680 h 6868407"/>
              <a:gd name="connsiteX10" fmla="*/ 8362552 w 9147507"/>
              <a:gd name="connsiteY10" fmla="*/ 6618609 h 6868407"/>
              <a:gd name="connsiteX11" fmla="*/ 8364604 w 9147507"/>
              <a:gd name="connsiteY11" fmla="*/ 6605397 h 6868407"/>
              <a:gd name="connsiteX12" fmla="*/ 8370303 w 9147507"/>
              <a:gd name="connsiteY12" fmla="*/ 6595072 h 6868407"/>
              <a:gd name="connsiteX13" fmla="*/ 8385242 w 9147507"/>
              <a:gd name="connsiteY13" fmla="*/ 6586428 h 6868407"/>
              <a:gd name="connsiteX14" fmla="*/ 8529140 w 9147507"/>
              <a:gd name="connsiteY14" fmla="*/ 6563892 h 6868407"/>
              <a:gd name="connsiteX15" fmla="*/ 8529140 w 9147507"/>
              <a:gd name="connsiteY15" fmla="*/ 6609838 h 6868407"/>
              <a:gd name="connsiteX16" fmla="*/ 8529140 w 9147507"/>
              <a:gd name="connsiteY16" fmla="*/ 6673179 h 6868407"/>
              <a:gd name="connsiteX17" fmla="*/ 8599130 w 9147507"/>
              <a:gd name="connsiteY17" fmla="*/ 6673179 h 6868407"/>
              <a:gd name="connsiteX18" fmla="*/ 8599529 w 9147507"/>
              <a:gd name="connsiteY18" fmla="*/ 6673179 h 6868407"/>
              <a:gd name="connsiteX19" fmla="*/ 8599529 w 9147507"/>
              <a:gd name="connsiteY19" fmla="*/ 6656178 h 6868407"/>
              <a:gd name="connsiteX20" fmla="*/ 8599130 w 9147507"/>
              <a:gd name="connsiteY20" fmla="*/ 6656178 h 6868407"/>
              <a:gd name="connsiteX21" fmla="*/ 8599130 w 9147507"/>
              <a:gd name="connsiteY21" fmla="*/ 6650080 h 6868407"/>
              <a:gd name="connsiteX22" fmla="*/ 8554802 w 9147507"/>
              <a:gd name="connsiteY22" fmla="*/ 6650080 h 6868407"/>
              <a:gd name="connsiteX23" fmla="*/ 8554802 w 9147507"/>
              <a:gd name="connsiteY23" fmla="*/ 6628755 h 6868407"/>
              <a:gd name="connsiteX24" fmla="*/ 8595212 w 9147507"/>
              <a:gd name="connsiteY24" fmla="*/ 6628755 h 6868407"/>
              <a:gd name="connsiteX25" fmla="*/ 8595212 w 9147507"/>
              <a:gd name="connsiteY25" fmla="*/ 6606683 h 6868407"/>
              <a:gd name="connsiteX26" fmla="*/ 8554802 w 9147507"/>
              <a:gd name="connsiteY26" fmla="*/ 6606683 h 6868407"/>
              <a:gd name="connsiteX27" fmla="*/ 8554802 w 9147507"/>
              <a:gd name="connsiteY27" fmla="*/ 6587161 h 6868407"/>
              <a:gd name="connsiteX28" fmla="*/ 8599130 w 9147507"/>
              <a:gd name="connsiteY28" fmla="*/ 6587161 h 6868407"/>
              <a:gd name="connsiteX29" fmla="*/ 8599130 w 9147507"/>
              <a:gd name="connsiteY29" fmla="*/ 6580893 h 6868407"/>
              <a:gd name="connsiteX30" fmla="*/ 8599529 w 9147507"/>
              <a:gd name="connsiteY30" fmla="*/ 6580893 h 6868407"/>
              <a:gd name="connsiteX31" fmla="*/ 8599529 w 9147507"/>
              <a:gd name="connsiteY31" fmla="*/ 6563892 h 6868407"/>
              <a:gd name="connsiteX32" fmla="*/ 8599130 w 9147507"/>
              <a:gd name="connsiteY32" fmla="*/ 6563892 h 6868407"/>
              <a:gd name="connsiteX33" fmla="*/ 8550869 w 9147507"/>
              <a:gd name="connsiteY33" fmla="*/ 6563892 h 6868407"/>
              <a:gd name="connsiteX34" fmla="*/ 8451684 w 9147507"/>
              <a:gd name="connsiteY34" fmla="*/ 6563892 h 6868407"/>
              <a:gd name="connsiteX35" fmla="*/ 8451684 w 9147507"/>
              <a:gd name="connsiteY35" fmla="*/ 6609838 h 6868407"/>
              <a:gd name="connsiteX36" fmla="*/ 8451684 w 9147507"/>
              <a:gd name="connsiteY36" fmla="*/ 6673179 h 6868407"/>
              <a:gd name="connsiteX37" fmla="*/ 8521674 w 9147507"/>
              <a:gd name="connsiteY37" fmla="*/ 6673179 h 6868407"/>
              <a:gd name="connsiteX38" fmla="*/ 8522059 w 9147507"/>
              <a:gd name="connsiteY38" fmla="*/ 6673179 h 6868407"/>
              <a:gd name="connsiteX39" fmla="*/ 8522059 w 9147507"/>
              <a:gd name="connsiteY39" fmla="*/ 6656178 h 6868407"/>
              <a:gd name="connsiteX40" fmla="*/ 8521674 w 9147507"/>
              <a:gd name="connsiteY40" fmla="*/ 6656178 h 6868407"/>
              <a:gd name="connsiteX41" fmla="*/ 8521674 w 9147507"/>
              <a:gd name="connsiteY41" fmla="*/ 6650080 h 6868407"/>
              <a:gd name="connsiteX42" fmla="*/ 8477332 w 9147507"/>
              <a:gd name="connsiteY42" fmla="*/ 6650080 h 6868407"/>
              <a:gd name="connsiteX43" fmla="*/ 8477332 w 9147507"/>
              <a:gd name="connsiteY43" fmla="*/ 6628755 h 6868407"/>
              <a:gd name="connsiteX44" fmla="*/ 8517742 w 9147507"/>
              <a:gd name="connsiteY44" fmla="*/ 6628755 h 6868407"/>
              <a:gd name="connsiteX45" fmla="*/ 8517742 w 9147507"/>
              <a:gd name="connsiteY45" fmla="*/ 6606683 h 6868407"/>
              <a:gd name="connsiteX46" fmla="*/ 8477332 w 9147507"/>
              <a:gd name="connsiteY46" fmla="*/ 6606683 h 6868407"/>
              <a:gd name="connsiteX47" fmla="*/ 8477332 w 9147507"/>
              <a:gd name="connsiteY47" fmla="*/ 6587161 h 6868407"/>
              <a:gd name="connsiteX48" fmla="*/ 8521674 w 9147507"/>
              <a:gd name="connsiteY48" fmla="*/ 6587161 h 6868407"/>
              <a:gd name="connsiteX49" fmla="*/ 8521674 w 9147507"/>
              <a:gd name="connsiteY49" fmla="*/ 6580893 h 6868407"/>
              <a:gd name="connsiteX50" fmla="*/ 8522059 w 9147507"/>
              <a:gd name="connsiteY50" fmla="*/ 6580893 h 6868407"/>
              <a:gd name="connsiteX51" fmla="*/ 8522059 w 9147507"/>
              <a:gd name="connsiteY51" fmla="*/ 6563892 h 6868407"/>
              <a:gd name="connsiteX52" fmla="*/ 8521674 w 9147507"/>
              <a:gd name="connsiteY52" fmla="*/ 6563892 h 6868407"/>
              <a:gd name="connsiteX53" fmla="*/ 8473399 w 9147507"/>
              <a:gd name="connsiteY53" fmla="*/ 6563892 h 6868407"/>
              <a:gd name="connsiteX54" fmla="*/ 8391420 w 9147507"/>
              <a:gd name="connsiteY54" fmla="*/ 6563859 h 6868407"/>
              <a:gd name="connsiteX55" fmla="*/ 8368793 w 9147507"/>
              <a:gd name="connsiteY55" fmla="*/ 6568085 h 6868407"/>
              <a:gd name="connsiteX56" fmla="*/ 8360657 w 9147507"/>
              <a:gd name="connsiteY56" fmla="*/ 6572212 h 6868407"/>
              <a:gd name="connsiteX57" fmla="*/ 8336291 w 9147507"/>
              <a:gd name="connsiteY57" fmla="*/ 6623778 h 6868407"/>
              <a:gd name="connsiteX58" fmla="*/ 8339896 w 9147507"/>
              <a:gd name="connsiteY58" fmla="*/ 6640258 h 6868407"/>
              <a:gd name="connsiteX59" fmla="*/ 8367938 w 9147507"/>
              <a:gd name="connsiteY59" fmla="*/ 6668991 h 6868407"/>
              <a:gd name="connsiteX60" fmla="*/ 8390423 w 9147507"/>
              <a:gd name="connsiteY60" fmla="*/ 6673217 h 6868407"/>
              <a:gd name="connsiteX61" fmla="*/ 8412993 w 9147507"/>
              <a:gd name="connsiteY61" fmla="*/ 6668991 h 6868407"/>
              <a:gd name="connsiteX62" fmla="*/ 8430433 w 9147507"/>
              <a:gd name="connsiteY62" fmla="*/ 6657512 h 6868407"/>
              <a:gd name="connsiteX63" fmla="*/ 8441747 w 9147507"/>
              <a:gd name="connsiteY63" fmla="*/ 6640258 h 6868407"/>
              <a:gd name="connsiteX64" fmla="*/ 8445765 w 9147507"/>
              <a:gd name="connsiteY64" fmla="*/ 6618609 h 6868407"/>
              <a:gd name="connsiteX65" fmla="*/ 8441904 w 9147507"/>
              <a:gd name="connsiteY65" fmla="*/ 6596875 h 6868407"/>
              <a:gd name="connsiteX66" fmla="*/ 8430946 w 9147507"/>
              <a:gd name="connsiteY66" fmla="*/ 6579564 h 6868407"/>
              <a:gd name="connsiteX67" fmla="*/ 8413848 w 9147507"/>
              <a:gd name="connsiteY67" fmla="*/ 6568085 h 6868407"/>
              <a:gd name="connsiteX68" fmla="*/ 8391420 w 9147507"/>
              <a:gd name="connsiteY68" fmla="*/ 6563859 h 6868407"/>
              <a:gd name="connsiteX69" fmla="*/ 8248710 w 9147507"/>
              <a:gd name="connsiteY69" fmla="*/ 6563512 h 6868407"/>
              <a:gd name="connsiteX70" fmla="*/ 8265053 w 9147507"/>
              <a:gd name="connsiteY70" fmla="*/ 6597584 h 6868407"/>
              <a:gd name="connsiteX71" fmla="*/ 8292012 w 9147507"/>
              <a:gd name="connsiteY71" fmla="*/ 6597584 h 6868407"/>
              <a:gd name="connsiteX72" fmla="*/ 8277663 w 9147507"/>
              <a:gd name="connsiteY72" fmla="*/ 6563512 h 6868407"/>
              <a:gd name="connsiteX73" fmla="*/ 8328560 w 9147507"/>
              <a:gd name="connsiteY73" fmla="*/ 6563498 h 6868407"/>
              <a:gd name="connsiteX74" fmla="*/ 8302870 w 9147507"/>
              <a:gd name="connsiteY74" fmla="*/ 6622628 h 6868407"/>
              <a:gd name="connsiteX75" fmla="*/ 8295902 w 9147507"/>
              <a:gd name="connsiteY75" fmla="*/ 6606289 h 6868407"/>
              <a:gd name="connsiteX76" fmla="*/ 8269157 w 9147507"/>
              <a:gd name="connsiteY76" fmla="*/ 6606289 h 6868407"/>
              <a:gd name="connsiteX77" fmla="*/ 8301089 w 9147507"/>
              <a:gd name="connsiteY77" fmla="*/ 6672954 h 6868407"/>
              <a:gd name="connsiteX78" fmla="*/ 8304052 w 9147507"/>
              <a:gd name="connsiteY78" fmla="*/ 6672954 h 6868407"/>
              <a:gd name="connsiteX79" fmla="*/ 8355790 w 9147507"/>
              <a:gd name="connsiteY79" fmla="*/ 6563498 h 6868407"/>
              <a:gd name="connsiteX80" fmla="*/ 8707789 w 9147507"/>
              <a:gd name="connsiteY80" fmla="*/ 6525960 h 6868407"/>
              <a:gd name="connsiteX81" fmla="*/ 8707789 w 9147507"/>
              <a:gd name="connsiteY81" fmla="*/ 6700888 h 6868407"/>
              <a:gd name="connsiteX82" fmla="*/ 8727178 w 9147507"/>
              <a:gd name="connsiteY82" fmla="*/ 6700888 h 6868407"/>
              <a:gd name="connsiteX83" fmla="*/ 8727178 w 9147507"/>
              <a:gd name="connsiteY83" fmla="*/ 6525960 h 6868407"/>
              <a:gd name="connsiteX84" fmla="*/ 3507 w 9147507"/>
              <a:gd name="connsiteY84" fmla="*/ 0 h 6868407"/>
              <a:gd name="connsiteX85" fmla="*/ 9147507 w 9147507"/>
              <a:gd name="connsiteY85" fmla="*/ 0 h 6868407"/>
              <a:gd name="connsiteX86" fmla="*/ 9147507 w 9147507"/>
              <a:gd name="connsiteY86" fmla="*/ 5003881 h 6868407"/>
              <a:gd name="connsiteX87" fmla="*/ 9147507 w 9147507"/>
              <a:gd name="connsiteY87" fmla="*/ 5873907 h 6868407"/>
              <a:gd name="connsiteX88" fmla="*/ 9147507 w 9147507"/>
              <a:gd name="connsiteY88" fmla="*/ 6210038 h 6868407"/>
              <a:gd name="connsiteX89" fmla="*/ 9147507 w 9147507"/>
              <a:gd name="connsiteY89" fmla="*/ 6327592 h 6868407"/>
              <a:gd name="connsiteX90" fmla="*/ 9147507 w 9147507"/>
              <a:gd name="connsiteY90" fmla="*/ 6868406 h 6868407"/>
              <a:gd name="connsiteX91" fmla="*/ 7642249 w 9147507"/>
              <a:gd name="connsiteY91" fmla="*/ 6868406 h 6868407"/>
              <a:gd name="connsiteX92" fmla="*/ 7642249 w 9147507"/>
              <a:gd name="connsiteY92" fmla="*/ 6868407 h 6868407"/>
              <a:gd name="connsiteX93" fmla="*/ 0 w 9147507"/>
              <a:gd name="connsiteY93" fmla="*/ 6868407 h 6868407"/>
              <a:gd name="connsiteX94" fmla="*/ 0 w 9147507"/>
              <a:gd name="connsiteY94" fmla="*/ 10407 h 6868407"/>
              <a:gd name="connsiteX95" fmla="*/ 3507 w 9147507"/>
              <a:gd name="connsiteY95" fmla="*/ 10407 h 6868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9147507" h="6868407">
                <a:moveTo>
                  <a:pt x="8385242" y="6586428"/>
                </a:moveTo>
                <a:cubicBezTo>
                  <a:pt x="8390892" y="6585235"/>
                  <a:pt x="8396920" y="6585791"/>
                  <a:pt x="8402449" y="6588283"/>
                </a:cubicBezTo>
                <a:cubicBezTo>
                  <a:pt x="8405868" y="6589901"/>
                  <a:pt x="8408903" y="6592214"/>
                  <a:pt x="8411354" y="6595072"/>
                </a:cubicBezTo>
                <a:cubicBezTo>
                  <a:pt x="8413894" y="6598129"/>
                  <a:pt x="8415827" y="6601632"/>
                  <a:pt x="8417054" y="6605397"/>
                </a:cubicBezTo>
                <a:cubicBezTo>
                  <a:pt x="8418459" y="6609661"/>
                  <a:pt x="8419147" y="6614124"/>
                  <a:pt x="8419091" y="6618609"/>
                </a:cubicBezTo>
                <a:cubicBezTo>
                  <a:pt x="8419172" y="6623041"/>
                  <a:pt x="8418518" y="6627457"/>
                  <a:pt x="8417153" y="6631680"/>
                </a:cubicBezTo>
                <a:cubicBezTo>
                  <a:pt x="8415918" y="6635462"/>
                  <a:pt x="8413985" y="6638986"/>
                  <a:pt x="8411454" y="6642075"/>
                </a:cubicBezTo>
                <a:cubicBezTo>
                  <a:pt x="8403479" y="6651121"/>
                  <a:pt x="8390435" y="6653906"/>
                  <a:pt x="8379394" y="6648920"/>
                </a:cubicBezTo>
                <a:cubicBezTo>
                  <a:pt x="8375930" y="6647317"/>
                  <a:pt x="8372865" y="6644980"/>
                  <a:pt x="8370417" y="6642075"/>
                </a:cubicBezTo>
                <a:cubicBezTo>
                  <a:pt x="8367886" y="6638986"/>
                  <a:pt x="8365953" y="6635462"/>
                  <a:pt x="8364718" y="6631680"/>
                </a:cubicBezTo>
                <a:cubicBezTo>
                  <a:pt x="8363276" y="6627469"/>
                  <a:pt x="8362545" y="6623053"/>
                  <a:pt x="8362552" y="6618609"/>
                </a:cubicBezTo>
                <a:cubicBezTo>
                  <a:pt x="8362500" y="6614123"/>
                  <a:pt x="8363193" y="6609660"/>
                  <a:pt x="8364604" y="6605397"/>
                </a:cubicBezTo>
                <a:cubicBezTo>
                  <a:pt x="8365830" y="6601632"/>
                  <a:pt x="8367764" y="6598129"/>
                  <a:pt x="8370303" y="6595072"/>
                </a:cubicBezTo>
                <a:cubicBezTo>
                  <a:pt x="8374320" y="6590564"/>
                  <a:pt x="8379592" y="6587621"/>
                  <a:pt x="8385242" y="6586428"/>
                </a:cubicBezTo>
                <a:close/>
                <a:moveTo>
                  <a:pt x="8529140" y="6563892"/>
                </a:moveTo>
                <a:lnTo>
                  <a:pt x="8529140" y="6609838"/>
                </a:lnTo>
                <a:lnTo>
                  <a:pt x="8529140" y="6673179"/>
                </a:lnTo>
                <a:lnTo>
                  <a:pt x="8599130" y="6673179"/>
                </a:lnTo>
                <a:lnTo>
                  <a:pt x="8599529" y="6673179"/>
                </a:lnTo>
                <a:lnTo>
                  <a:pt x="8599529" y="6656178"/>
                </a:lnTo>
                <a:lnTo>
                  <a:pt x="8599130" y="6656178"/>
                </a:lnTo>
                <a:lnTo>
                  <a:pt x="8599130" y="6650080"/>
                </a:lnTo>
                <a:lnTo>
                  <a:pt x="8554802" y="6650080"/>
                </a:lnTo>
                <a:lnTo>
                  <a:pt x="8554802" y="6628755"/>
                </a:lnTo>
                <a:lnTo>
                  <a:pt x="8595212" y="6628755"/>
                </a:lnTo>
                <a:lnTo>
                  <a:pt x="8595212" y="6606683"/>
                </a:lnTo>
                <a:lnTo>
                  <a:pt x="8554802" y="6606683"/>
                </a:lnTo>
                <a:lnTo>
                  <a:pt x="8554802" y="6587161"/>
                </a:lnTo>
                <a:lnTo>
                  <a:pt x="8599130" y="6587161"/>
                </a:lnTo>
                <a:lnTo>
                  <a:pt x="8599130" y="6580893"/>
                </a:lnTo>
                <a:lnTo>
                  <a:pt x="8599529" y="6580893"/>
                </a:lnTo>
                <a:lnTo>
                  <a:pt x="8599529" y="6563892"/>
                </a:lnTo>
                <a:lnTo>
                  <a:pt x="8599130" y="6563892"/>
                </a:lnTo>
                <a:lnTo>
                  <a:pt x="8550869" y="6563892"/>
                </a:lnTo>
                <a:close/>
                <a:moveTo>
                  <a:pt x="8451684" y="6563892"/>
                </a:moveTo>
                <a:lnTo>
                  <a:pt x="8451684" y="6609838"/>
                </a:lnTo>
                <a:lnTo>
                  <a:pt x="8451684" y="6673179"/>
                </a:lnTo>
                <a:lnTo>
                  <a:pt x="8521674" y="6673179"/>
                </a:lnTo>
                <a:lnTo>
                  <a:pt x="8522059" y="6673179"/>
                </a:lnTo>
                <a:lnTo>
                  <a:pt x="8522059" y="6656178"/>
                </a:lnTo>
                <a:lnTo>
                  <a:pt x="8521674" y="6656178"/>
                </a:lnTo>
                <a:lnTo>
                  <a:pt x="8521674" y="6650080"/>
                </a:lnTo>
                <a:lnTo>
                  <a:pt x="8477332" y="6650080"/>
                </a:lnTo>
                <a:lnTo>
                  <a:pt x="8477332" y="6628755"/>
                </a:lnTo>
                <a:lnTo>
                  <a:pt x="8517742" y="6628755"/>
                </a:lnTo>
                <a:lnTo>
                  <a:pt x="8517742" y="6606683"/>
                </a:lnTo>
                <a:lnTo>
                  <a:pt x="8477332" y="6606683"/>
                </a:lnTo>
                <a:lnTo>
                  <a:pt x="8477332" y="6587161"/>
                </a:lnTo>
                <a:lnTo>
                  <a:pt x="8521674" y="6587161"/>
                </a:lnTo>
                <a:lnTo>
                  <a:pt x="8521674" y="6580893"/>
                </a:lnTo>
                <a:lnTo>
                  <a:pt x="8522059" y="6580893"/>
                </a:lnTo>
                <a:lnTo>
                  <a:pt x="8522059" y="6563892"/>
                </a:lnTo>
                <a:lnTo>
                  <a:pt x="8521674" y="6563892"/>
                </a:lnTo>
                <a:lnTo>
                  <a:pt x="8473399" y="6563892"/>
                </a:lnTo>
                <a:close/>
                <a:moveTo>
                  <a:pt x="8391420" y="6563859"/>
                </a:moveTo>
                <a:cubicBezTo>
                  <a:pt x="8383669" y="6563775"/>
                  <a:pt x="8375978" y="6565211"/>
                  <a:pt x="8368793" y="6568085"/>
                </a:cubicBezTo>
                <a:cubicBezTo>
                  <a:pt x="8365970" y="6569236"/>
                  <a:pt x="8363249" y="6570617"/>
                  <a:pt x="8360657" y="6572212"/>
                </a:cubicBezTo>
                <a:lnTo>
                  <a:pt x="8336291" y="6623778"/>
                </a:lnTo>
                <a:cubicBezTo>
                  <a:pt x="8336685" y="6629414"/>
                  <a:pt x="8337899" y="6634964"/>
                  <a:pt x="8339896" y="6640258"/>
                </a:cubicBezTo>
                <a:cubicBezTo>
                  <a:pt x="8344700" y="6653332"/>
                  <a:pt x="8354892" y="6663776"/>
                  <a:pt x="8367938" y="6668991"/>
                </a:cubicBezTo>
                <a:cubicBezTo>
                  <a:pt x="8375071" y="6671875"/>
                  <a:pt x="8382717" y="6673312"/>
                  <a:pt x="8390423" y="6673217"/>
                </a:cubicBezTo>
                <a:cubicBezTo>
                  <a:pt x="8398155" y="6673304"/>
                  <a:pt x="8405828" y="6671868"/>
                  <a:pt x="8412993" y="6668991"/>
                </a:cubicBezTo>
                <a:cubicBezTo>
                  <a:pt x="8419520" y="6666349"/>
                  <a:pt x="8425450" y="6662447"/>
                  <a:pt x="8430433" y="6657512"/>
                </a:cubicBezTo>
                <a:cubicBezTo>
                  <a:pt x="8435357" y="6652585"/>
                  <a:pt x="8439207" y="6646712"/>
                  <a:pt x="8441747" y="6640258"/>
                </a:cubicBezTo>
                <a:cubicBezTo>
                  <a:pt x="8444481" y="6633364"/>
                  <a:pt x="8445845" y="6626013"/>
                  <a:pt x="8445765" y="6618609"/>
                </a:cubicBezTo>
                <a:cubicBezTo>
                  <a:pt x="8445835" y="6611191"/>
                  <a:pt x="8444526" y="6603825"/>
                  <a:pt x="8441904" y="6596875"/>
                </a:cubicBezTo>
                <a:cubicBezTo>
                  <a:pt x="8439474" y="6590431"/>
                  <a:pt x="8435746" y="6584542"/>
                  <a:pt x="8430946" y="6579564"/>
                </a:cubicBezTo>
                <a:cubicBezTo>
                  <a:pt x="8426104" y="6574618"/>
                  <a:pt x="8420284" y="6570711"/>
                  <a:pt x="8413848" y="6568085"/>
                </a:cubicBezTo>
                <a:cubicBezTo>
                  <a:pt x="8406737" y="6565195"/>
                  <a:pt x="8399108" y="6563758"/>
                  <a:pt x="8391420" y="6563859"/>
                </a:cubicBezTo>
                <a:close/>
                <a:moveTo>
                  <a:pt x="8248710" y="6563512"/>
                </a:moveTo>
                <a:lnTo>
                  <a:pt x="8265053" y="6597584"/>
                </a:lnTo>
                <a:lnTo>
                  <a:pt x="8292012" y="6597584"/>
                </a:lnTo>
                <a:lnTo>
                  <a:pt x="8277663" y="6563512"/>
                </a:lnTo>
                <a:close/>
                <a:moveTo>
                  <a:pt x="8328560" y="6563498"/>
                </a:moveTo>
                <a:lnTo>
                  <a:pt x="8302870" y="6622628"/>
                </a:lnTo>
                <a:lnTo>
                  <a:pt x="8295902" y="6606289"/>
                </a:lnTo>
                <a:lnTo>
                  <a:pt x="8269157" y="6606289"/>
                </a:lnTo>
                <a:lnTo>
                  <a:pt x="8301089" y="6672954"/>
                </a:lnTo>
                <a:lnTo>
                  <a:pt x="8304052" y="6672954"/>
                </a:lnTo>
                <a:lnTo>
                  <a:pt x="8355790" y="6563498"/>
                </a:lnTo>
                <a:close/>
                <a:moveTo>
                  <a:pt x="8707789" y="6525960"/>
                </a:moveTo>
                <a:lnTo>
                  <a:pt x="8707789" y="6700888"/>
                </a:lnTo>
                <a:lnTo>
                  <a:pt x="8727178" y="6700888"/>
                </a:lnTo>
                <a:lnTo>
                  <a:pt x="8727178" y="6525960"/>
                </a:lnTo>
                <a:close/>
                <a:moveTo>
                  <a:pt x="3507" y="0"/>
                </a:moveTo>
                <a:lnTo>
                  <a:pt x="9147507" y="0"/>
                </a:lnTo>
                <a:lnTo>
                  <a:pt x="9147507" y="5003881"/>
                </a:lnTo>
                <a:lnTo>
                  <a:pt x="9147507" y="5873907"/>
                </a:lnTo>
                <a:lnTo>
                  <a:pt x="9147507" y="6210038"/>
                </a:lnTo>
                <a:lnTo>
                  <a:pt x="9147507" y="6327592"/>
                </a:lnTo>
                <a:lnTo>
                  <a:pt x="9147507" y="6868406"/>
                </a:lnTo>
                <a:lnTo>
                  <a:pt x="7642249" y="6868406"/>
                </a:lnTo>
                <a:lnTo>
                  <a:pt x="7642249" y="6868407"/>
                </a:lnTo>
                <a:lnTo>
                  <a:pt x="0" y="6868407"/>
                </a:lnTo>
                <a:lnTo>
                  <a:pt x="0" y="10407"/>
                </a:lnTo>
                <a:lnTo>
                  <a:pt x="3507" y="10407"/>
                </a:lnTo>
                <a:close/>
              </a:path>
            </a:pathLst>
          </a:custGeom>
          <a:blipFill>
            <a:blip r:embed="rId2"/>
            <a:stretch>
              <a:fillRect/>
            </a:stretch>
          </a:blipFill>
        </p:spPr>
        <p:txBody>
          <a:bodyPr wrap="square" lIns="792000" tIns="0" rIns="5256000" anchor="ctr">
            <a:noAutofit/>
          </a:bodyPr>
          <a:lstStyle>
            <a:lvl1pPr algn="ctr">
              <a:defRPr b="0">
                <a:solidFill>
                  <a:schemeClr val="tx1">
                    <a:lumMod val="50000"/>
                    <a:lumOff val="50000"/>
                  </a:schemeClr>
                </a:solidFill>
              </a:defRPr>
            </a:lvl1pPr>
          </a:lstStyle>
          <a:p>
            <a:r>
              <a:rPr lang="en-US" dirty="0"/>
              <a:t>Click the icon at the center of the slide to add a pre-designed half-page map graphic to the slide.</a:t>
            </a:r>
            <a:br>
              <a:rPr lang="en-US" dirty="0"/>
            </a:br>
            <a:r>
              <a:rPr lang="en-US" dirty="0"/>
              <a:t>(In the Marketing Resource Database, these files will have “half slide” in the files name)</a:t>
            </a:r>
          </a:p>
        </p:txBody>
      </p:sp>
      <p:sp>
        <p:nvSpPr>
          <p:cNvPr id="9" name="Title 8">
            <a:extLst>
              <a:ext uri="{FF2B5EF4-FFF2-40B4-BE49-F238E27FC236}">
                <a16:creationId xmlns:a16="http://schemas.microsoft.com/office/drawing/2014/main" id="{A3E7C59C-7AB2-FD4B-9D3E-CA7E0D8CB2F3}"/>
              </a:ext>
            </a:extLst>
          </p:cNvPr>
          <p:cNvSpPr>
            <a:spLocks noGrp="1"/>
          </p:cNvSpPr>
          <p:nvPr userDrawn="1">
            <p:ph type="title" hasCustomPrompt="1"/>
          </p:nvPr>
        </p:nvSpPr>
        <p:spPr/>
        <p:txBody>
          <a:bodyPr/>
          <a:lstStyle>
            <a:lvl1pPr>
              <a:defRPr/>
            </a:lvl1pPr>
          </a:lstStyle>
          <a:p>
            <a:pPr lvl="0"/>
            <a:r>
              <a:rPr lang="en-US" dirty="0"/>
              <a:t>CLICK TO ADD Slide TITLE. ALL CAPS. TWO LINES max.</a:t>
            </a:r>
          </a:p>
        </p:txBody>
      </p:sp>
      <p:sp>
        <p:nvSpPr>
          <p:cNvPr id="16" name="Chart Placeholder 2">
            <a:extLst>
              <a:ext uri="{FF2B5EF4-FFF2-40B4-BE49-F238E27FC236}">
                <a16:creationId xmlns:a16="http://schemas.microsoft.com/office/drawing/2014/main" id="{078808F4-3217-FA41-8ABF-24B9D247AE5A}"/>
              </a:ext>
            </a:extLst>
          </p:cNvPr>
          <p:cNvSpPr>
            <a:spLocks noGrp="1"/>
          </p:cNvSpPr>
          <p:nvPr userDrawn="1">
            <p:ph type="chart" sz="quarter" idx="114"/>
          </p:nvPr>
        </p:nvSpPr>
        <p:spPr>
          <a:xfrm>
            <a:off x="6265208" y="1735138"/>
            <a:ext cx="5344584" cy="4430712"/>
          </a:xfrm>
        </p:spPr>
        <p:txBody>
          <a:bodyPr/>
          <a:lstStyle>
            <a:lvl1pPr>
              <a:defRPr b="0">
                <a:solidFill>
                  <a:schemeClr val="tx1">
                    <a:lumMod val="50000"/>
                    <a:lumOff val="50000"/>
                  </a:schemeClr>
                </a:solidFill>
              </a:defRPr>
            </a:lvl1pPr>
          </a:lstStyle>
          <a:p>
            <a:r>
              <a:rPr lang="en-US"/>
              <a:t>Click icon to add chart</a:t>
            </a:r>
            <a:endParaRPr lang="en-US" dirty="0"/>
          </a:p>
        </p:txBody>
      </p:sp>
      <p:sp>
        <p:nvSpPr>
          <p:cNvPr id="1000" name="Footnotes Placeholder">
            <a:extLst>
              <a:ext uri="{FF2B5EF4-FFF2-40B4-BE49-F238E27FC236}">
                <a16:creationId xmlns:a16="http://schemas.microsoft.com/office/drawing/2014/main" id="{89C8ABCA-426C-9447-AA12-B5A756649D54}"/>
              </a:ext>
            </a:extLst>
          </p:cNvPr>
          <p:cNvSpPr>
            <a:spLocks noGrp="1"/>
          </p:cNvSpPr>
          <p:nvPr userDrawn="1">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grpSp>
        <p:nvGrpSpPr>
          <p:cNvPr id="6" name="Group 5">
            <a:extLst>
              <a:ext uri="{FF2B5EF4-FFF2-40B4-BE49-F238E27FC236}">
                <a16:creationId xmlns:a16="http://schemas.microsoft.com/office/drawing/2014/main" id="{A1834941-C348-A040-9D09-770ED5F00B5B}"/>
              </a:ext>
            </a:extLst>
          </p:cNvPr>
          <p:cNvGrpSpPr/>
          <p:nvPr userDrawn="1"/>
        </p:nvGrpSpPr>
        <p:grpSpPr>
          <a:xfrm>
            <a:off x="12532244" y="-1"/>
            <a:ext cx="3948953" cy="13179981"/>
            <a:chOff x="9399182" y="-1"/>
            <a:chExt cx="2961715" cy="13179981"/>
          </a:xfrm>
        </p:grpSpPr>
        <p:sp>
          <p:nvSpPr>
            <p:cNvPr id="80" name="Rectangle 79">
              <a:extLst>
                <a:ext uri="{FF2B5EF4-FFF2-40B4-BE49-F238E27FC236}">
                  <a16:creationId xmlns:a16="http://schemas.microsoft.com/office/drawing/2014/main" id="{7F39C21F-C07C-7740-9183-FE0C02C54D48}"/>
                </a:ext>
              </a:extLst>
            </p:cNvPr>
            <p:cNvSpPr/>
            <p:nvPr userDrawn="1"/>
          </p:nvSpPr>
          <p:spPr>
            <a:xfrm>
              <a:off x="9399182" y="-1"/>
              <a:ext cx="2798651" cy="1299298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73" name="Picture 72">
              <a:extLst>
                <a:ext uri="{FF2B5EF4-FFF2-40B4-BE49-F238E27FC236}">
                  <a16:creationId xmlns:a16="http://schemas.microsoft.com/office/drawing/2014/main" id="{8D2E816D-1321-604A-8779-D37820720E7E}"/>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81" name="Group 80">
              <a:extLst>
                <a:ext uri="{FF2B5EF4-FFF2-40B4-BE49-F238E27FC236}">
                  <a16:creationId xmlns:a16="http://schemas.microsoft.com/office/drawing/2014/main" id="{C545234B-6DF7-7643-92C8-BA7AC4A8A953}"/>
                </a:ext>
              </a:extLst>
            </p:cNvPr>
            <p:cNvGrpSpPr/>
            <p:nvPr userDrawn="1"/>
          </p:nvGrpSpPr>
          <p:grpSpPr>
            <a:xfrm>
              <a:off x="9541497" y="162442"/>
              <a:ext cx="2819400" cy="814510"/>
              <a:chOff x="-3644733" y="165205"/>
              <a:chExt cx="2819400" cy="814510"/>
            </a:xfrm>
          </p:grpSpPr>
          <p:sp>
            <p:nvSpPr>
              <p:cNvPr id="107" name="Rectangle 106">
                <a:extLst>
                  <a:ext uri="{FF2B5EF4-FFF2-40B4-BE49-F238E27FC236}">
                    <a16:creationId xmlns:a16="http://schemas.microsoft.com/office/drawing/2014/main" id="{2F039784-C448-5543-B741-6EBF9C27FE1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8" name="TextBox 107">
                <a:extLst>
                  <a:ext uri="{FF2B5EF4-FFF2-40B4-BE49-F238E27FC236}">
                    <a16:creationId xmlns:a16="http://schemas.microsoft.com/office/drawing/2014/main" id="{F60BC00D-BAE8-1C44-A7A3-F83307EFAE07}"/>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09" name="Picture 108">
                <a:extLst>
                  <a:ext uri="{FF2B5EF4-FFF2-40B4-BE49-F238E27FC236}">
                    <a16:creationId xmlns:a16="http://schemas.microsoft.com/office/drawing/2014/main" id="{4BF9F541-6966-324D-8295-8DC4C6ED816B}"/>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82" name="Group 81">
              <a:extLst>
                <a:ext uri="{FF2B5EF4-FFF2-40B4-BE49-F238E27FC236}">
                  <a16:creationId xmlns:a16="http://schemas.microsoft.com/office/drawing/2014/main" id="{876CC36D-CD32-7F49-83AC-D8C75EEEEBC3}"/>
                </a:ext>
              </a:extLst>
            </p:cNvPr>
            <p:cNvGrpSpPr/>
            <p:nvPr userDrawn="1"/>
          </p:nvGrpSpPr>
          <p:grpSpPr>
            <a:xfrm>
              <a:off x="9521833" y="5949873"/>
              <a:ext cx="2676002" cy="1074276"/>
              <a:chOff x="9521833" y="2036288"/>
              <a:chExt cx="2676002" cy="1074276"/>
            </a:xfrm>
          </p:grpSpPr>
          <p:sp>
            <p:nvSpPr>
              <p:cNvPr id="101" name="TextBox 100">
                <a:extLst>
                  <a:ext uri="{FF2B5EF4-FFF2-40B4-BE49-F238E27FC236}">
                    <a16:creationId xmlns:a16="http://schemas.microsoft.com/office/drawing/2014/main" id="{0C54F8FD-6A48-EF40-AD43-A10ACF4D7CF9}"/>
                  </a:ext>
                </a:extLst>
              </p:cNvPr>
              <p:cNvSpPr txBox="1"/>
              <p:nvPr userDrawn="1"/>
            </p:nvSpPr>
            <p:spPr>
              <a:xfrm>
                <a:off x="9558507" y="2036288"/>
                <a:ext cx="99666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ADD A NEW CHART</a:t>
                </a:r>
              </a:p>
            </p:txBody>
          </p:sp>
          <p:cxnSp>
            <p:nvCxnSpPr>
              <p:cNvPr id="102" name="Straight Connector 101">
                <a:extLst>
                  <a:ext uri="{FF2B5EF4-FFF2-40B4-BE49-F238E27FC236}">
                    <a16:creationId xmlns:a16="http://schemas.microsoft.com/office/drawing/2014/main" id="{4CF1923C-FF57-604A-A528-0F8B428DC11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3" name="Group 102">
                <a:extLst>
                  <a:ext uri="{FF2B5EF4-FFF2-40B4-BE49-F238E27FC236}">
                    <a16:creationId xmlns:a16="http://schemas.microsoft.com/office/drawing/2014/main" id="{BA303ED0-59A7-B84C-A014-7496C5477C51}"/>
                  </a:ext>
                </a:extLst>
              </p:cNvPr>
              <p:cNvGrpSpPr/>
              <p:nvPr userDrawn="1"/>
            </p:nvGrpSpPr>
            <p:grpSpPr>
              <a:xfrm>
                <a:off x="9521833" y="2361408"/>
                <a:ext cx="2557391" cy="323165"/>
                <a:chOff x="12352022" y="513115"/>
                <a:chExt cx="2557391" cy="323165"/>
              </a:xfrm>
            </p:grpSpPr>
            <p:sp>
              <p:nvSpPr>
                <p:cNvPr id="105" name="TextBox 104">
                  <a:extLst>
                    <a:ext uri="{FF2B5EF4-FFF2-40B4-BE49-F238E27FC236}">
                      <a16:creationId xmlns:a16="http://schemas.microsoft.com/office/drawing/2014/main" id="{34680833-A017-FE4C-B658-3EDDEB9B2F3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06" name="TextBox 105">
                  <a:extLst>
                    <a:ext uri="{FF2B5EF4-FFF2-40B4-BE49-F238E27FC236}">
                      <a16:creationId xmlns:a16="http://schemas.microsoft.com/office/drawing/2014/main" id="{E4EC3B22-EC11-D84D-90B3-DC3B7E1CA6D3}"/>
                    </a:ext>
                  </a:extLst>
                </p:cNvPr>
                <p:cNvSpPr txBox="1"/>
                <p:nvPr userDrawn="1"/>
              </p:nvSpPr>
              <p:spPr>
                <a:xfrm>
                  <a:off x="12516615" y="513115"/>
                  <a:ext cx="2392798"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Open the </a:t>
                  </a:r>
                  <a:r>
                    <a:rPr lang="en-US" sz="1050" b="1" dirty="0"/>
                    <a:t>VEDP Template Assets file </a:t>
                  </a:r>
                  <a:r>
                    <a:rPr lang="en-US" sz="1050" dirty="0"/>
                    <a:t>and copy the desired chart type into your presentation.</a:t>
                  </a:r>
                </a:p>
              </p:txBody>
            </p:sp>
          </p:grpSp>
          <p:sp>
            <p:nvSpPr>
              <p:cNvPr id="104" name="TextBox 103">
                <a:extLst>
                  <a:ext uri="{FF2B5EF4-FFF2-40B4-BE49-F238E27FC236}">
                    <a16:creationId xmlns:a16="http://schemas.microsoft.com/office/drawing/2014/main" id="{862A8FB6-C487-2D48-A9DC-F3D0905D6BE5}"/>
                  </a:ext>
                </a:extLst>
              </p:cNvPr>
              <p:cNvSpPr txBox="1"/>
              <p:nvPr userDrawn="1"/>
            </p:nvSpPr>
            <p:spPr>
              <a:xfrm>
                <a:off x="9686426" y="2895120"/>
                <a:ext cx="2120429"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83" name="TextBox 82">
              <a:extLst>
                <a:ext uri="{FF2B5EF4-FFF2-40B4-BE49-F238E27FC236}">
                  <a16:creationId xmlns:a16="http://schemas.microsoft.com/office/drawing/2014/main" id="{203EC2FF-8F5A-2547-A699-BE8FF88F9301}"/>
                </a:ext>
              </a:extLst>
            </p:cNvPr>
            <p:cNvSpPr txBox="1"/>
            <p:nvPr userDrawn="1"/>
          </p:nvSpPr>
          <p:spPr>
            <a:xfrm>
              <a:off x="9558507" y="2034287"/>
              <a:ext cx="15424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FORMAT AN EXISTING CHART</a:t>
              </a:r>
            </a:p>
          </p:txBody>
        </p:sp>
        <p:cxnSp>
          <p:nvCxnSpPr>
            <p:cNvPr id="84" name="Straight Connector 83">
              <a:extLst>
                <a:ext uri="{FF2B5EF4-FFF2-40B4-BE49-F238E27FC236}">
                  <a16:creationId xmlns:a16="http://schemas.microsoft.com/office/drawing/2014/main" id="{59E92957-8BDF-4347-81B2-9604E93AE603}"/>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36CA8A72-2DBC-5545-BC2E-B4BDCAC3FDF6}"/>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6" name="TextBox 85">
              <a:extLst>
                <a:ext uri="{FF2B5EF4-FFF2-40B4-BE49-F238E27FC236}">
                  <a16:creationId xmlns:a16="http://schemas.microsoft.com/office/drawing/2014/main" id="{E1C1C471-3C86-9243-8147-752CF2CED878}"/>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7" name="TextBox 86">
              <a:extLst>
                <a:ext uri="{FF2B5EF4-FFF2-40B4-BE49-F238E27FC236}">
                  <a16:creationId xmlns:a16="http://schemas.microsoft.com/office/drawing/2014/main" id="{594015A7-4E0F-FB48-B54B-DBDAD2AACFBF}"/>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the chart placeholder and then paste your existing chart.</a:t>
              </a:r>
            </a:p>
          </p:txBody>
        </p:sp>
        <p:sp>
          <p:nvSpPr>
            <p:cNvPr id="88" name="TextBox 87">
              <a:extLst>
                <a:ext uri="{FF2B5EF4-FFF2-40B4-BE49-F238E27FC236}">
                  <a16:creationId xmlns:a16="http://schemas.microsoft.com/office/drawing/2014/main" id="{55791D51-A4E3-254B-9CDC-883656B5BBB3}"/>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Right-click on the chart and choose “Change Chart Type…”</a:t>
              </a:r>
            </a:p>
          </p:txBody>
        </p:sp>
        <p:sp>
          <p:nvSpPr>
            <p:cNvPr id="89" name="TextBox 88">
              <a:extLst>
                <a:ext uri="{FF2B5EF4-FFF2-40B4-BE49-F238E27FC236}">
                  <a16:creationId xmlns:a16="http://schemas.microsoft.com/office/drawing/2014/main" id="{098081F0-15A2-CE4F-B597-7D0A57F05E29}"/>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90" name="TextBox 89">
              <a:extLst>
                <a:ext uri="{FF2B5EF4-FFF2-40B4-BE49-F238E27FC236}">
                  <a16:creationId xmlns:a16="http://schemas.microsoft.com/office/drawing/2014/main" id="{41684A96-AE24-5949-8098-95299F59040E}"/>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Choose one of the VEDP chart styles from the ‘Templates’ category.</a:t>
              </a:r>
            </a:p>
          </p:txBody>
        </p:sp>
        <p:sp>
          <p:nvSpPr>
            <p:cNvPr id="91" name="TextBox 90">
              <a:extLst>
                <a:ext uri="{FF2B5EF4-FFF2-40B4-BE49-F238E27FC236}">
                  <a16:creationId xmlns:a16="http://schemas.microsoft.com/office/drawing/2014/main" id="{A95F9DFB-59B1-0849-A7FD-D719AC7DE165}"/>
                </a:ext>
              </a:extLst>
            </p:cNvPr>
            <p:cNvSpPr txBox="1"/>
            <p:nvPr userDrawn="1"/>
          </p:nvSpPr>
          <p:spPr>
            <a:xfrm>
              <a:off x="9674268" y="2722629"/>
              <a:ext cx="2297650"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93" name="Group 92">
              <a:extLst>
                <a:ext uri="{FF2B5EF4-FFF2-40B4-BE49-F238E27FC236}">
                  <a16:creationId xmlns:a16="http://schemas.microsoft.com/office/drawing/2014/main" id="{0B9FBE4B-500D-DC43-91EC-3123D9EF5462}"/>
                </a:ext>
              </a:extLst>
            </p:cNvPr>
            <p:cNvGrpSpPr/>
            <p:nvPr userDrawn="1"/>
          </p:nvGrpSpPr>
          <p:grpSpPr>
            <a:xfrm>
              <a:off x="9558507" y="1119891"/>
              <a:ext cx="2639328" cy="202617"/>
              <a:chOff x="9303325" y="149270"/>
              <a:chExt cx="2639328" cy="202617"/>
            </a:xfrm>
          </p:grpSpPr>
          <p:sp>
            <p:nvSpPr>
              <p:cNvPr id="99" name="TextBox 98">
                <a:extLst>
                  <a:ext uri="{FF2B5EF4-FFF2-40B4-BE49-F238E27FC236}">
                    <a16:creationId xmlns:a16="http://schemas.microsoft.com/office/drawing/2014/main" id="{3B2F129A-3FD3-E24F-92D4-3E5C29B9DBB8}"/>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100" name="Straight Connector 99">
                <a:extLst>
                  <a:ext uri="{FF2B5EF4-FFF2-40B4-BE49-F238E27FC236}">
                    <a16:creationId xmlns:a16="http://schemas.microsoft.com/office/drawing/2014/main" id="{1476F00B-34CF-9B4A-8F55-B463B3FDB70B}"/>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94" name="Group 93">
              <a:extLst>
                <a:ext uri="{FF2B5EF4-FFF2-40B4-BE49-F238E27FC236}">
                  <a16:creationId xmlns:a16="http://schemas.microsoft.com/office/drawing/2014/main" id="{8D1C5EC9-E2AC-8041-9FC6-7AD7ADED145B}"/>
                </a:ext>
              </a:extLst>
            </p:cNvPr>
            <p:cNvGrpSpPr/>
            <p:nvPr userDrawn="1"/>
          </p:nvGrpSpPr>
          <p:grpSpPr>
            <a:xfrm>
              <a:off x="9541497" y="4046192"/>
              <a:ext cx="2735151" cy="1741977"/>
              <a:chOff x="9296567" y="4910411"/>
              <a:chExt cx="2735151" cy="1741977"/>
            </a:xfrm>
          </p:grpSpPr>
          <p:sp>
            <p:nvSpPr>
              <p:cNvPr id="95" name="Rectangle 94">
                <a:extLst>
                  <a:ext uri="{FF2B5EF4-FFF2-40B4-BE49-F238E27FC236}">
                    <a16:creationId xmlns:a16="http://schemas.microsoft.com/office/drawing/2014/main" id="{836A575A-4268-7545-9724-E5529E81C3A7}"/>
                  </a:ext>
                </a:extLst>
              </p:cNvPr>
              <p:cNvSpPr/>
              <p:nvPr userDrawn="1"/>
            </p:nvSpPr>
            <p:spPr>
              <a:xfrm>
                <a:off x="9296567" y="4910411"/>
                <a:ext cx="2735151" cy="1741977"/>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6" name="TextBox 95">
                <a:extLst>
                  <a:ext uri="{FF2B5EF4-FFF2-40B4-BE49-F238E27FC236}">
                    <a16:creationId xmlns:a16="http://schemas.microsoft.com/office/drawing/2014/main" id="{263A6D68-9AA3-584A-809D-EE6673D3B056}"/>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97" name="Graphic 96">
                <a:extLst>
                  <a:ext uri="{FF2B5EF4-FFF2-40B4-BE49-F238E27FC236}">
                    <a16:creationId xmlns:a16="http://schemas.microsoft.com/office/drawing/2014/main" id="{4AF9B51D-9E9A-F947-8F70-A6C06771D1F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8" name="TextBox 97">
                <a:extLst>
                  <a:ext uri="{FF2B5EF4-FFF2-40B4-BE49-F238E27FC236}">
                    <a16:creationId xmlns:a16="http://schemas.microsoft.com/office/drawing/2014/main" id="{48800C5A-9825-D044-8419-0A6095892041}"/>
                  </a:ext>
                </a:extLst>
              </p:cNvPr>
              <p:cNvSpPr txBox="1"/>
              <p:nvPr userDrawn="1"/>
            </p:nvSpPr>
            <p:spPr>
              <a:xfrm>
                <a:off x="9471805" y="5300350"/>
                <a:ext cx="2399065" cy="10207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dirty="0"/>
                  <a:t>In case of error, return legend entries, data labels, and/or chart formatting by re-applying the current VEDP chart style template.</a:t>
                </a:r>
              </a:p>
              <a:p>
                <a:pPr lvl="1"/>
                <a:r>
                  <a:rPr lang="en-US" sz="900" dirty="0"/>
                  <a:t>Right-click the chart and choose</a:t>
                </a:r>
                <a:br>
                  <a:rPr lang="en-US" sz="900" dirty="0"/>
                </a:br>
                <a:r>
                  <a:rPr lang="en-US" sz="900" dirty="0"/>
                  <a:t>“Change Chart Type”</a:t>
                </a:r>
              </a:p>
              <a:p>
                <a:pPr lvl="1"/>
                <a:r>
                  <a:rPr lang="en-US" sz="900" dirty="0"/>
                  <a:t>Then choose the matching VEDP chart style from the ‘Templates’ category.</a:t>
                </a:r>
              </a:p>
            </p:txBody>
          </p:sp>
        </p:grpSp>
        <p:grpSp>
          <p:nvGrpSpPr>
            <p:cNvPr id="2" name="Group 1">
              <a:extLst>
                <a:ext uri="{FF2B5EF4-FFF2-40B4-BE49-F238E27FC236}">
                  <a16:creationId xmlns:a16="http://schemas.microsoft.com/office/drawing/2014/main" id="{A4CF5DAB-1553-C04B-92A4-F1198F8EECE3}"/>
                </a:ext>
              </a:extLst>
            </p:cNvPr>
            <p:cNvGrpSpPr/>
            <p:nvPr userDrawn="1"/>
          </p:nvGrpSpPr>
          <p:grpSpPr>
            <a:xfrm>
              <a:off x="9521833" y="7166155"/>
              <a:ext cx="2754815" cy="6013825"/>
              <a:chOff x="9521833" y="-6801152"/>
              <a:chExt cx="2754815" cy="6013825"/>
            </a:xfrm>
          </p:grpSpPr>
          <p:sp>
            <p:nvSpPr>
              <p:cNvPr id="42" name="TextBox 41">
                <a:extLst>
                  <a:ext uri="{FF2B5EF4-FFF2-40B4-BE49-F238E27FC236}">
                    <a16:creationId xmlns:a16="http://schemas.microsoft.com/office/drawing/2014/main" id="{07BD5352-94B5-1940-89E6-DC02A72A4418}"/>
                  </a:ext>
                </a:extLst>
              </p:cNvPr>
              <p:cNvSpPr txBox="1"/>
              <p:nvPr userDrawn="1"/>
            </p:nvSpPr>
            <p:spPr>
              <a:xfrm>
                <a:off x="9558507" y="-6801152"/>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43" name="Straight Connector 42">
                <a:extLst>
                  <a:ext uri="{FF2B5EF4-FFF2-40B4-BE49-F238E27FC236}">
                    <a16:creationId xmlns:a16="http://schemas.microsoft.com/office/drawing/2014/main" id="{DE135D9E-6B8E-BF4A-8B52-EEAE03AC9DE2}"/>
                  </a:ext>
                </a:extLst>
              </p:cNvPr>
              <p:cNvCxnSpPr>
                <a:cxnSpLocks/>
              </p:cNvCxnSpPr>
              <p:nvPr userDrawn="1"/>
            </p:nvCxnSpPr>
            <p:spPr>
              <a:xfrm>
                <a:off x="9558507" y="-659853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C3F42BF-41FD-244D-86C9-0031DA675594}"/>
                  </a:ext>
                </a:extLst>
              </p:cNvPr>
              <p:cNvSpPr txBox="1"/>
              <p:nvPr userDrawn="1"/>
            </p:nvSpPr>
            <p:spPr>
              <a:xfrm>
                <a:off x="9686426" y="-574022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5" name="Group 64">
                <a:extLst>
                  <a:ext uri="{FF2B5EF4-FFF2-40B4-BE49-F238E27FC236}">
                    <a16:creationId xmlns:a16="http://schemas.microsoft.com/office/drawing/2014/main" id="{1AF14A82-884D-6E44-833A-66AEAE8D73E5}"/>
                  </a:ext>
                </a:extLst>
              </p:cNvPr>
              <p:cNvGrpSpPr/>
              <p:nvPr userDrawn="1"/>
            </p:nvGrpSpPr>
            <p:grpSpPr>
              <a:xfrm>
                <a:off x="9541497" y="-2198642"/>
                <a:ext cx="2735151" cy="1411315"/>
                <a:chOff x="9296567" y="4910411"/>
                <a:chExt cx="2735151" cy="1411315"/>
              </a:xfrm>
            </p:grpSpPr>
            <p:sp>
              <p:nvSpPr>
                <p:cNvPr id="67" name="Rectangle 66">
                  <a:extLst>
                    <a:ext uri="{FF2B5EF4-FFF2-40B4-BE49-F238E27FC236}">
                      <a16:creationId xmlns:a16="http://schemas.microsoft.com/office/drawing/2014/main" id="{F7A9386A-4C7E-3A41-8497-284AAB05A9F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8" name="TextBox 67">
                  <a:extLst>
                    <a:ext uri="{FF2B5EF4-FFF2-40B4-BE49-F238E27FC236}">
                      <a16:creationId xmlns:a16="http://schemas.microsoft.com/office/drawing/2014/main" id="{4233D935-4B30-F44F-9AE5-ED48766ABB3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9" name="Graphic 68">
                  <a:extLst>
                    <a:ext uri="{FF2B5EF4-FFF2-40B4-BE49-F238E27FC236}">
                      <a16:creationId xmlns:a16="http://schemas.microsoft.com/office/drawing/2014/main" id="{16F18F42-237E-5D49-9406-C82AB8706B5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70" name="TextBox 69">
                  <a:extLst>
                    <a:ext uri="{FF2B5EF4-FFF2-40B4-BE49-F238E27FC236}">
                      <a16:creationId xmlns:a16="http://schemas.microsoft.com/office/drawing/2014/main" id="{DE14BA7F-29C8-C24E-928B-592788C3333F}"/>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29C49CB8-3278-3D41-8689-3FE7FAAE598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22BE9216-4058-A445-B627-693F5A96240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47" name="Group 46">
                <a:extLst>
                  <a:ext uri="{FF2B5EF4-FFF2-40B4-BE49-F238E27FC236}">
                    <a16:creationId xmlns:a16="http://schemas.microsoft.com/office/drawing/2014/main" id="{14F294D6-B313-E949-842F-F41379956161}"/>
                  </a:ext>
                </a:extLst>
              </p:cNvPr>
              <p:cNvGrpSpPr/>
              <p:nvPr userDrawn="1"/>
            </p:nvGrpSpPr>
            <p:grpSpPr>
              <a:xfrm>
                <a:off x="9541497" y="-3555298"/>
                <a:ext cx="2735151" cy="1280928"/>
                <a:chOff x="9286315" y="6976989"/>
                <a:chExt cx="2735151" cy="1280928"/>
              </a:xfrm>
            </p:grpSpPr>
            <p:sp>
              <p:nvSpPr>
                <p:cNvPr id="60" name="Rectangle 59">
                  <a:extLst>
                    <a:ext uri="{FF2B5EF4-FFF2-40B4-BE49-F238E27FC236}">
                      <a16:creationId xmlns:a16="http://schemas.microsoft.com/office/drawing/2014/main" id="{14F654D1-DB8F-CE4F-A23A-52B9BC2BFF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1" name="TextBox 60">
                  <a:extLst>
                    <a:ext uri="{FF2B5EF4-FFF2-40B4-BE49-F238E27FC236}">
                      <a16:creationId xmlns:a16="http://schemas.microsoft.com/office/drawing/2014/main" id="{1DC4A4C9-98A4-154F-8F68-6545453B151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2" name="Graphic 61">
                  <a:extLst>
                    <a:ext uri="{FF2B5EF4-FFF2-40B4-BE49-F238E27FC236}">
                      <a16:creationId xmlns:a16="http://schemas.microsoft.com/office/drawing/2014/main" id="{09C862AD-FB96-864E-8468-306B3BB1F66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63" name="TextBox 62">
                  <a:extLst>
                    <a:ext uri="{FF2B5EF4-FFF2-40B4-BE49-F238E27FC236}">
                      <a16:creationId xmlns:a16="http://schemas.microsoft.com/office/drawing/2014/main" id="{F14F4FFA-0615-1D48-B3DF-3595FF4FE06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64" name="Picture 63">
                  <a:extLst>
                    <a:ext uri="{FF2B5EF4-FFF2-40B4-BE49-F238E27FC236}">
                      <a16:creationId xmlns:a16="http://schemas.microsoft.com/office/drawing/2014/main" id="{88F30D86-450E-F848-A211-E408470B957E}"/>
                    </a:ext>
                  </a:extLst>
                </p:cNvPr>
                <p:cNvPicPr>
                  <a:picLocks noChangeAspect="1"/>
                </p:cNvPicPr>
                <p:nvPr userDrawn="1"/>
              </p:nvPicPr>
              <p:blipFill rotWithShape="1">
                <a:blip r:embed="rId7"/>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48" name="Group 47">
                <a:extLst>
                  <a:ext uri="{FF2B5EF4-FFF2-40B4-BE49-F238E27FC236}">
                    <a16:creationId xmlns:a16="http://schemas.microsoft.com/office/drawing/2014/main" id="{02D72FD7-6279-0446-AC58-A3C3DC24D160}"/>
                  </a:ext>
                </a:extLst>
              </p:cNvPr>
              <p:cNvGrpSpPr/>
              <p:nvPr userDrawn="1"/>
            </p:nvGrpSpPr>
            <p:grpSpPr>
              <a:xfrm>
                <a:off x="9521833" y="-6476032"/>
                <a:ext cx="2617883" cy="651460"/>
                <a:chOff x="12352022" y="513115"/>
                <a:chExt cx="2617883" cy="651460"/>
              </a:xfrm>
            </p:grpSpPr>
            <p:sp>
              <p:nvSpPr>
                <p:cNvPr id="57" name="TextBox 56">
                  <a:extLst>
                    <a:ext uri="{FF2B5EF4-FFF2-40B4-BE49-F238E27FC236}">
                      <a16:creationId xmlns:a16="http://schemas.microsoft.com/office/drawing/2014/main" id="{F61D0EBF-B2C0-7046-B77D-2B9CD522884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8" name="TextBox 57">
                  <a:extLst>
                    <a:ext uri="{FF2B5EF4-FFF2-40B4-BE49-F238E27FC236}">
                      <a16:creationId xmlns:a16="http://schemas.microsoft.com/office/drawing/2014/main" id="{80E248F4-5967-3B48-BA75-443830FB430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9" name="TextBox 58">
                  <a:extLst>
                    <a:ext uri="{FF2B5EF4-FFF2-40B4-BE49-F238E27FC236}">
                      <a16:creationId xmlns:a16="http://schemas.microsoft.com/office/drawing/2014/main" id="{4458B103-16C3-734D-9D4C-08A0AD40A3F8}"/>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49" name="TextBox 48">
                <a:extLst>
                  <a:ext uri="{FF2B5EF4-FFF2-40B4-BE49-F238E27FC236}">
                    <a16:creationId xmlns:a16="http://schemas.microsoft.com/office/drawing/2014/main" id="{9F6763D5-C877-A84E-AA38-3CED305D0841}"/>
                  </a:ext>
                </a:extLst>
              </p:cNvPr>
              <p:cNvSpPr txBox="1"/>
              <p:nvPr userDrawn="1"/>
            </p:nvSpPr>
            <p:spPr>
              <a:xfrm>
                <a:off x="9674267" y="-545692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50" name="TextBox 49">
                <a:extLst>
                  <a:ext uri="{FF2B5EF4-FFF2-40B4-BE49-F238E27FC236}">
                    <a16:creationId xmlns:a16="http://schemas.microsoft.com/office/drawing/2014/main" id="{DFB47FC7-5B8F-1A47-817A-A3CF2131BD9D}"/>
                  </a:ext>
                </a:extLst>
              </p:cNvPr>
              <p:cNvSpPr txBox="1"/>
              <p:nvPr userDrawn="1"/>
            </p:nvSpPr>
            <p:spPr>
              <a:xfrm>
                <a:off x="9686426" y="-5041663"/>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51" name="TextBox 50">
                <a:extLst>
                  <a:ext uri="{FF2B5EF4-FFF2-40B4-BE49-F238E27FC236}">
                    <a16:creationId xmlns:a16="http://schemas.microsoft.com/office/drawing/2014/main" id="{5CD80403-C6E9-C346-A05A-8AE1F1F93179}"/>
                  </a:ext>
                </a:extLst>
              </p:cNvPr>
              <p:cNvSpPr txBox="1"/>
              <p:nvPr userDrawn="1"/>
            </p:nvSpPr>
            <p:spPr>
              <a:xfrm>
                <a:off x="9686426" y="-4321573"/>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52" name="TextBox 51">
                <a:extLst>
                  <a:ext uri="{FF2B5EF4-FFF2-40B4-BE49-F238E27FC236}">
                    <a16:creationId xmlns:a16="http://schemas.microsoft.com/office/drawing/2014/main" id="{6AB870E0-EE0A-D84C-A2C8-84EDC9B761D9}"/>
                  </a:ext>
                </a:extLst>
              </p:cNvPr>
              <p:cNvSpPr txBox="1"/>
              <p:nvPr userDrawn="1"/>
            </p:nvSpPr>
            <p:spPr>
              <a:xfrm>
                <a:off x="9674267" y="-3891010"/>
                <a:ext cx="2374733"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78" name="Text Placeholder 6">
            <a:extLst>
              <a:ext uri="{FF2B5EF4-FFF2-40B4-BE49-F238E27FC236}">
                <a16:creationId xmlns:a16="http://schemas.microsoft.com/office/drawing/2014/main" id="{49D0B9C5-5521-2646-B128-094867E34EA6}"/>
              </a:ext>
            </a:extLst>
          </p:cNvPr>
          <p:cNvSpPr>
            <a:spLocks noGrp="1"/>
          </p:cNvSpPr>
          <p:nvPr userDrawn="1">
            <p:ph type="body" sz="quarter" idx="108" hasCustomPrompt="1"/>
          </p:nvPr>
        </p:nvSpPr>
        <p:spPr>
          <a:xfrm>
            <a:off x="6265209" y="1224318"/>
            <a:ext cx="1612621" cy="386926"/>
          </a:xfrm>
          <a:blipFill dpi="0" rotWithShape="1">
            <a:blip r:embed="rId8"/>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dirty="0"/>
              <a:t>Click to add chart title</a:t>
            </a:r>
          </a:p>
          <a:p>
            <a:pPr lvl="1"/>
            <a:r>
              <a:rPr lang="en-US" dirty="0"/>
              <a:t>Second level</a:t>
            </a:r>
          </a:p>
        </p:txBody>
      </p:sp>
      <p:sp>
        <p:nvSpPr>
          <p:cNvPr id="3" name="Date Placeholder 2">
            <a:extLst>
              <a:ext uri="{FF2B5EF4-FFF2-40B4-BE49-F238E27FC236}">
                <a16:creationId xmlns:a16="http://schemas.microsoft.com/office/drawing/2014/main" id="{4124FA82-5551-674F-8ABF-17E6898F90B7}"/>
              </a:ext>
            </a:extLst>
          </p:cNvPr>
          <p:cNvSpPr>
            <a:spLocks noGrp="1"/>
          </p:cNvSpPr>
          <p:nvPr userDrawn="1">
            <p:ph type="dt" sz="half" idx="115"/>
          </p:nvPr>
        </p:nvSpPr>
        <p:spPr/>
        <p:txBody>
          <a:bodyPr/>
          <a:lstStyle/>
          <a:p>
            <a:endParaRPr lang="en-US" dirty="0"/>
          </a:p>
        </p:txBody>
      </p:sp>
      <p:sp>
        <p:nvSpPr>
          <p:cNvPr id="4" name="Footer Placeholder 3">
            <a:extLst>
              <a:ext uri="{FF2B5EF4-FFF2-40B4-BE49-F238E27FC236}">
                <a16:creationId xmlns:a16="http://schemas.microsoft.com/office/drawing/2014/main" id="{08857F84-3938-184A-B69E-D20F1F0ED888}"/>
              </a:ext>
            </a:extLst>
          </p:cNvPr>
          <p:cNvSpPr>
            <a:spLocks noGrp="1"/>
          </p:cNvSpPr>
          <p:nvPr userDrawn="1">
            <p:ph type="ftr" sz="quarter" idx="116"/>
          </p:nvPr>
        </p:nvSpPr>
        <p:spPr/>
        <p:txBody>
          <a:bodyPr/>
          <a:lstStyle/>
          <a:p>
            <a:endParaRPr lang="en-US" dirty="0"/>
          </a:p>
        </p:txBody>
      </p:sp>
      <p:sp>
        <p:nvSpPr>
          <p:cNvPr id="5" name="Slide Number Placeholder 4">
            <a:extLst>
              <a:ext uri="{FF2B5EF4-FFF2-40B4-BE49-F238E27FC236}">
                <a16:creationId xmlns:a16="http://schemas.microsoft.com/office/drawing/2014/main" id="{55145EE2-42E0-FD4B-84FE-BBCF42195267}"/>
              </a:ext>
            </a:extLst>
          </p:cNvPr>
          <p:cNvSpPr>
            <a:spLocks noGrp="1"/>
          </p:cNvSpPr>
          <p:nvPr userDrawn="1">
            <p:ph type="sldNum" sz="quarter" idx="117"/>
          </p:nvPr>
        </p:nvSpPr>
        <p:spPr/>
        <p:txBody>
          <a:bodyPr/>
          <a:lstStyle/>
          <a:p>
            <a:pPr marL="12700"/>
            <a:fld id="{078C017C-E1B9-8443-B047-B08AAA027B45}" type="slidenum">
              <a:rPr lang="en-US" smtClean="0"/>
              <a:pPr marL="12700"/>
              <a:t>‹#›</a:t>
            </a:fld>
            <a:endParaRPr lang="en-US" dirty="0"/>
          </a:p>
        </p:txBody>
      </p:sp>
    </p:spTree>
    <p:extLst>
      <p:ext uri="{BB962C8B-B14F-4D97-AF65-F5344CB8AC3E}">
        <p14:creationId xmlns:p14="http://schemas.microsoft.com/office/powerpoint/2010/main" val="164073830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Map and Content">
    <p:spTree>
      <p:nvGrpSpPr>
        <p:cNvPr id="1" name=""/>
        <p:cNvGrpSpPr/>
        <p:nvPr/>
      </p:nvGrpSpPr>
      <p:grpSpPr>
        <a:xfrm>
          <a:off x="0" y="0"/>
          <a:ext cx="0" cy="0"/>
          <a:chOff x="0" y="0"/>
          <a:chExt cx="0" cy="0"/>
        </a:xfrm>
      </p:grpSpPr>
      <p:sp>
        <p:nvSpPr>
          <p:cNvPr id="91" name="Picture Placeholder 90">
            <a:extLst>
              <a:ext uri="{FF2B5EF4-FFF2-40B4-BE49-F238E27FC236}">
                <a16:creationId xmlns:a16="http://schemas.microsoft.com/office/drawing/2014/main" id="{5813E178-2C8A-7D4D-A0E0-3B5D1960D360}"/>
              </a:ext>
            </a:extLst>
          </p:cNvPr>
          <p:cNvSpPr>
            <a:spLocks noGrp="1"/>
          </p:cNvSpPr>
          <p:nvPr>
            <p:ph type="pic" sz="quarter" idx="1002" hasCustomPrompt="1"/>
          </p:nvPr>
        </p:nvSpPr>
        <p:spPr>
          <a:xfrm>
            <a:off x="-9681" y="-5203"/>
            <a:ext cx="12196676" cy="6868407"/>
          </a:xfrm>
          <a:custGeom>
            <a:avLst/>
            <a:gdLst>
              <a:gd name="connsiteX0" fmla="*/ 8385242 w 9147507"/>
              <a:gd name="connsiteY0" fmla="*/ 6586428 h 6868407"/>
              <a:gd name="connsiteX1" fmla="*/ 8402449 w 9147507"/>
              <a:gd name="connsiteY1" fmla="*/ 6588283 h 6868407"/>
              <a:gd name="connsiteX2" fmla="*/ 8411354 w 9147507"/>
              <a:gd name="connsiteY2" fmla="*/ 6595072 h 6868407"/>
              <a:gd name="connsiteX3" fmla="*/ 8417054 w 9147507"/>
              <a:gd name="connsiteY3" fmla="*/ 6605397 h 6868407"/>
              <a:gd name="connsiteX4" fmla="*/ 8419091 w 9147507"/>
              <a:gd name="connsiteY4" fmla="*/ 6618609 h 6868407"/>
              <a:gd name="connsiteX5" fmla="*/ 8417153 w 9147507"/>
              <a:gd name="connsiteY5" fmla="*/ 6631680 h 6868407"/>
              <a:gd name="connsiteX6" fmla="*/ 8411454 w 9147507"/>
              <a:gd name="connsiteY6" fmla="*/ 6642075 h 6868407"/>
              <a:gd name="connsiteX7" fmla="*/ 8379394 w 9147507"/>
              <a:gd name="connsiteY7" fmla="*/ 6648920 h 6868407"/>
              <a:gd name="connsiteX8" fmla="*/ 8370417 w 9147507"/>
              <a:gd name="connsiteY8" fmla="*/ 6642075 h 6868407"/>
              <a:gd name="connsiteX9" fmla="*/ 8364718 w 9147507"/>
              <a:gd name="connsiteY9" fmla="*/ 6631680 h 6868407"/>
              <a:gd name="connsiteX10" fmla="*/ 8362552 w 9147507"/>
              <a:gd name="connsiteY10" fmla="*/ 6618609 h 6868407"/>
              <a:gd name="connsiteX11" fmla="*/ 8364604 w 9147507"/>
              <a:gd name="connsiteY11" fmla="*/ 6605397 h 6868407"/>
              <a:gd name="connsiteX12" fmla="*/ 8370303 w 9147507"/>
              <a:gd name="connsiteY12" fmla="*/ 6595072 h 6868407"/>
              <a:gd name="connsiteX13" fmla="*/ 8385242 w 9147507"/>
              <a:gd name="connsiteY13" fmla="*/ 6586428 h 6868407"/>
              <a:gd name="connsiteX14" fmla="*/ 8529140 w 9147507"/>
              <a:gd name="connsiteY14" fmla="*/ 6563892 h 6868407"/>
              <a:gd name="connsiteX15" fmla="*/ 8529140 w 9147507"/>
              <a:gd name="connsiteY15" fmla="*/ 6609838 h 6868407"/>
              <a:gd name="connsiteX16" fmla="*/ 8529140 w 9147507"/>
              <a:gd name="connsiteY16" fmla="*/ 6673179 h 6868407"/>
              <a:gd name="connsiteX17" fmla="*/ 8599130 w 9147507"/>
              <a:gd name="connsiteY17" fmla="*/ 6673179 h 6868407"/>
              <a:gd name="connsiteX18" fmla="*/ 8599529 w 9147507"/>
              <a:gd name="connsiteY18" fmla="*/ 6673179 h 6868407"/>
              <a:gd name="connsiteX19" fmla="*/ 8599529 w 9147507"/>
              <a:gd name="connsiteY19" fmla="*/ 6656178 h 6868407"/>
              <a:gd name="connsiteX20" fmla="*/ 8599130 w 9147507"/>
              <a:gd name="connsiteY20" fmla="*/ 6656178 h 6868407"/>
              <a:gd name="connsiteX21" fmla="*/ 8599130 w 9147507"/>
              <a:gd name="connsiteY21" fmla="*/ 6650080 h 6868407"/>
              <a:gd name="connsiteX22" fmla="*/ 8554802 w 9147507"/>
              <a:gd name="connsiteY22" fmla="*/ 6650080 h 6868407"/>
              <a:gd name="connsiteX23" fmla="*/ 8554802 w 9147507"/>
              <a:gd name="connsiteY23" fmla="*/ 6628755 h 6868407"/>
              <a:gd name="connsiteX24" fmla="*/ 8595212 w 9147507"/>
              <a:gd name="connsiteY24" fmla="*/ 6628755 h 6868407"/>
              <a:gd name="connsiteX25" fmla="*/ 8595212 w 9147507"/>
              <a:gd name="connsiteY25" fmla="*/ 6606683 h 6868407"/>
              <a:gd name="connsiteX26" fmla="*/ 8554802 w 9147507"/>
              <a:gd name="connsiteY26" fmla="*/ 6606683 h 6868407"/>
              <a:gd name="connsiteX27" fmla="*/ 8554802 w 9147507"/>
              <a:gd name="connsiteY27" fmla="*/ 6587161 h 6868407"/>
              <a:gd name="connsiteX28" fmla="*/ 8599130 w 9147507"/>
              <a:gd name="connsiteY28" fmla="*/ 6587161 h 6868407"/>
              <a:gd name="connsiteX29" fmla="*/ 8599130 w 9147507"/>
              <a:gd name="connsiteY29" fmla="*/ 6580893 h 6868407"/>
              <a:gd name="connsiteX30" fmla="*/ 8599529 w 9147507"/>
              <a:gd name="connsiteY30" fmla="*/ 6580893 h 6868407"/>
              <a:gd name="connsiteX31" fmla="*/ 8599529 w 9147507"/>
              <a:gd name="connsiteY31" fmla="*/ 6563892 h 6868407"/>
              <a:gd name="connsiteX32" fmla="*/ 8599130 w 9147507"/>
              <a:gd name="connsiteY32" fmla="*/ 6563892 h 6868407"/>
              <a:gd name="connsiteX33" fmla="*/ 8550869 w 9147507"/>
              <a:gd name="connsiteY33" fmla="*/ 6563892 h 6868407"/>
              <a:gd name="connsiteX34" fmla="*/ 8451684 w 9147507"/>
              <a:gd name="connsiteY34" fmla="*/ 6563892 h 6868407"/>
              <a:gd name="connsiteX35" fmla="*/ 8451684 w 9147507"/>
              <a:gd name="connsiteY35" fmla="*/ 6609838 h 6868407"/>
              <a:gd name="connsiteX36" fmla="*/ 8451684 w 9147507"/>
              <a:gd name="connsiteY36" fmla="*/ 6673179 h 6868407"/>
              <a:gd name="connsiteX37" fmla="*/ 8521674 w 9147507"/>
              <a:gd name="connsiteY37" fmla="*/ 6673179 h 6868407"/>
              <a:gd name="connsiteX38" fmla="*/ 8522059 w 9147507"/>
              <a:gd name="connsiteY38" fmla="*/ 6673179 h 6868407"/>
              <a:gd name="connsiteX39" fmla="*/ 8522059 w 9147507"/>
              <a:gd name="connsiteY39" fmla="*/ 6656178 h 6868407"/>
              <a:gd name="connsiteX40" fmla="*/ 8521674 w 9147507"/>
              <a:gd name="connsiteY40" fmla="*/ 6656178 h 6868407"/>
              <a:gd name="connsiteX41" fmla="*/ 8521674 w 9147507"/>
              <a:gd name="connsiteY41" fmla="*/ 6650080 h 6868407"/>
              <a:gd name="connsiteX42" fmla="*/ 8477332 w 9147507"/>
              <a:gd name="connsiteY42" fmla="*/ 6650080 h 6868407"/>
              <a:gd name="connsiteX43" fmla="*/ 8477332 w 9147507"/>
              <a:gd name="connsiteY43" fmla="*/ 6628755 h 6868407"/>
              <a:gd name="connsiteX44" fmla="*/ 8517742 w 9147507"/>
              <a:gd name="connsiteY44" fmla="*/ 6628755 h 6868407"/>
              <a:gd name="connsiteX45" fmla="*/ 8517742 w 9147507"/>
              <a:gd name="connsiteY45" fmla="*/ 6606683 h 6868407"/>
              <a:gd name="connsiteX46" fmla="*/ 8477332 w 9147507"/>
              <a:gd name="connsiteY46" fmla="*/ 6606683 h 6868407"/>
              <a:gd name="connsiteX47" fmla="*/ 8477332 w 9147507"/>
              <a:gd name="connsiteY47" fmla="*/ 6587161 h 6868407"/>
              <a:gd name="connsiteX48" fmla="*/ 8521674 w 9147507"/>
              <a:gd name="connsiteY48" fmla="*/ 6587161 h 6868407"/>
              <a:gd name="connsiteX49" fmla="*/ 8521674 w 9147507"/>
              <a:gd name="connsiteY49" fmla="*/ 6580893 h 6868407"/>
              <a:gd name="connsiteX50" fmla="*/ 8522059 w 9147507"/>
              <a:gd name="connsiteY50" fmla="*/ 6580893 h 6868407"/>
              <a:gd name="connsiteX51" fmla="*/ 8522059 w 9147507"/>
              <a:gd name="connsiteY51" fmla="*/ 6563892 h 6868407"/>
              <a:gd name="connsiteX52" fmla="*/ 8521674 w 9147507"/>
              <a:gd name="connsiteY52" fmla="*/ 6563892 h 6868407"/>
              <a:gd name="connsiteX53" fmla="*/ 8473399 w 9147507"/>
              <a:gd name="connsiteY53" fmla="*/ 6563892 h 6868407"/>
              <a:gd name="connsiteX54" fmla="*/ 8391420 w 9147507"/>
              <a:gd name="connsiteY54" fmla="*/ 6563859 h 6868407"/>
              <a:gd name="connsiteX55" fmla="*/ 8368793 w 9147507"/>
              <a:gd name="connsiteY55" fmla="*/ 6568085 h 6868407"/>
              <a:gd name="connsiteX56" fmla="*/ 8360657 w 9147507"/>
              <a:gd name="connsiteY56" fmla="*/ 6572212 h 6868407"/>
              <a:gd name="connsiteX57" fmla="*/ 8336291 w 9147507"/>
              <a:gd name="connsiteY57" fmla="*/ 6623778 h 6868407"/>
              <a:gd name="connsiteX58" fmla="*/ 8339896 w 9147507"/>
              <a:gd name="connsiteY58" fmla="*/ 6640258 h 6868407"/>
              <a:gd name="connsiteX59" fmla="*/ 8367938 w 9147507"/>
              <a:gd name="connsiteY59" fmla="*/ 6668991 h 6868407"/>
              <a:gd name="connsiteX60" fmla="*/ 8390423 w 9147507"/>
              <a:gd name="connsiteY60" fmla="*/ 6673217 h 6868407"/>
              <a:gd name="connsiteX61" fmla="*/ 8412993 w 9147507"/>
              <a:gd name="connsiteY61" fmla="*/ 6668991 h 6868407"/>
              <a:gd name="connsiteX62" fmla="*/ 8430433 w 9147507"/>
              <a:gd name="connsiteY62" fmla="*/ 6657512 h 6868407"/>
              <a:gd name="connsiteX63" fmla="*/ 8441747 w 9147507"/>
              <a:gd name="connsiteY63" fmla="*/ 6640258 h 6868407"/>
              <a:gd name="connsiteX64" fmla="*/ 8445765 w 9147507"/>
              <a:gd name="connsiteY64" fmla="*/ 6618609 h 6868407"/>
              <a:gd name="connsiteX65" fmla="*/ 8441904 w 9147507"/>
              <a:gd name="connsiteY65" fmla="*/ 6596875 h 6868407"/>
              <a:gd name="connsiteX66" fmla="*/ 8430946 w 9147507"/>
              <a:gd name="connsiteY66" fmla="*/ 6579564 h 6868407"/>
              <a:gd name="connsiteX67" fmla="*/ 8413848 w 9147507"/>
              <a:gd name="connsiteY67" fmla="*/ 6568085 h 6868407"/>
              <a:gd name="connsiteX68" fmla="*/ 8391420 w 9147507"/>
              <a:gd name="connsiteY68" fmla="*/ 6563859 h 6868407"/>
              <a:gd name="connsiteX69" fmla="*/ 8248710 w 9147507"/>
              <a:gd name="connsiteY69" fmla="*/ 6563512 h 6868407"/>
              <a:gd name="connsiteX70" fmla="*/ 8265053 w 9147507"/>
              <a:gd name="connsiteY70" fmla="*/ 6597584 h 6868407"/>
              <a:gd name="connsiteX71" fmla="*/ 8292012 w 9147507"/>
              <a:gd name="connsiteY71" fmla="*/ 6597584 h 6868407"/>
              <a:gd name="connsiteX72" fmla="*/ 8277663 w 9147507"/>
              <a:gd name="connsiteY72" fmla="*/ 6563512 h 6868407"/>
              <a:gd name="connsiteX73" fmla="*/ 8328560 w 9147507"/>
              <a:gd name="connsiteY73" fmla="*/ 6563498 h 6868407"/>
              <a:gd name="connsiteX74" fmla="*/ 8302870 w 9147507"/>
              <a:gd name="connsiteY74" fmla="*/ 6622628 h 6868407"/>
              <a:gd name="connsiteX75" fmla="*/ 8295902 w 9147507"/>
              <a:gd name="connsiteY75" fmla="*/ 6606289 h 6868407"/>
              <a:gd name="connsiteX76" fmla="*/ 8269157 w 9147507"/>
              <a:gd name="connsiteY76" fmla="*/ 6606289 h 6868407"/>
              <a:gd name="connsiteX77" fmla="*/ 8301089 w 9147507"/>
              <a:gd name="connsiteY77" fmla="*/ 6672954 h 6868407"/>
              <a:gd name="connsiteX78" fmla="*/ 8304052 w 9147507"/>
              <a:gd name="connsiteY78" fmla="*/ 6672954 h 6868407"/>
              <a:gd name="connsiteX79" fmla="*/ 8355790 w 9147507"/>
              <a:gd name="connsiteY79" fmla="*/ 6563498 h 6868407"/>
              <a:gd name="connsiteX80" fmla="*/ 8707789 w 9147507"/>
              <a:gd name="connsiteY80" fmla="*/ 6525960 h 6868407"/>
              <a:gd name="connsiteX81" fmla="*/ 8707789 w 9147507"/>
              <a:gd name="connsiteY81" fmla="*/ 6700888 h 6868407"/>
              <a:gd name="connsiteX82" fmla="*/ 8727178 w 9147507"/>
              <a:gd name="connsiteY82" fmla="*/ 6700888 h 6868407"/>
              <a:gd name="connsiteX83" fmla="*/ 8727178 w 9147507"/>
              <a:gd name="connsiteY83" fmla="*/ 6525960 h 6868407"/>
              <a:gd name="connsiteX84" fmla="*/ 3507 w 9147507"/>
              <a:gd name="connsiteY84" fmla="*/ 0 h 6868407"/>
              <a:gd name="connsiteX85" fmla="*/ 9147507 w 9147507"/>
              <a:gd name="connsiteY85" fmla="*/ 0 h 6868407"/>
              <a:gd name="connsiteX86" fmla="*/ 9147507 w 9147507"/>
              <a:gd name="connsiteY86" fmla="*/ 5003881 h 6868407"/>
              <a:gd name="connsiteX87" fmla="*/ 9147507 w 9147507"/>
              <a:gd name="connsiteY87" fmla="*/ 5873907 h 6868407"/>
              <a:gd name="connsiteX88" fmla="*/ 9147507 w 9147507"/>
              <a:gd name="connsiteY88" fmla="*/ 6210038 h 6868407"/>
              <a:gd name="connsiteX89" fmla="*/ 9147507 w 9147507"/>
              <a:gd name="connsiteY89" fmla="*/ 6327592 h 6868407"/>
              <a:gd name="connsiteX90" fmla="*/ 9147507 w 9147507"/>
              <a:gd name="connsiteY90" fmla="*/ 6868406 h 6868407"/>
              <a:gd name="connsiteX91" fmla="*/ 7642249 w 9147507"/>
              <a:gd name="connsiteY91" fmla="*/ 6868406 h 6868407"/>
              <a:gd name="connsiteX92" fmla="*/ 7642249 w 9147507"/>
              <a:gd name="connsiteY92" fmla="*/ 6868407 h 6868407"/>
              <a:gd name="connsiteX93" fmla="*/ 0 w 9147507"/>
              <a:gd name="connsiteY93" fmla="*/ 6868407 h 6868407"/>
              <a:gd name="connsiteX94" fmla="*/ 0 w 9147507"/>
              <a:gd name="connsiteY94" fmla="*/ 10407 h 6868407"/>
              <a:gd name="connsiteX95" fmla="*/ 3507 w 9147507"/>
              <a:gd name="connsiteY95" fmla="*/ 10407 h 6868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9147507" h="6868407">
                <a:moveTo>
                  <a:pt x="8385242" y="6586428"/>
                </a:moveTo>
                <a:cubicBezTo>
                  <a:pt x="8390892" y="6585235"/>
                  <a:pt x="8396920" y="6585791"/>
                  <a:pt x="8402449" y="6588283"/>
                </a:cubicBezTo>
                <a:cubicBezTo>
                  <a:pt x="8405868" y="6589901"/>
                  <a:pt x="8408903" y="6592214"/>
                  <a:pt x="8411354" y="6595072"/>
                </a:cubicBezTo>
                <a:cubicBezTo>
                  <a:pt x="8413894" y="6598129"/>
                  <a:pt x="8415827" y="6601632"/>
                  <a:pt x="8417054" y="6605397"/>
                </a:cubicBezTo>
                <a:cubicBezTo>
                  <a:pt x="8418459" y="6609661"/>
                  <a:pt x="8419147" y="6614124"/>
                  <a:pt x="8419091" y="6618609"/>
                </a:cubicBezTo>
                <a:cubicBezTo>
                  <a:pt x="8419172" y="6623041"/>
                  <a:pt x="8418518" y="6627457"/>
                  <a:pt x="8417153" y="6631680"/>
                </a:cubicBezTo>
                <a:cubicBezTo>
                  <a:pt x="8415918" y="6635462"/>
                  <a:pt x="8413985" y="6638986"/>
                  <a:pt x="8411454" y="6642075"/>
                </a:cubicBezTo>
                <a:cubicBezTo>
                  <a:pt x="8403479" y="6651121"/>
                  <a:pt x="8390435" y="6653906"/>
                  <a:pt x="8379394" y="6648920"/>
                </a:cubicBezTo>
                <a:cubicBezTo>
                  <a:pt x="8375930" y="6647317"/>
                  <a:pt x="8372865" y="6644980"/>
                  <a:pt x="8370417" y="6642075"/>
                </a:cubicBezTo>
                <a:cubicBezTo>
                  <a:pt x="8367886" y="6638986"/>
                  <a:pt x="8365953" y="6635462"/>
                  <a:pt x="8364718" y="6631680"/>
                </a:cubicBezTo>
                <a:cubicBezTo>
                  <a:pt x="8363276" y="6627469"/>
                  <a:pt x="8362545" y="6623053"/>
                  <a:pt x="8362552" y="6618609"/>
                </a:cubicBezTo>
                <a:cubicBezTo>
                  <a:pt x="8362500" y="6614123"/>
                  <a:pt x="8363193" y="6609660"/>
                  <a:pt x="8364604" y="6605397"/>
                </a:cubicBezTo>
                <a:cubicBezTo>
                  <a:pt x="8365830" y="6601632"/>
                  <a:pt x="8367764" y="6598129"/>
                  <a:pt x="8370303" y="6595072"/>
                </a:cubicBezTo>
                <a:cubicBezTo>
                  <a:pt x="8374320" y="6590564"/>
                  <a:pt x="8379592" y="6587621"/>
                  <a:pt x="8385242" y="6586428"/>
                </a:cubicBezTo>
                <a:close/>
                <a:moveTo>
                  <a:pt x="8529140" y="6563892"/>
                </a:moveTo>
                <a:lnTo>
                  <a:pt x="8529140" y="6609838"/>
                </a:lnTo>
                <a:lnTo>
                  <a:pt x="8529140" y="6673179"/>
                </a:lnTo>
                <a:lnTo>
                  <a:pt x="8599130" y="6673179"/>
                </a:lnTo>
                <a:lnTo>
                  <a:pt x="8599529" y="6673179"/>
                </a:lnTo>
                <a:lnTo>
                  <a:pt x="8599529" y="6656178"/>
                </a:lnTo>
                <a:lnTo>
                  <a:pt x="8599130" y="6656178"/>
                </a:lnTo>
                <a:lnTo>
                  <a:pt x="8599130" y="6650080"/>
                </a:lnTo>
                <a:lnTo>
                  <a:pt x="8554802" y="6650080"/>
                </a:lnTo>
                <a:lnTo>
                  <a:pt x="8554802" y="6628755"/>
                </a:lnTo>
                <a:lnTo>
                  <a:pt x="8595212" y="6628755"/>
                </a:lnTo>
                <a:lnTo>
                  <a:pt x="8595212" y="6606683"/>
                </a:lnTo>
                <a:lnTo>
                  <a:pt x="8554802" y="6606683"/>
                </a:lnTo>
                <a:lnTo>
                  <a:pt x="8554802" y="6587161"/>
                </a:lnTo>
                <a:lnTo>
                  <a:pt x="8599130" y="6587161"/>
                </a:lnTo>
                <a:lnTo>
                  <a:pt x="8599130" y="6580893"/>
                </a:lnTo>
                <a:lnTo>
                  <a:pt x="8599529" y="6580893"/>
                </a:lnTo>
                <a:lnTo>
                  <a:pt x="8599529" y="6563892"/>
                </a:lnTo>
                <a:lnTo>
                  <a:pt x="8599130" y="6563892"/>
                </a:lnTo>
                <a:lnTo>
                  <a:pt x="8550869" y="6563892"/>
                </a:lnTo>
                <a:close/>
                <a:moveTo>
                  <a:pt x="8451684" y="6563892"/>
                </a:moveTo>
                <a:lnTo>
                  <a:pt x="8451684" y="6609838"/>
                </a:lnTo>
                <a:lnTo>
                  <a:pt x="8451684" y="6673179"/>
                </a:lnTo>
                <a:lnTo>
                  <a:pt x="8521674" y="6673179"/>
                </a:lnTo>
                <a:lnTo>
                  <a:pt x="8522059" y="6673179"/>
                </a:lnTo>
                <a:lnTo>
                  <a:pt x="8522059" y="6656178"/>
                </a:lnTo>
                <a:lnTo>
                  <a:pt x="8521674" y="6656178"/>
                </a:lnTo>
                <a:lnTo>
                  <a:pt x="8521674" y="6650080"/>
                </a:lnTo>
                <a:lnTo>
                  <a:pt x="8477332" y="6650080"/>
                </a:lnTo>
                <a:lnTo>
                  <a:pt x="8477332" y="6628755"/>
                </a:lnTo>
                <a:lnTo>
                  <a:pt x="8517742" y="6628755"/>
                </a:lnTo>
                <a:lnTo>
                  <a:pt x="8517742" y="6606683"/>
                </a:lnTo>
                <a:lnTo>
                  <a:pt x="8477332" y="6606683"/>
                </a:lnTo>
                <a:lnTo>
                  <a:pt x="8477332" y="6587161"/>
                </a:lnTo>
                <a:lnTo>
                  <a:pt x="8521674" y="6587161"/>
                </a:lnTo>
                <a:lnTo>
                  <a:pt x="8521674" y="6580893"/>
                </a:lnTo>
                <a:lnTo>
                  <a:pt x="8522059" y="6580893"/>
                </a:lnTo>
                <a:lnTo>
                  <a:pt x="8522059" y="6563892"/>
                </a:lnTo>
                <a:lnTo>
                  <a:pt x="8521674" y="6563892"/>
                </a:lnTo>
                <a:lnTo>
                  <a:pt x="8473399" y="6563892"/>
                </a:lnTo>
                <a:close/>
                <a:moveTo>
                  <a:pt x="8391420" y="6563859"/>
                </a:moveTo>
                <a:cubicBezTo>
                  <a:pt x="8383669" y="6563775"/>
                  <a:pt x="8375978" y="6565211"/>
                  <a:pt x="8368793" y="6568085"/>
                </a:cubicBezTo>
                <a:cubicBezTo>
                  <a:pt x="8365970" y="6569236"/>
                  <a:pt x="8363249" y="6570617"/>
                  <a:pt x="8360657" y="6572212"/>
                </a:cubicBezTo>
                <a:lnTo>
                  <a:pt x="8336291" y="6623778"/>
                </a:lnTo>
                <a:cubicBezTo>
                  <a:pt x="8336685" y="6629414"/>
                  <a:pt x="8337899" y="6634964"/>
                  <a:pt x="8339896" y="6640258"/>
                </a:cubicBezTo>
                <a:cubicBezTo>
                  <a:pt x="8344700" y="6653332"/>
                  <a:pt x="8354892" y="6663776"/>
                  <a:pt x="8367938" y="6668991"/>
                </a:cubicBezTo>
                <a:cubicBezTo>
                  <a:pt x="8375071" y="6671875"/>
                  <a:pt x="8382717" y="6673312"/>
                  <a:pt x="8390423" y="6673217"/>
                </a:cubicBezTo>
                <a:cubicBezTo>
                  <a:pt x="8398155" y="6673304"/>
                  <a:pt x="8405828" y="6671868"/>
                  <a:pt x="8412993" y="6668991"/>
                </a:cubicBezTo>
                <a:cubicBezTo>
                  <a:pt x="8419520" y="6666349"/>
                  <a:pt x="8425450" y="6662447"/>
                  <a:pt x="8430433" y="6657512"/>
                </a:cubicBezTo>
                <a:cubicBezTo>
                  <a:pt x="8435357" y="6652585"/>
                  <a:pt x="8439207" y="6646712"/>
                  <a:pt x="8441747" y="6640258"/>
                </a:cubicBezTo>
                <a:cubicBezTo>
                  <a:pt x="8444481" y="6633364"/>
                  <a:pt x="8445845" y="6626013"/>
                  <a:pt x="8445765" y="6618609"/>
                </a:cubicBezTo>
                <a:cubicBezTo>
                  <a:pt x="8445835" y="6611191"/>
                  <a:pt x="8444526" y="6603825"/>
                  <a:pt x="8441904" y="6596875"/>
                </a:cubicBezTo>
                <a:cubicBezTo>
                  <a:pt x="8439474" y="6590431"/>
                  <a:pt x="8435746" y="6584542"/>
                  <a:pt x="8430946" y="6579564"/>
                </a:cubicBezTo>
                <a:cubicBezTo>
                  <a:pt x="8426104" y="6574618"/>
                  <a:pt x="8420284" y="6570711"/>
                  <a:pt x="8413848" y="6568085"/>
                </a:cubicBezTo>
                <a:cubicBezTo>
                  <a:pt x="8406737" y="6565195"/>
                  <a:pt x="8399108" y="6563758"/>
                  <a:pt x="8391420" y="6563859"/>
                </a:cubicBezTo>
                <a:close/>
                <a:moveTo>
                  <a:pt x="8248710" y="6563512"/>
                </a:moveTo>
                <a:lnTo>
                  <a:pt x="8265053" y="6597584"/>
                </a:lnTo>
                <a:lnTo>
                  <a:pt x="8292012" y="6597584"/>
                </a:lnTo>
                <a:lnTo>
                  <a:pt x="8277663" y="6563512"/>
                </a:lnTo>
                <a:close/>
                <a:moveTo>
                  <a:pt x="8328560" y="6563498"/>
                </a:moveTo>
                <a:lnTo>
                  <a:pt x="8302870" y="6622628"/>
                </a:lnTo>
                <a:lnTo>
                  <a:pt x="8295902" y="6606289"/>
                </a:lnTo>
                <a:lnTo>
                  <a:pt x="8269157" y="6606289"/>
                </a:lnTo>
                <a:lnTo>
                  <a:pt x="8301089" y="6672954"/>
                </a:lnTo>
                <a:lnTo>
                  <a:pt x="8304052" y="6672954"/>
                </a:lnTo>
                <a:lnTo>
                  <a:pt x="8355790" y="6563498"/>
                </a:lnTo>
                <a:close/>
                <a:moveTo>
                  <a:pt x="8707789" y="6525960"/>
                </a:moveTo>
                <a:lnTo>
                  <a:pt x="8707789" y="6700888"/>
                </a:lnTo>
                <a:lnTo>
                  <a:pt x="8727178" y="6700888"/>
                </a:lnTo>
                <a:lnTo>
                  <a:pt x="8727178" y="6525960"/>
                </a:lnTo>
                <a:close/>
                <a:moveTo>
                  <a:pt x="3507" y="0"/>
                </a:moveTo>
                <a:lnTo>
                  <a:pt x="9147507" y="0"/>
                </a:lnTo>
                <a:lnTo>
                  <a:pt x="9147507" y="5003881"/>
                </a:lnTo>
                <a:lnTo>
                  <a:pt x="9147507" y="5873907"/>
                </a:lnTo>
                <a:lnTo>
                  <a:pt x="9147507" y="6210038"/>
                </a:lnTo>
                <a:lnTo>
                  <a:pt x="9147507" y="6327592"/>
                </a:lnTo>
                <a:lnTo>
                  <a:pt x="9147507" y="6868406"/>
                </a:lnTo>
                <a:lnTo>
                  <a:pt x="7642249" y="6868406"/>
                </a:lnTo>
                <a:lnTo>
                  <a:pt x="7642249" y="6868407"/>
                </a:lnTo>
                <a:lnTo>
                  <a:pt x="0" y="6868407"/>
                </a:lnTo>
                <a:lnTo>
                  <a:pt x="0" y="10407"/>
                </a:lnTo>
                <a:lnTo>
                  <a:pt x="3507" y="10407"/>
                </a:lnTo>
                <a:close/>
              </a:path>
            </a:pathLst>
          </a:custGeom>
          <a:blipFill>
            <a:blip r:embed="rId2"/>
            <a:stretch>
              <a:fillRect/>
            </a:stretch>
          </a:blipFill>
        </p:spPr>
        <p:txBody>
          <a:bodyPr wrap="square" lIns="792000" tIns="0" rIns="5256000" anchor="ctr">
            <a:noAutofit/>
          </a:bodyPr>
          <a:lstStyle>
            <a:lvl1pPr algn="ctr">
              <a:defRPr b="0">
                <a:solidFill>
                  <a:schemeClr val="tx1">
                    <a:lumMod val="50000"/>
                    <a:lumOff val="50000"/>
                  </a:schemeClr>
                </a:solidFill>
              </a:defRPr>
            </a:lvl1pPr>
          </a:lstStyle>
          <a:p>
            <a:r>
              <a:rPr lang="en-US" dirty="0"/>
              <a:t>Click the icon at the center of the slide to add a pre-designed half-page map graphic to the slide.</a:t>
            </a:r>
            <a:br>
              <a:rPr lang="en-US" dirty="0"/>
            </a:br>
            <a:r>
              <a:rPr lang="en-US" dirty="0"/>
              <a:t>(In the Marketing Resource Database, these files will have “half slide” in the files name)</a:t>
            </a:r>
          </a:p>
        </p:txBody>
      </p:sp>
      <p:sp>
        <p:nvSpPr>
          <p:cNvPr id="9" name="Title 8">
            <a:extLst>
              <a:ext uri="{FF2B5EF4-FFF2-40B4-BE49-F238E27FC236}">
                <a16:creationId xmlns:a16="http://schemas.microsoft.com/office/drawing/2014/main" id="{A3E7C59C-7AB2-FD4B-9D3E-CA7E0D8CB2F3}"/>
              </a:ext>
            </a:extLst>
          </p:cNvPr>
          <p:cNvSpPr>
            <a:spLocks noGrp="1"/>
          </p:cNvSpPr>
          <p:nvPr userDrawn="1">
            <p:ph type="title" hasCustomPrompt="1"/>
          </p:nvPr>
        </p:nvSpPr>
        <p:spPr/>
        <p:txBody>
          <a:bodyPr/>
          <a:lstStyle>
            <a:lvl1pPr>
              <a:defRPr/>
            </a:lvl1pPr>
          </a:lstStyle>
          <a:p>
            <a:pPr lvl="0"/>
            <a:r>
              <a:rPr lang="en-US" dirty="0"/>
              <a:t>CLICK TO ADD Slide TITLE. ALL CAPS. TWO LINES max.</a:t>
            </a:r>
          </a:p>
        </p:txBody>
      </p:sp>
      <p:sp>
        <p:nvSpPr>
          <p:cNvPr id="1000" name="Footnotes Placeholder">
            <a:extLst>
              <a:ext uri="{FF2B5EF4-FFF2-40B4-BE49-F238E27FC236}">
                <a16:creationId xmlns:a16="http://schemas.microsoft.com/office/drawing/2014/main" id="{89C8ABCA-426C-9447-AA12-B5A756649D54}"/>
              </a:ext>
            </a:extLst>
          </p:cNvPr>
          <p:cNvSpPr>
            <a:spLocks noGrp="1"/>
          </p:cNvSpPr>
          <p:nvPr userDrawn="1">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73" name="Content Placeholder 13">
            <a:extLst>
              <a:ext uri="{FF2B5EF4-FFF2-40B4-BE49-F238E27FC236}">
                <a16:creationId xmlns:a16="http://schemas.microsoft.com/office/drawing/2014/main" id="{BD8F7771-D5FD-5E48-914F-1B0C8281DAF2}"/>
              </a:ext>
            </a:extLst>
          </p:cNvPr>
          <p:cNvSpPr>
            <a:spLocks noGrp="1"/>
          </p:cNvSpPr>
          <p:nvPr userDrawn="1">
            <p:ph sz="quarter" idx="105"/>
          </p:nvPr>
        </p:nvSpPr>
        <p:spPr>
          <a:xfrm>
            <a:off x="6271363" y="1233489"/>
            <a:ext cx="5344901"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5D662E80-C602-AD49-88C5-4C7981BFDF51}"/>
              </a:ext>
            </a:extLst>
          </p:cNvPr>
          <p:cNvSpPr>
            <a:spLocks noGrp="1"/>
          </p:cNvSpPr>
          <p:nvPr userDrawn="1">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AAA8D22F-CD71-0048-A44D-45D040CB3EA8}"/>
              </a:ext>
            </a:extLst>
          </p:cNvPr>
          <p:cNvSpPr>
            <a:spLocks noGrp="1"/>
          </p:cNvSpPr>
          <p:nvPr userDrawn="1">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392EC2F9-9D32-434C-8F82-E8D200FC4895}"/>
              </a:ext>
            </a:extLst>
          </p:cNvPr>
          <p:cNvSpPr>
            <a:spLocks noGrp="1"/>
          </p:cNvSpPr>
          <p:nvPr userDrawn="1">
            <p:ph type="sldNum" sz="quarter" idx="108"/>
          </p:nvPr>
        </p:nvSpPr>
        <p:spPr/>
        <p:txBody>
          <a:bodyPr/>
          <a:lstStyle/>
          <a:p>
            <a:pPr marL="12700"/>
            <a:fld id="{078C017C-E1B9-8443-B047-B08AAA027B45}" type="slidenum">
              <a:rPr lang="en-US" smtClean="0"/>
              <a:pPr marL="12700"/>
              <a:t>‹#›</a:t>
            </a:fld>
            <a:endParaRPr lang="en-US" dirty="0"/>
          </a:p>
        </p:txBody>
      </p:sp>
      <p:grpSp>
        <p:nvGrpSpPr>
          <p:cNvPr id="3" name="Group 2">
            <a:extLst>
              <a:ext uri="{FF2B5EF4-FFF2-40B4-BE49-F238E27FC236}">
                <a16:creationId xmlns:a16="http://schemas.microsoft.com/office/drawing/2014/main" id="{8B57B4F9-541A-FA47-94AB-4A76E2D84EBB}"/>
              </a:ext>
            </a:extLst>
          </p:cNvPr>
          <p:cNvGrpSpPr/>
          <p:nvPr userDrawn="1"/>
        </p:nvGrpSpPr>
        <p:grpSpPr>
          <a:xfrm>
            <a:off x="12532243" y="-1"/>
            <a:ext cx="3965960" cy="12489650"/>
            <a:chOff x="9399182" y="-1"/>
            <a:chExt cx="2974470" cy="12489650"/>
          </a:xfrm>
        </p:grpSpPr>
        <p:sp>
          <p:nvSpPr>
            <p:cNvPr id="80" name="Rectangle 79">
              <a:extLst>
                <a:ext uri="{FF2B5EF4-FFF2-40B4-BE49-F238E27FC236}">
                  <a16:creationId xmlns:a16="http://schemas.microsoft.com/office/drawing/2014/main" id="{7F39C21F-C07C-7740-9183-FE0C02C54D48}"/>
                </a:ext>
              </a:extLst>
            </p:cNvPr>
            <p:cNvSpPr/>
            <p:nvPr userDrawn="1"/>
          </p:nvSpPr>
          <p:spPr>
            <a:xfrm>
              <a:off x="9399182" y="-1"/>
              <a:ext cx="2798651" cy="1232329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75" name="Picture 74">
              <a:extLst>
                <a:ext uri="{FF2B5EF4-FFF2-40B4-BE49-F238E27FC236}">
                  <a16:creationId xmlns:a16="http://schemas.microsoft.com/office/drawing/2014/main" id="{62DE5BAE-3274-6547-A846-0E36742248D0}"/>
                </a:ext>
              </a:extLst>
            </p:cNvPr>
            <p:cNvPicPr>
              <a:picLocks noChangeAspect="1"/>
            </p:cNvPicPr>
            <p:nvPr userDrawn="1"/>
          </p:nvPicPr>
          <p:blipFill rotWithShape="1">
            <a:blip r:embed="rId3"/>
            <a:srcRect r="41694"/>
            <a:stretch/>
          </p:blipFill>
          <p:spPr>
            <a:xfrm>
              <a:off x="9558506" y="1322104"/>
              <a:ext cx="2639328" cy="995540"/>
            </a:xfrm>
            <a:prstGeom prst="rect">
              <a:avLst/>
            </a:prstGeom>
          </p:spPr>
        </p:pic>
        <p:grpSp>
          <p:nvGrpSpPr>
            <p:cNvPr id="131" name="Group 130">
              <a:extLst>
                <a:ext uri="{FF2B5EF4-FFF2-40B4-BE49-F238E27FC236}">
                  <a16:creationId xmlns:a16="http://schemas.microsoft.com/office/drawing/2014/main" id="{EA8A0D49-B3FC-114E-BD4F-A224D345C631}"/>
                </a:ext>
              </a:extLst>
            </p:cNvPr>
            <p:cNvGrpSpPr/>
            <p:nvPr userDrawn="1"/>
          </p:nvGrpSpPr>
          <p:grpSpPr>
            <a:xfrm>
              <a:off x="9541497" y="162442"/>
              <a:ext cx="2819400" cy="814510"/>
              <a:chOff x="-3644733" y="165205"/>
              <a:chExt cx="2819400" cy="814510"/>
            </a:xfrm>
          </p:grpSpPr>
          <p:sp>
            <p:nvSpPr>
              <p:cNvPr id="136" name="Rectangle 135">
                <a:extLst>
                  <a:ext uri="{FF2B5EF4-FFF2-40B4-BE49-F238E27FC236}">
                    <a16:creationId xmlns:a16="http://schemas.microsoft.com/office/drawing/2014/main" id="{9B430B4D-00A5-0E44-AEFA-4FF0C5C67CB2}"/>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7" name="TextBox 136">
                <a:extLst>
                  <a:ext uri="{FF2B5EF4-FFF2-40B4-BE49-F238E27FC236}">
                    <a16:creationId xmlns:a16="http://schemas.microsoft.com/office/drawing/2014/main" id="{1A92EEBC-DB6D-1349-822C-5E9062E5C64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8" name="Picture 137">
                <a:extLst>
                  <a:ext uri="{FF2B5EF4-FFF2-40B4-BE49-F238E27FC236}">
                    <a16:creationId xmlns:a16="http://schemas.microsoft.com/office/drawing/2014/main" id="{2B5D82AA-15DA-6F48-B821-49645A8B7DD3}"/>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33" name="Group 132">
              <a:extLst>
                <a:ext uri="{FF2B5EF4-FFF2-40B4-BE49-F238E27FC236}">
                  <a16:creationId xmlns:a16="http://schemas.microsoft.com/office/drawing/2014/main" id="{C9C4E2FC-B406-D849-816A-FE7024AFBE6E}"/>
                </a:ext>
              </a:extLst>
            </p:cNvPr>
            <p:cNvGrpSpPr/>
            <p:nvPr userDrawn="1"/>
          </p:nvGrpSpPr>
          <p:grpSpPr>
            <a:xfrm>
              <a:off x="9558507" y="1119891"/>
              <a:ext cx="2639328" cy="202617"/>
              <a:chOff x="9303325" y="149270"/>
              <a:chExt cx="2639328" cy="202617"/>
            </a:xfrm>
          </p:grpSpPr>
          <p:sp>
            <p:nvSpPr>
              <p:cNvPr id="134" name="TextBox 133">
                <a:extLst>
                  <a:ext uri="{FF2B5EF4-FFF2-40B4-BE49-F238E27FC236}">
                    <a16:creationId xmlns:a16="http://schemas.microsoft.com/office/drawing/2014/main" id="{105231A2-EDEC-3E4B-91A8-B78EAD4061BD}"/>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135" name="Straight Connector 134">
                <a:extLst>
                  <a:ext uri="{FF2B5EF4-FFF2-40B4-BE49-F238E27FC236}">
                    <a16:creationId xmlns:a16="http://schemas.microsoft.com/office/drawing/2014/main" id="{72E3E04B-C66B-DE46-870F-2C26FF6D7F12}"/>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02553D65-8D5E-9043-AA8A-EB0588AA8551}"/>
                </a:ext>
              </a:extLst>
            </p:cNvPr>
            <p:cNvGrpSpPr/>
            <p:nvPr userDrawn="1"/>
          </p:nvGrpSpPr>
          <p:grpSpPr>
            <a:xfrm>
              <a:off x="9541497" y="3679950"/>
              <a:ext cx="2735151" cy="2655095"/>
              <a:chOff x="9541497" y="11478235"/>
              <a:chExt cx="2735151" cy="2655095"/>
            </a:xfrm>
          </p:grpSpPr>
          <p:grpSp>
            <p:nvGrpSpPr>
              <p:cNvPr id="111" name="Group 110">
                <a:extLst>
                  <a:ext uri="{FF2B5EF4-FFF2-40B4-BE49-F238E27FC236}">
                    <a16:creationId xmlns:a16="http://schemas.microsoft.com/office/drawing/2014/main" id="{9B9C9F49-49E7-CA4E-849A-BB97B8486113}"/>
                  </a:ext>
                </a:extLst>
              </p:cNvPr>
              <p:cNvGrpSpPr/>
              <p:nvPr userDrawn="1"/>
            </p:nvGrpSpPr>
            <p:grpSpPr>
              <a:xfrm>
                <a:off x="9541497" y="11478235"/>
                <a:ext cx="2735151" cy="2655095"/>
                <a:chOff x="9296567" y="4910411"/>
                <a:chExt cx="2735151" cy="2655095"/>
              </a:xfrm>
            </p:grpSpPr>
            <p:sp>
              <p:nvSpPr>
                <p:cNvPr id="126" name="Rectangle 125">
                  <a:extLst>
                    <a:ext uri="{FF2B5EF4-FFF2-40B4-BE49-F238E27FC236}">
                      <a16:creationId xmlns:a16="http://schemas.microsoft.com/office/drawing/2014/main" id="{8025FD44-3660-E343-B0A6-B6F6EDF3C8C6}"/>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7" name="TextBox 126">
                  <a:extLst>
                    <a:ext uri="{FF2B5EF4-FFF2-40B4-BE49-F238E27FC236}">
                      <a16:creationId xmlns:a16="http://schemas.microsoft.com/office/drawing/2014/main" id="{FE31536B-440B-8046-88B3-2642529016B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128" name="Graphic 127">
                  <a:extLst>
                    <a:ext uri="{FF2B5EF4-FFF2-40B4-BE49-F238E27FC236}">
                      <a16:creationId xmlns:a16="http://schemas.microsoft.com/office/drawing/2014/main" id="{A16034BD-6983-5C4A-9FEC-2CE8E81F500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9" name="TextBox 128">
                  <a:extLst>
                    <a:ext uri="{FF2B5EF4-FFF2-40B4-BE49-F238E27FC236}">
                      <a16:creationId xmlns:a16="http://schemas.microsoft.com/office/drawing/2014/main" id="{2ABC9F07-580A-7E4A-B11B-F111FDC350F5}"/>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dirty="0"/>
                    <a:t>This template automatically adds paragraph spacing between first-level text paragraphs. When pasting in content, remember to delete any extra blank lines from your text.</a:t>
                  </a:r>
                </a:p>
              </p:txBody>
            </p:sp>
          </p:grpSp>
          <p:grpSp>
            <p:nvGrpSpPr>
              <p:cNvPr id="114" name="Group 113">
                <a:extLst>
                  <a:ext uri="{FF2B5EF4-FFF2-40B4-BE49-F238E27FC236}">
                    <a16:creationId xmlns:a16="http://schemas.microsoft.com/office/drawing/2014/main" id="{09B499C6-2BCA-D941-836C-075460C0EC17}"/>
                  </a:ext>
                </a:extLst>
              </p:cNvPr>
              <p:cNvGrpSpPr/>
              <p:nvPr userDrawn="1"/>
            </p:nvGrpSpPr>
            <p:grpSpPr>
              <a:xfrm>
                <a:off x="9832250" y="12492855"/>
                <a:ext cx="2074000" cy="1627918"/>
                <a:chOff x="9832250" y="3617325"/>
                <a:chExt cx="2074000" cy="1627918"/>
              </a:xfrm>
            </p:grpSpPr>
            <p:pic>
              <p:nvPicPr>
                <p:cNvPr id="117" name="Picture 116">
                  <a:extLst>
                    <a:ext uri="{FF2B5EF4-FFF2-40B4-BE49-F238E27FC236}">
                      <a16:creationId xmlns:a16="http://schemas.microsoft.com/office/drawing/2014/main" id="{AABA3998-6D10-4545-A7DF-6ED794AC719C}"/>
                    </a:ext>
                  </a:extLst>
                </p:cNvPr>
                <p:cNvPicPr>
                  <a:picLocks noChangeAspect="1"/>
                </p:cNvPicPr>
                <p:nvPr userDrawn="1"/>
              </p:nvPicPr>
              <p:blipFill>
                <a:blip r:embed="rId7"/>
                <a:stretch>
                  <a:fillRect/>
                </a:stretch>
              </p:blipFill>
              <p:spPr>
                <a:xfrm>
                  <a:off x="10075660" y="3617325"/>
                  <a:ext cx="1830590" cy="1627918"/>
                </a:xfrm>
                <a:prstGeom prst="rect">
                  <a:avLst/>
                </a:prstGeom>
              </p:spPr>
            </p:pic>
            <p:cxnSp>
              <p:nvCxnSpPr>
                <p:cNvPr id="118" name="Straight Connector 117">
                  <a:extLst>
                    <a:ext uri="{FF2B5EF4-FFF2-40B4-BE49-F238E27FC236}">
                      <a16:creationId xmlns:a16="http://schemas.microsoft.com/office/drawing/2014/main" id="{2EEFBFC1-6C0D-0348-B560-CF141A2017FC}"/>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9ADBFB77-76D0-6444-AB28-A01243DE58E9}"/>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798FC946-C3A9-DA4D-8EB6-7E9386F341B4}"/>
                    </a:ext>
                  </a:extLst>
                </p:cNvPr>
                <p:cNvSpPr txBox="1"/>
                <p:nvPr userDrawn="1"/>
              </p:nvSpPr>
              <p:spPr>
                <a:xfrm>
                  <a:off x="9832250" y="3828243"/>
                  <a:ext cx="257282"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121" name="TextBox 120">
                  <a:extLst>
                    <a:ext uri="{FF2B5EF4-FFF2-40B4-BE49-F238E27FC236}">
                      <a16:creationId xmlns:a16="http://schemas.microsoft.com/office/drawing/2014/main" id="{2A28E02E-BC50-B343-919D-78A769FA9250}"/>
                    </a:ext>
                  </a:extLst>
                </p:cNvPr>
                <p:cNvSpPr txBox="1"/>
                <p:nvPr userDrawn="1"/>
              </p:nvSpPr>
              <p:spPr>
                <a:xfrm>
                  <a:off x="9832250" y="4721742"/>
                  <a:ext cx="257282"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2" name="Group 1">
              <a:extLst>
                <a:ext uri="{FF2B5EF4-FFF2-40B4-BE49-F238E27FC236}">
                  <a16:creationId xmlns:a16="http://schemas.microsoft.com/office/drawing/2014/main" id="{A4CF5DAB-1553-C04B-92A4-F1198F8EECE3}"/>
                </a:ext>
              </a:extLst>
            </p:cNvPr>
            <p:cNvGrpSpPr/>
            <p:nvPr userDrawn="1"/>
          </p:nvGrpSpPr>
          <p:grpSpPr>
            <a:xfrm>
              <a:off x="9521833" y="6475824"/>
              <a:ext cx="2754815" cy="6013825"/>
              <a:chOff x="9521833" y="-6801152"/>
              <a:chExt cx="2754815" cy="6013825"/>
            </a:xfrm>
          </p:grpSpPr>
          <p:sp>
            <p:nvSpPr>
              <p:cNvPr id="42" name="TextBox 41">
                <a:extLst>
                  <a:ext uri="{FF2B5EF4-FFF2-40B4-BE49-F238E27FC236}">
                    <a16:creationId xmlns:a16="http://schemas.microsoft.com/office/drawing/2014/main" id="{07BD5352-94B5-1940-89E6-DC02A72A4418}"/>
                  </a:ext>
                </a:extLst>
              </p:cNvPr>
              <p:cNvSpPr txBox="1"/>
              <p:nvPr userDrawn="1"/>
            </p:nvSpPr>
            <p:spPr>
              <a:xfrm>
                <a:off x="9558507" y="-6801152"/>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43" name="Straight Connector 42">
                <a:extLst>
                  <a:ext uri="{FF2B5EF4-FFF2-40B4-BE49-F238E27FC236}">
                    <a16:creationId xmlns:a16="http://schemas.microsoft.com/office/drawing/2014/main" id="{DE135D9E-6B8E-BF4A-8B52-EEAE03AC9DE2}"/>
                  </a:ext>
                </a:extLst>
              </p:cNvPr>
              <p:cNvCxnSpPr>
                <a:cxnSpLocks/>
              </p:cNvCxnSpPr>
              <p:nvPr userDrawn="1"/>
            </p:nvCxnSpPr>
            <p:spPr>
              <a:xfrm>
                <a:off x="9558507" y="-659853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C3F42BF-41FD-244D-86C9-0031DA675594}"/>
                  </a:ext>
                </a:extLst>
              </p:cNvPr>
              <p:cNvSpPr txBox="1"/>
              <p:nvPr userDrawn="1"/>
            </p:nvSpPr>
            <p:spPr>
              <a:xfrm>
                <a:off x="9686426" y="-574022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5" name="Group 64">
                <a:extLst>
                  <a:ext uri="{FF2B5EF4-FFF2-40B4-BE49-F238E27FC236}">
                    <a16:creationId xmlns:a16="http://schemas.microsoft.com/office/drawing/2014/main" id="{1AF14A82-884D-6E44-833A-66AEAE8D73E5}"/>
                  </a:ext>
                </a:extLst>
              </p:cNvPr>
              <p:cNvGrpSpPr/>
              <p:nvPr userDrawn="1"/>
            </p:nvGrpSpPr>
            <p:grpSpPr>
              <a:xfrm>
                <a:off x="9541497" y="-2198642"/>
                <a:ext cx="2735151" cy="1411315"/>
                <a:chOff x="9296567" y="4910411"/>
                <a:chExt cx="2735151" cy="1411315"/>
              </a:xfrm>
            </p:grpSpPr>
            <p:sp>
              <p:nvSpPr>
                <p:cNvPr id="67" name="Rectangle 66">
                  <a:extLst>
                    <a:ext uri="{FF2B5EF4-FFF2-40B4-BE49-F238E27FC236}">
                      <a16:creationId xmlns:a16="http://schemas.microsoft.com/office/drawing/2014/main" id="{F7A9386A-4C7E-3A41-8497-284AAB05A9F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8" name="TextBox 67">
                  <a:extLst>
                    <a:ext uri="{FF2B5EF4-FFF2-40B4-BE49-F238E27FC236}">
                      <a16:creationId xmlns:a16="http://schemas.microsoft.com/office/drawing/2014/main" id="{4233D935-4B30-F44F-9AE5-ED48766ABB3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9" name="Graphic 68">
                  <a:extLst>
                    <a:ext uri="{FF2B5EF4-FFF2-40B4-BE49-F238E27FC236}">
                      <a16:creationId xmlns:a16="http://schemas.microsoft.com/office/drawing/2014/main" id="{16F18F42-237E-5D49-9406-C82AB8706B5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70" name="TextBox 69">
                  <a:extLst>
                    <a:ext uri="{FF2B5EF4-FFF2-40B4-BE49-F238E27FC236}">
                      <a16:creationId xmlns:a16="http://schemas.microsoft.com/office/drawing/2014/main" id="{DE14BA7F-29C8-C24E-928B-592788C3333F}"/>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29C49CB8-3278-3D41-8689-3FE7FAAE598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22BE9216-4058-A445-B627-693F5A96240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47" name="Group 46">
                <a:extLst>
                  <a:ext uri="{FF2B5EF4-FFF2-40B4-BE49-F238E27FC236}">
                    <a16:creationId xmlns:a16="http://schemas.microsoft.com/office/drawing/2014/main" id="{14F294D6-B313-E949-842F-F41379956161}"/>
                  </a:ext>
                </a:extLst>
              </p:cNvPr>
              <p:cNvGrpSpPr/>
              <p:nvPr userDrawn="1"/>
            </p:nvGrpSpPr>
            <p:grpSpPr>
              <a:xfrm>
                <a:off x="9541497" y="-3555298"/>
                <a:ext cx="2735151" cy="1280928"/>
                <a:chOff x="9286315" y="6976989"/>
                <a:chExt cx="2735151" cy="1280928"/>
              </a:xfrm>
            </p:grpSpPr>
            <p:sp>
              <p:nvSpPr>
                <p:cNvPr id="60" name="Rectangle 59">
                  <a:extLst>
                    <a:ext uri="{FF2B5EF4-FFF2-40B4-BE49-F238E27FC236}">
                      <a16:creationId xmlns:a16="http://schemas.microsoft.com/office/drawing/2014/main" id="{14F654D1-DB8F-CE4F-A23A-52B9BC2BFF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1" name="TextBox 60">
                  <a:extLst>
                    <a:ext uri="{FF2B5EF4-FFF2-40B4-BE49-F238E27FC236}">
                      <a16:creationId xmlns:a16="http://schemas.microsoft.com/office/drawing/2014/main" id="{1DC4A4C9-98A4-154F-8F68-6545453B151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2" name="Graphic 61">
                  <a:extLst>
                    <a:ext uri="{FF2B5EF4-FFF2-40B4-BE49-F238E27FC236}">
                      <a16:creationId xmlns:a16="http://schemas.microsoft.com/office/drawing/2014/main" id="{09C862AD-FB96-864E-8468-306B3BB1F66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63" name="TextBox 62">
                  <a:extLst>
                    <a:ext uri="{FF2B5EF4-FFF2-40B4-BE49-F238E27FC236}">
                      <a16:creationId xmlns:a16="http://schemas.microsoft.com/office/drawing/2014/main" id="{F14F4FFA-0615-1D48-B3DF-3595FF4FE06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64" name="Picture 63">
                  <a:extLst>
                    <a:ext uri="{FF2B5EF4-FFF2-40B4-BE49-F238E27FC236}">
                      <a16:creationId xmlns:a16="http://schemas.microsoft.com/office/drawing/2014/main" id="{88F30D86-450E-F848-A211-E408470B957E}"/>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48" name="Group 47">
                <a:extLst>
                  <a:ext uri="{FF2B5EF4-FFF2-40B4-BE49-F238E27FC236}">
                    <a16:creationId xmlns:a16="http://schemas.microsoft.com/office/drawing/2014/main" id="{02D72FD7-6279-0446-AC58-A3C3DC24D160}"/>
                  </a:ext>
                </a:extLst>
              </p:cNvPr>
              <p:cNvGrpSpPr/>
              <p:nvPr userDrawn="1"/>
            </p:nvGrpSpPr>
            <p:grpSpPr>
              <a:xfrm>
                <a:off x="9521833" y="-6476032"/>
                <a:ext cx="2617883" cy="651460"/>
                <a:chOff x="12352022" y="513115"/>
                <a:chExt cx="2617883" cy="651460"/>
              </a:xfrm>
            </p:grpSpPr>
            <p:sp>
              <p:nvSpPr>
                <p:cNvPr id="57" name="TextBox 56">
                  <a:extLst>
                    <a:ext uri="{FF2B5EF4-FFF2-40B4-BE49-F238E27FC236}">
                      <a16:creationId xmlns:a16="http://schemas.microsoft.com/office/drawing/2014/main" id="{F61D0EBF-B2C0-7046-B77D-2B9CD522884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8" name="TextBox 57">
                  <a:extLst>
                    <a:ext uri="{FF2B5EF4-FFF2-40B4-BE49-F238E27FC236}">
                      <a16:creationId xmlns:a16="http://schemas.microsoft.com/office/drawing/2014/main" id="{80E248F4-5967-3B48-BA75-443830FB430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9" name="TextBox 58">
                  <a:extLst>
                    <a:ext uri="{FF2B5EF4-FFF2-40B4-BE49-F238E27FC236}">
                      <a16:creationId xmlns:a16="http://schemas.microsoft.com/office/drawing/2014/main" id="{4458B103-16C3-734D-9D4C-08A0AD40A3F8}"/>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49" name="TextBox 48">
                <a:extLst>
                  <a:ext uri="{FF2B5EF4-FFF2-40B4-BE49-F238E27FC236}">
                    <a16:creationId xmlns:a16="http://schemas.microsoft.com/office/drawing/2014/main" id="{9F6763D5-C877-A84E-AA38-3CED305D0841}"/>
                  </a:ext>
                </a:extLst>
              </p:cNvPr>
              <p:cNvSpPr txBox="1"/>
              <p:nvPr userDrawn="1"/>
            </p:nvSpPr>
            <p:spPr>
              <a:xfrm>
                <a:off x="9674267" y="-545692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50" name="TextBox 49">
                <a:extLst>
                  <a:ext uri="{FF2B5EF4-FFF2-40B4-BE49-F238E27FC236}">
                    <a16:creationId xmlns:a16="http://schemas.microsoft.com/office/drawing/2014/main" id="{DFB47FC7-5B8F-1A47-817A-A3CF2131BD9D}"/>
                  </a:ext>
                </a:extLst>
              </p:cNvPr>
              <p:cNvSpPr txBox="1"/>
              <p:nvPr userDrawn="1"/>
            </p:nvSpPr>
            <p:spPr>
              <a:xfrm>
                <a:off x="9686426" y="-5041663"/>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51" name="TextBox 50">
                <a:extLst>
                  <a:ext uri="{FF2B5EF4-FFF2-40B4-BE49-F238E27FC236}">
                    <a16:creationId xmlns:a16="http://schemas.microsoft.com/office/drawing/2014/main" id="{5CD80403-C6E9-C346-A05A-8AE1F1F93179}"/>
                  </a:ext>
                </a:extLst>
              </p:cNvPr>
              <p:cNvSpPr txBox="1"/>
              <p:nvPr userDrawn="1"/>
            </p:nvSpPr>
            <p:spPr>
              <a:xfrm>
                <a:off x="9686426" y="-4321573"/>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52" name="TextBox 51">
                <a:extLst>
                  <a:ext uri="{FF2B5EF4-FFF2-40B4-BE49-F238E27FC236}">
                    <a16:creationId xmlns:a16="http://schemas.microsoft.com/office/drawing/2014/main" id="{6AB870E0-EE0A-D84C-A2C8-84EDC9B761D9}"/>
                  </a:ext>
                </a:extLst>
              </p:cNvPr>
              <p:cNvSpPr txBox="1"/>
              <p:nvPr userDrawn="1"/>
            </p:nvSpPr>
            <p:spPr>
              <a:xfrm>
                <a:off x="9674267" y="-3891010"/>
                <a:ext cx="2374733"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nvGrpSpPr>
            <p:cNvPr id="56" name="Group 55">
              <a:extLst>
                <a:ext uri="{FF2B5EF4-FFF2-40B4-BE49-F238E27FC236}">
                  <a16:creationId xmlns:a16="http://schemas.microsoft.com/office/drawing/2014/main" id="{51C8198C-DD7F-BA46-8818-A422C4B5DDAB}"/>
                </a:ext>
              </a:extLst>
            </p:cNvPr>
            <p:cNvGrpSpPr/>
            <p:nvPr userDrawn="1"/>
          </p:nvGrpSpPr>
          <p:grpSpPr>
            <a:xfrm>
              <a:off x="9554253" y="2414886"/>
              <a:ext cx="2819399" cy="1181890"/>
              <a:chOff x="9541498" y="3352649"/>
              <a:chExt cx="2819399" cy="1181890"/>
            </a:xfrm>
          </p:grpSpPr>
          <p:grpSp>
            <p:nvGrpSpPr>
              <p:cNvPr id="66" name="Group 65">
                <a:extLst>
                  <a:ext uri="{FF2B5EF4-FFF2-40B4-BE49-F238E27FC236}">
                    <a16:creationId xmlns:a16="http://schemas.microsoft.com/office/drawing/2014/main" id="{51461867-39BD-8443-858A-89E8E720E047}"/>
                  </a:ext>
                </a:extLst>
              </p:cNvPr>
              <p:cNvGrpSpPr/>
              <p:nvPr userDrawn="1"/>
            </p:nvGrpSpPr>
            <p:grpSpPr>
              <a:xfrm>
                <a:off x="9541498" y="3352649"/>
                <a:ext cx="2735150" cy="1181890"/>
                <a:chOff x="9541498" y="3751132"/>
                <a:chExt cx="2735150" cy="1181890"/>
              </a:xfrm>
            </p:grpSpPr>
            <p:grpSp>
              <p:nvGrpSpPr>
                <p:cNvPr id="76" name="Group 75">
                  <a:extLst>
                    <a:ext uri="{FF2B5EF4-FFF2-40B4-BE49-F238E27FC236}">
                      <a16:creationId xmlns:a16="http://schemas.microsoft.com/office/drawing/2014/main" id="{B43C4940-84D3-BE4D-B6C7-B9F4069E6AF2}"/>
                    </a:ext>
                  </a:extLst>
                </p:cNvPr>
                <p:cNvGrpSpPr/>
                <p:nvPr userDrawn="1"/>
              </p:nvGrpSpPr>
              <p:grpSpPr>
                <a:xfrm>
                  <a:off x="9541498" y="3751132"/>
                  <a:ext cx="2735150" cy="1181890"/>
                  <a:chOff x="9296568" y="4910411"/>
                  <a:chExt cx="2735150" cy="1181890"/>
                </a:xfrm>
              </p:grpSpPr>
              <p:sp>
                <p:nvSpPr>
                  <p:cNvPr id="78" name="Rectangle 77">
                    <a:extLst>
                      <a:ext uri="{FF2B5EF4-FFF2-40B4-BE49-F238E27FC236}">
                        <a16:creationId xmlns:a16="http://schemas.microsoft.com/office/drawing/2014/main" id="{9D64EC32-DC56-1A4F-B329-EFB7AD05123D}"/>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9" name="TextBox 78">
                    <a:extLst>
                      <a:ext uri="{FF2B5EF4-FFF2-40B4-BE49-F238E27FC236}">
                        <a16:creationId xmlns:a16="http://schemas.microsoft.com/office/drawing/2014/main" id="{98AC335A-B89B-6A4C-9272-D47CD0D06EC8}"/>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81" name="TextBox 80">
                    <a:extLst>
                      <a:ext uri="{FF2B5EF4-FFF2-40B4-BE49-F238E27FC236}">
                        <a16:creationId xmlns:a16="http://schemas.microsoft.com/office/drawing/2014/main" id="{278ECCAF-CE58-9C43-BD97-C451117E731F}"/>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77" name="Graphic 76">
                  <a:extLst>
                    <a:ext uri="{FF2B5EF4-FFF2-40B4-BE49-F238E27FC236}">
                      <a16:creationId xmlns:a16="http://schemas.microsoft.com/office/drawing/2014/main" id="{AB366EEA-B03C-9046-8AD6-59CC9C8CE5A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686425" y="3891259"/>
                  <a:ext cx="170340" cy="170340"/>
                </a:xfrm>
                <a:prstGeom prst="rect">
                  <a:avLst/>
                </a:prstGeom>
              </p:spPr>
            </p:pic>
          </p:grpSp>
          <p:pic>
            <p:nvPicPr>
              <p:cNvPr id="74" name="Picture 73">
                <a:extLst>
                  <a:ext uri="{FF2B5EF4-FFF2-40B4-BE49-F238E27FC236}">
                    <a16:creationId xmlns:a16="http://schemas.microsoft.com/office/drawing/2014/main" id="{699DEED4-35C2-9441-873F-AAED33354F6B}"/>
                  </a:ext>
                </a:extLst>
              </p:cNvPr>
              <p:cNvPicPr>
                <a:picLocks noChangeAspect="1"/>
              </p:cNvPicPr>
              <p:nvPr userDrawn="1"/>
            </p:nvPicPr>
            <p:blipFill rotWithShape="1">
              <a:blip r:embed="rId11"/>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4103984849"/>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wo Graphic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E0F2A22-DC4A-E346-AE87-FB4ED4577753}"/>
              </a:ext>
            </a:extLst>
          </p:cNvPr>
          <p:cNvSpPr>
            <a:spLocks noGrp="1"/>
          </p:cNvSpPr>
          <p:nvPr>
            <p:ph type="pic" sz="quarter" idx="13" hasCustomPrompt="1"/>
          </p:nvPr>
        </p:nvSpPr>
        <p:spPr>
          <a:xfrm>
            <a:off x="575711" y="2218124"/>
            <a:ext cx="5255999" cy="2955675"/>
          </a:xfrm>
          <a:solidFill>
            <a:srgbClr val="E8F3FD"/>
          </a:solidFill>
        </p:spPr>
        <p:txBody>
          <a:bodyPr anchor="ctr"/>
          <a:lstStyle>
            <a:lvl1pPr algn="ctr">
              <a:defRPr b="0">
                <a:solidFill>
                  <a:schemeClr val="tx1">
                    <a:lumMod val="50000"/>
                    <a:lumOff val="50000"/>
                  </a:schemeClr>
                </a:solidFill>
              </a:defRPr>
            </a:lvl1pPr>
          </a:lstStyle>
          <a:p>
            <a:r>
              <a:rPr lang="en-US" dirty="0"/>
              <a:t>Click to add a pre-designed</a:t>
            </a:r>
            <a:br>
              <a:rPr lang="en-US" dirty="0"/>
            </a:br>
            <a:r>
              <a:rPr lang="en-US" dirty="0"/>
              <a:t>ranking or quote graphic</a:t>
            </a:r>
          </a:p>
        </p:txBody>
      </p:sp>
      <p:sp>
        <p:nvSpPr>
          <p:cNvPr id="9" name="Picture Placeholder 7">
            <a:extLst>
              <a:ext uri="{FF2B5EF4-FFF2-40B4-BE49-F238E27FC236}">
                <a16:creationId xmlns:a16="http://schemas.microsoft.com/office/drawing/2014/main" id="{1640ADA5-7398-B640-ADDD-6DF2A63EF342}"/>
              </a:ext>
            </a:extLst>
          </p:cNvPr>
          <p:cNvSpPr>
            <a:spLocks noGrp="1"/>
          </p:cNvSpPr>
          <p:nvPr>
            <p:ph type="pic" sz="quarter" idx="14" hasCustomPrompt="1"/>
          </p:nvPr>
        </p:nvSpPr>
        <p:spPr>
          <a:xfrm>
            <a:off x="6361038" y="2217970"/>
            <a:ext cx="5255229" cy="2955983"/>
          </a:xfrm>
          <a:solidFill>
            <a:srgbClr val="E8F3FD"/>
          </a:solidFill>
        </p:spPr>
        <p:txBody>
          <a:bodyPr anchor="ctr"/>
          <a:lstStyle>
            <a:lvl1pPr algn="ctr">
              <a:defRPr b="0">
                <a:solidFill>
                  <a:schemeClr val="tx1">
                    <a:lumMod val="50000"/>
                    <a:lumOff val="50000"/>
                  </a:schemeClr>
                </a:solidFill>
              </a:defRPr>
            </a:lvl1pPr>
          </a:lstStyle>
          <a:p>
            <a:r>
              <a:rPr lang="en-US" dirty="0"/>
              <a:t>Click to add a pre-designed</a:t>
            </a:r>
            <a:br>
              <a:rPr lang="en-US" dirty="0"/>
            </a:br>
            <a:r>
              <a:rPr lang="en-US" dirty="0"/>
              <a:t>ranking or quote graphic</a:t>
            </a:r>
          </a:p>
        </p:txBody>
      </p:sp>
      <p:cxnSp>
        <p:nvCxnSpPr>
          <p:cNvPr id="10" name="Straight Connector 9">
            <a:extLst>
              <a:ext uri="{FF2B5EF4-FFF2-40B4-BE49-F238E27FC236}">
                <a16:creationId xmlns:a16="http://schemas.microsoft.com/office/drawing/2014/main" id="{6C7DBB08-85DE-1A46-BB43-C98D1EBB9768}"/>
              </a:ext>
            </a:extLst>
          </p:cNvPr>
          <p:cNvCxnSpPr>
            <a:cxnSpLocks/>
          </p:cNvCxnSpPr>
          <p:nvPr userDrawn="1"/>
        </p:nvCxnSpPr>
        <p:spPr>
          <a:xfrm>
            <a:off x="6096000" y="2217970"/>
            <a:ext cx="0" cy="2955983"/>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2" name="Title 11">
            <a:extLst>
              <a:ext uri="{FF2B5EF4-FFF2-40B4-BE49-F238E27FC236}">
                <a16:creationId xmlns:a16="http://schemas.microsoft.com/office/drawing/2014/main" id="{90A94CCC-95A0-1A46-97DB-01C300149D6E}"/>
              </a:ext>
            </a:extLst>
          </p:cNvPr>
          <p:cNvSpPr>
            <a:spLocks noGrp="1"/>
          </p:cNvSpPr>
          <p:nvPr>
            <p:ph type="title" hasCustomPrompt="1"/>
          </p:nvPr>
        </p:nvSpPr>
        <p:spPr/>
        <p:txBody>
          <a:bodyPr/>
          <a:lstStyle/>
          <a:p>
            <a:r>
              <a:rPr lang="en-US" dirty="0"/>
              <a:t>CLICK TO ADD Slide TITLE. ALL CAPS. TWO LINES max.</a:t>
            </a:r>
          </a:p>
        </p:txBody>
      </p:sp>
      <p:sp>
        <p:nvSpPr>
          <p:cNvPr id="1000" name="Footnotes Placeholder">
            <a:extLst>
              <a:ext uri="{FF2B5EF4-FFF2-40B4-BE49-F238E27FC236}">
                <a16:creationId xmlns:a16="http://schemas.microsoft.com/office/drawing/2014/main" id="{38EB76C2-EC49-D74D-8138-42F36071D111}"/>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5" name="Date Placeholder 4">
            <a:extLst>
              <a:ext uri="{FF2B5EF4-FFF2-40B4-BE49-F238E27FC236}">
                <a16:creationId xmlns:a16="http://schemas.microsoft.com/office/drawing/2014/main" id="{88AC8874-ADB0-E745-A95D-BC630D73D54E}"/>
              </a:ext>
            </a:extLst>
          </p:cNvPr>
          <p:cNvSpPr>
            <a:spLocks noGrp="1"/>
          </p:cNvSpPr>
          <p:nvPr>
            <p:ph type="dt" sz="half" idx="101"/>
          </p:nvPr>
        </p:nvSpPr>
        <p:spPr/>
        <p:txBody>
          <a:bodyPr/>
          <a:lstStyle/>
          <a:p>
            <a:endParaRPr lang="en-US" dirty="0"/>
          </a:p>
        </p:txBody>
      </p:sp>
      <p:sp>
        <p:nvSpPr>
          <p:cNvPr id="6" name="Footer Placeholder 5">
            <a:extLst>
              <a:ext uri="{FF2B5EF4-FFF2-40B4-BE49-F238E27FC236}">
                <a16:creationId xmlns:a16="http://schemas.microsoft.com/office/drawing/2014/main" id="{C165C2A2-356A-7548-BE96-5A0D200A7CD7}"/>
              </a:ext>
            </a:extLst>
          </p:cNvPr>
          <p:cNvSpPr>
            <a:spLocks noGrp="1"/>
          </p:cNvSpPr>
          <p:nvPr>
            <p:ph type="ftr" sz="quarter" idx="102"/>
          </p:nvPr>
        </p:nvSpPr>
        <p:spPr/>
        <p:txBody>
          <a:bodyPr/>
          <a:lstStyle/>
          <a:p>
            <a:endParaRPr lang="en-US" dirty="0"/>
          </a:p>
        </p:txBody>
      </p:sp>
      <p:sp>
        <p:nvSpPr>
          <p:cNvPr id="7" name="Slide Number Placeholder 6">
            <a:extLst>
              <a:ext uri="{FF2B5EF4-FFF2-40B4-BE49-F238E27FC236}">
                <a16:creationId xmlns:a16="http://schemas.microsoft.com/office/drawing/2014/main" id="{AB83E43E-DF9D-AB4F-843F-9C58B110211E}"/>
              </a:ext>
            </a:extLst>
          </p:cNvPr>
          <p:cNvSpPr>
            <a:spLocks noGrp="1"/>
          </p:cNvSpPr>
          <p:nvPr>
            <p:ph type="sldNum" sz="quarter" idx="103"/>
          </p:nvPr>
        </p:nvSpPr>
        <p:spPr/>
        <p:txBody>
          <a:bodyPr/>
          <a:lstStyle/>
          <a:p>
            <a:pPr marL="12700"/>
            <a:fld id="{078C017C-E1B9-8443-B047-B08AAA027B45}" type="slidenum">
              <a:rPr lang="en-US" smtClean="0"/>
              <a:pPr marL="12700"/>
              <a:t>‹#›</a:t>
            </a:fld>
            <a:endParaRPr lang="en-US" dirty="0"/>
          </a:p>
        </p:txBody>
      </p:sp>
      <p:grpSp>
        <p:nvGrpSpPr>
          <p:cNvPr id="37" name="Group 36">
            <a:extLst>
              <a:ext uri="{FF2B5EF4-FFF2-40B4-BE49-F238E27FC236}">
                <a16:creationId xmlns:a16="http://schemas.microsoft.com/office/drawing/2014/main" id="{A4BF7355-4363-8343-BF89-F6DDE86B3E19}"/>
              </a:ext>
            </a:extLst>
          </p:cNvPr>
          <p:cNvGrpSpPr/>
          <p:nvPr userDrawn="1"/>
        </p:nvGrpSpPr>
        <p:grpSpPr>
          <a:xfrm>
            <a:off x="12532243" y="-1"/>
            <a:ext cx="3832280" cy="6858001"/>
            <a:chOff x="9144000" y="-1"/>
            <a:chExt cx="2874210" cy="6858001"/>
          </a:xfrm>
        </p:grpSpPr>
        <p:sp>
          <p:nvSpPr>
            <p:cNvPr id="44" name="Rectangle 43">
              <a:extLst>
                <a:ext uri="{FF2B5EF4-FFF2-40B4-BE49-F238E27FC236}">
                  <a16:creationId xmlns:a16="http://schemas.microsoft.com/office/drawing/2014/main" id="{DC3EFD55-F84B-3140-8A09-E694BBDB477A}"/>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grpSp>
          <p:nvGrpSpPr>
            <p:cNvPr id="45" name="Group 44">
              <a:extLst>
                <a:ext uri="{FF2B5EF4-FFF2-40B4-BE49-F238E27FC236}">
                  <a16:creationId xmlns:a16="http://schemas.microsoft.com/office/drawing/2014/main" id="{F52CEB7A-9DDD-2846-8CDB-25FF2BD4E0F2}"/>
                </a:ext>
              </a:extLst>
            </p:cNvPr>
            <p:cNvGrpSpPr/>
            <p:nvPr userDrawn="1"/>
          </p:nvGrpSpPr>
          <p:grpSpPr>
            <a:xfrm>
              <a:off x="9263395" y="150289"/>
              <a:ext cx="2754815" cy="6013825"/>
              <a:chOff x="9266651" y="185338"/>
              <a:chExt cx="2754815" cy="6013825"/>
            </a:xfrm>
          </p:grpSpPr>
          <p:sp>
            <p:nvSpPr>
              <p:cNvPr id="46" name="TextBox 45">
                <a:extLst>
                  <a:ext uri="{FF2B5EF4-FFF2-40B4-BE49-F238E27FC236}">
                    <a16:creationId xmlns:a16="http://schemas.microsoft.com/office/drawing/2014/main" id="{9C639E71-F95A-7A4A-BCA4-1C7279BE09D4}"/>
                  </a:ext>
                </a:extLst>
              </p:cNvPr>
              <p:cNvSpPr txBox="1"/>
              <p:nvPr userDrawn="1"/>
            </p:nvSpPr>
            <p:spPr>
              <a:xfrm>
                <a:off x="9303325" y="185338"/>
                <a:ext cx="181179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 RANKING GRAPHIC</a:t>
                </a:r>
              </a:p>
            </p:txBody>
          </p:sp>
          <p:cxnSp>
            <p:nvCxnSpPr>
              <p:cNvPr id="47" name="Straight Connector 46">
                <a:extLst>
                  <a:ext uri="{FF2B5EF4-FFF2-40B4-BE49-F238E27FC236}">
                    <a16:creationId xmlns:a16="http://schemas.microsoft.com/office/drawing/2014/main" id="{3454B777-88A5-A54A-8688-8CCFBB2CBB56}"/>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386A5866-BE39-6A48-AE63-C492C5C420BC}"/>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9" name="Group 48">
                <a:extLst>
                  <a:ext uri="{FF2B5EF4-FFF2-40B4-BE49-F238E27FC236}">
                    <a16:creationId xmlns:a16="http://schemas.microsoft.com/office/drawing/2014/main" id="{FBDBCBCD-7B16-ED4B-89CB-3BAB8B70B23B}"/>
                  </a:ext>
                </a:extLst>
              </p:cNvPr>
              <p:cNvGrpSpPr/>
              <p:nvPr userDrawn="1"/>
            </p:nvGrpSpPr>
            <p:grpSpPr>
              <a:xfrm>
                <a:off x="9286315" y="4787848"/>
                <a:ext cx="2735151" cy="1411315"/>
                <a:chOff x="9296567" y="4910411"/>
                <a:chExt cx="2735151" cy="1411315"/>
              </a:xfrm>
            </p:grpSpPr>
            <p:sp>
              <p:nvSpPr>
                <p:cNvPr id="64" name="Rectangle 63">
                  <a:extLst>
                    <a:ext uri="{FF2B5EF4-FFF2-40B4-BE49-F238E27FC236}">
                      <a16:creationId xmlns:a16="http://schemas.microsoft.com/office/drawing/2014/main" id="{7707291B-F5C5-E84D-BB87-EC256B761F2F}"/>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5" name="TextBox 64">
                  <a:extLst>
                    <a:ext uri="{FF2B5EF4-FFF2-40B4-BE49-F238E27FC236}">
                      <a16:creationId xmlns:a16="http://schemas.microsoft.com/office/drawing/2014/main" id="{47E811E1-3D01-0242-B581-B3D0E2D9E8C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6" name="Graphic 65">
                  <a:extLst>
                    <a:ext uri="{FF2B5EF4-FFF2-40B4-BE49-F238E27FC236}">
                      <a16:creationId xmlns:a16="http://schemas.microsoft.com/office/drawing/2014/main" id="{CC7533CE-AAD6-6A4F-B604-501FBC22F2F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67" name="TextBox 66">
                  <a:extLst>
                    <a:ext uri="{FF2B5EF4-FFF2-40B4-BE49-F238E27FC236}">
                      <a16:creationId xmlns:a16="http://schemas.microsoft.com/office/drawing/2014/main" id="{DEFC58F9-83F9-F24E-8CFB-85C42B9FF28B}"/>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8" name="TextBox 67">
                  <a:extLst>
                    <a:ext uri="{FF2B5EF4-FFF2-40B4-BE49-F238E27FC236}">
                      <a16:creationId xmlns:a16="http://schemas.microsoft.com/office/drawing/2014/main" id="{4343EFA7-F04B-AD4C-B49F-773E72FEEA0C}"/>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9" name="TextBox 68">
                  <a:extLst>
                    <a:ext uri="{FF2B5EF4-FFF2-40B4-BE49-F238E27FC236}">
                      <a16:creationId xmlns:a16="http://schemas.microsoft.com/office/drawing/2014/main" id="{74414D03-81D7-8041-8A2A-5F8A32095DD0}"/>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50" name="Group 49">
                <a:extLst>
                  <a:ext uri="{FF2B5EF4-FFF2-40B4-BE49-F238E27FC236}">
                    <a16:creationId xmlns:a16="http://schemas.microsoft.com/office/drawing/2014/main" id="{49F75BF1-C2B3-B54F-8730-6D9E5FA3B42F}"/>
                  </a:ext>
                </a:extLst>
              </p:cNvPr>
              <p:cNvGrpSpPr/>
              <p:nvPr userDrawn="1"/>
            </p:nvGrpSpPr>
            <p:grpSpPr>
              <a:xfrm>
                <a:off x="9286315" y="3431192"/>
                <a:ext cx="2735151" cy="1280928"/>
                <a:chOff x="9286315" y="6976989"/>
                <a:chExt cx="2735151" cy="1280928"/>
              </a:xfrm>
            </p:grpSpPr>
            <p:sp>
              <p:nvSpPr>
                <p:cNvPr id="59" name="Rectangle 58">
                  <a:extLst>
                    <a:ext uri="{FF2B5EF4-FFF2-40B4-BE49-F238E27FC236}">
                      <a16:creationId xmlns:a16="http://schemas.microsoft.com/office/drawing/2014/main" id="{390CF49D-B56E-F246-9B8F-7253ADBF55CF}"/>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0" name="TextBox 59">
                  <a:extLst>
                    <a:ext uri="{FF2B5EF4-FFF2-40B4-BE49-F238E27FC236}">
                      <a16:creationId xmlns:a16="http://schemas.microsoft.com/office/drawing/2014/main" id="{5CA0CD73-90A4-5947-9FED-FC045B6A96DB}"/>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1" name="Graphic 60">
                  <a:extLst>
                    <a:ext uri="{FF2B5EF4-FFF2-40B4-BE49-F238E27FC236}">
                      <a16:creationId xmlns:a16="http://schemas.microsoft.com/office/drawing/2014/main" id="{8566AC83-205E-F840-8065-FAD2AD96F8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62" name="TextBox 61">
                  <a:extLst>
                    <a:ext uri="{FF2B5EF4-FFF2-40B4-BE49-F238E27FC236}">
                      <a16:creationId xmlns:a16="http://schemas.microsoft.com/office/drawing/2014/main" id="{DDEB2D73-0AF0-D34E-88C1-C738A08E993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63" name="Picture 62">
                  <a:extLst>
                    <a:ext uri="{FF2B5EF4-FFF2-40B4-BE49-F238E27FC236}">
                      <a16:creationId xmlns:a16="http://schemas.microsoft.com/office/drawing/2014/main" id="{CA429C1D-9A21-394C-A2DC-7BF8A319EFA6}"/>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51" name="Group 50">
                <a:extLst>
                  <a:ext uri="{FF2B5EF4-FFF2-40B4-BE49-F238E27FC236}">
                    <a16:creationId xmlns:a16="http://schemas.microsoft.com/office/drawing/2014/main" id="{49CCA4E1-8EF5-2549-84B1-9E3BBF0438EA}"/>
                  </a:ext>
                </a:extLst>
              </p:cNvPr>
              <p:cNvGrpSpPr/>
              <p:nvPr userDrawn="1"/>
            </p:nvGrpSpPr>
            <p:grpSpPr>
              <a:xfrm>
                <a:off x="9266651" y="510458"/>
                <a:ext cx="2617883" cy="651460"/>
                <a:chOff x="12352022" y="513115"/>
                <a:chExt cx="2617883" cy="651460"/>
              </a:xfrm>
            </p:grpSpPr>
            <p:sp>
              <p:nvSpPr>
                <p:cNvPr id="56" name="TextBox 55">
                  <a:extLst>
                    <a:ext uri="{FF2B5EF4-FFF2-40B4-BE49-F238E27FC236}">
                      <a16:creationId xmlns:a16="http://schemas.microsoft.com/office/drawing/2014/main" id="{C2E305A8-FA70-5E42-8141-397DA68944F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7" name="TextBox 56">
                  <a:extLst>
                    <a:ext uri="{FF2B5EF4-FFF2-40B4-BE49-F238E27FC236}">
                      <a16:creationId xmlns:a16="http://schemas.microsoft.com/office/drawing/2014/main" id="{7ED7D884-C4B1-7941-88D0-3BC49DC1632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8" name="TextBox 57">
                  <a:extLst>
                    <a:ext uri="{FF2B5EF4-FFF2-40B4-BE49-F238E27FC236}">
                      <a16:creationId xmlns:a16="http://schemas.microsoft.com/office/drawing/2014/main" id="{FEBB71D5-7B19-FE4A-8102-B363C4A42F30}"/>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52" name="TextBox 51">
                <a:extLst>
                  <a:ext uri="{FF2B5EF4-FFF2-40B4-BE49-F238E27FC236}">
                    <a16:creationId xmlns:a16="http://schemas.microsoft.com/office/drawing/2014/main" id="{A1548EEE-06E3-CC41-9F8E-0DDC2A665391}"/>
                  </a:ext>
                </a:extLst>
              </p:cNvPr>
              <p:cNvSpPr txBox="1"/>
              <p:nvPr userDrawn="1"/>
            </p:nvSpPr>
            <p:spPr>
              <a:xfrm>
                <a:off x="9419085" y="152957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53" name="TextBox 52">
                <a:extLst>
                  <a:ext uri="{FF2B5EF4-FFF2-40B4-BE49-F238E27FC236}">
                    <a16:creationId xmlns:a16="http://schemas.microsoft.com/office/drawing/2014/main" id="{73BFC1D0-EE7B-E04D-8255-6C212EF19379}"/>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54" name="TextBox 53">
                <a:extLst>
                  <a:ext uri="{FF2B5EF4-FFF2-40B4-BE49-F238E27FC236}">
                    <a16:creationId xmlns:a16="http://schemas.microsoft.com/office/drawing/2014/main" id="{AFBE415B-053E-814E-B121-87F6ADDFE554}"/>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55" name="TextBox 54">
                <a:extLst>
                  <a:ext uri="{FF2B5EF4-FFF2-40B4-BE49-F238E27FC236}">
                    <a16:creationId xmlns:a16="http://schemas.microsoft.com/office/drawing/2014/main" id="{41737B6D-EC46-E844-88B0-2E9EB831AD16}"/>
                  </a:ext>
                </a:extLst>
              </p:cNvPr>
              <p:cNvSpPr txBox="1"/>
              <p:nvPr userDrawn="1"/>
            </p:nvSpPr>
            <p:spPr>
              <a:xfrm>
                <a:off x="9419085" y="3095480"/>
                <a:ext cx="2374733"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63857761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Four Rankings">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6C7DBB08-85DE-1A46-BB43-C98D1EBB9768}"/>
              </a:ext>
            </a:extLst>
          </p:cNvPr>
          <p:cNvCxnSpPr>
            <a:cxnSpLocks/>
          </p:cNvCxnSpPr>
          <p:nvPr userDrawn="1"/>
        </p:nvCxnSpPr>
        <p:spPr>
          <a:xfrm>
            <a:off x="6096000" y="1233488"/>
            <a:ext cx="0" cy="4932362"/>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BDB01CD-2962-8340-88FB-839DBE47CB09}"/>
              </a:ext>
            </a:extLst>
          </p:cNvPr>
          <p:cNvCxnSpPr>
            <a:cxnSpLocks/>
          </p:cNvCxnSpPr>
          <p:nvPr userDrawn="1"/>
        </p:nvCxnSpPr>
        <p:spPr>
          <a:xfrm flipH="1">
            <a:off x="575735" y="3699669"/>
            <a:ext cx="11040532"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A6A8005-7996-1E40-9EA1-933A3B5C30FA}"/>
              </a:ext>
            </a:extLst>
          </p:cNvPr>
          <p:cNvSpPr/>
          <p:nvPr userDrawn="1"/>
        </p:nvSpPr>
        <p:spPr>
          <a:xfrm>
            <a:off x="5907753" y="3558484"/>
            <a:ext cx="376497" cy="282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Title 11">
            <a:extLst>
              <a:ext uri="{FF2B5EF4-FFF2-40B4-BE49-F238E27FC236}">
                <a16:creationId xmlns:a16="http://schemas.microsoft.com/office/drawing/2014/main" id="{90A94CCC-95A0-1A46-97DB-01C300149D6E}"/>
              </a:ext>
            </a:extLst>
          </p:cNvPr>
          <p:cNvSpPr>
            <a:spLocks noGrp="1"/>
          </p:cNvSpPr>
          <p:nvPr>
            <p:ph type="title" hasCustomPrompt="1"/>
          </p:nvPr>
        </p:nvSpPr>
        <p:spPr/>
        <p:txBody>
          <a:bodyPr/>
          <a:lstStyle/>
          <a:p>
            <a:r>
              <a:rPr lang="en-US" dirty="0"/>
              <a:t>CLICK TO ADD Slide TITLE. ALL CAPS. TWO LINES max.</a:t>
            </a:r>
          </a:p>
        </p:txBody>
      </p:sp>
      <p:sp>
        <p:nvSpPr>
          <p:cNvPr id="1000" name="Footnotes Placeholder">
            <a:extLst>
              <a:ext uri="{FF2B5EF4-FFF2-40B4-BE49-F238E27FC236}">
                <a16:creationId xmlns:a16="http://schemas.microsoft.com/office/drawing/2014/main" id="{91EC1F1B-FF90-E74E-B72A-B7A125D22585}"/>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grpSp>
        <p:nvGrpSpPr>
          <p:cNvPr id="19" name="Group 18">
            <a:extLst>
              <a:ext uri="{FF2B5EF4-FFF2-40B4-BE49-F238E27FC236}">
                <a16:creationId xmlns:a16="http://schemas.microsoft.com/office/drawing/2014/main" id="{B46CC54C-7B68-E241-9642-3F0AEBCE1D3E}"/>
              </a:ext>
            </a:extLst>
          </p:cNvPr>
          <p:cNvGrpSpPr/>
          <p:nvPr userDrawn="1"/>
        </p:nvGrpSpPr>
        <p:grpSpPr>
          <a:xfrm>
            <a:off x="12532243" y="-1"/>
            <a:ext cx="3832280" cy="6858001"/>
            <a:chOff x="9144000" y="-1"/>
            <a:chExt cx="2874210" cy="6858001"/>
          </a:xfrm>
        </p:grpSpPr>
        <p:sp>
          <p:nvSpPr>
            <p:cNvPr id="20" name="Rectangle 19">
              <a:extLst>
                <a:ext uri="{FF2B5EF4-FFF2-40B4-BE49-F238E27FC236}">
                  <a16:creationId xmlns:a16="http://schemas.microsoft.com/office/drawing/2014/main" id="{ACAF3989-9001-1D42-BFD2-B3EE44E569C1}"/>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grpSp>
          <p:nvGrpSpPr>
            <p:cNvPr id="21" name="Group 20">
              <a:extLst>
                <a:ext uri="{FF2B5EF4-FFF2-40B4-BE49-F238E27FC236}">
                  <a16:creationId xmlns:a16="http://schemas.microsoft.com/office/drawing/2014/main" id="{A3F2572A-15DB-CA44-97F0-4402CF54CD81}"/>
                </a:ext>
              </a:extLst>
            </p:cNvPr>
            <p:cNvGrpSpPr/>
            <p:nvPr userDrawn="1"/>
          </p:nvGrpSpPr>
          <p:grpSpPr>
            <a:xfrm>
              <a:off x="9263395" y="150289"/>
              <a:ext cx="2754815" cy="6013825"/>
              <a:chOff x="9266651" y="185338"/>
              <a:chExt cx="2754815" cy="6013825"/>
            </a:xfrm>
          </p:grpSpPr>
          <p:sp>
            <p:nvSpPr>
              <p:cNvPr id="22" name="TextBox 21">
                <a:extLst>
                  <a:ext uri="{FF2B5EF4-FFF2-40B4-BE49-F238E27FC236}">
                    <a16:creationId xmlns:a16="http://schemas.microsoft.com/office/drawing/2014/main" id="{A831107F-3B71-A246-94F0-2CE3B86E6490}"/>
                  </a:ext>
                </a:extLst>
              </p:cNvPr>
              <p:cNvSpPr txBox="1"/>
              <p:nvPr userDrawn="1"/>
            </p:nvSpPr>
            <p:spPr>
              <a:xfrm>
                <a:off x="9303325" y="185338"/>
                <a:ext cx="181179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 RANKING GRAPHIC</a:t>
                </a:r>
              </a:p>
            </p:txBody>
          </p:sp>
          <p:cxnSp>
            <p:nvCxnSpPr>
              <p:cNvPr id="26" name="Straight Connector 25">
                <a:extLst>
                  <a:ext uri="{FF2B5EF4-FFF2-40B4-BE49-F238E27FC236}">
                    <a16:creationId xmlns:a16="http://schemas.microsoft.com/office/drawing/2014/main" id="{9DCE2AC9-948B-6D42-B58B-27F86BD2882E}"/>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F9B6675-437C-2442-A0FD-A32F3ECBBE63}"/>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4" name="Group 43">
                <a:extLst>
                  <a:ext uri="{FF2B5EF4-FFF2-40B4-BE49-F238E27FC236}">
                    <a16:creationId xmlns:a16="http://schemas.microsoft.com/office/drawing/2014/main" id="{68EEA0A5-F3D7-6E42-8D40-78F80F4B8729}"/>
                  </a:ext>
                </a:extLst>
              </p:cNvPr>
              <p:cNvGrpSpPr/>
              <p:nvPr userDrawn="1"/>
            </p:nvGrpSpPr>
            <p:grpSpPr>
              <a:xfrm>
                <a:off x="9286315" y="4787848"/>
                <a:ext cx="2735151" cy="1411315"/>
                <a:chOff x="9296567" y="4910411"/>
                <a:chExt cx="2735151" cy="1411315"/>
              </a:xfrm>
            </p:grpSpPr>
            <p:sp>
              <p:nvSpPr>
                <p:cNvPr id="46" name="Rectangle 45">
                  <a:extLst>
                    <a:ext uri="{FF2B5EF4-FFF2-40B4-BE49-F238E27FC236}">
                      <a16:creationId xmlns:a16="http://schemas.microsoft.com/office/drawing/2014/main" id="{FFE7198E-18DB-3D4C-ACF1-59FA0D8A732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7" name="TextBox 46">
                  <a:extLst>
                    <a:ext uri="{FF2B5EF4-FFF2-40B4-BE49-F238E27FC236}">
                      <a16:creationId xmlns:a16="http://schemas.microsoft.com/office/drawing/2014/main" id="{21063239-8381-314C-B8AB-56546C63F8A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48" name="Graphic 47">
                  <a:extLst>
                    <a:ext uri="{FF2B5EF4-FFF2-40B4-BE49-F238E27FC236}">
                      <a16:creationId xmlns:a16="http://schemas.microsoft.com/office/drawing/2014/main" id="{59CE261D-316E-0443-9C75-851826E0F9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49" name="TextBox 48">
                  <a:extLst>
                    <a:ext uri="{FF2B5EF4-FFF2-40B4-BE49-F238E27FC236}">
                      <a16:creationId xmlns:a16="http://schemas.microsoft.com/office/drawing/2014/main" id="{687D252E-574D-6641-B186-9B6BF591E53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0" name="TextBox 49">
                  <a:extLst>
                    <a:ext uri="{FF2B5EF4-FFF2-40B4-BE49-F238E27FC236}">
                      <a16:creationId xmlns:a16="http://schemas.microsoft.com/office/drawing/2014/main" id="{7DEC1CC5-BF48-CE46-B863-0760ACFFC917}"/>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1" name="TextBox 50">
                  <a:extLst>
                    <a:ext uri="{FF2B5EF4-FFF2-40B4-BE49-F238E27FC236}">
                      <a16:creationId xmlns:a16="http://schemas.microsoft.com/office/drawing/2014/main" id="{3A57F9FD-D4F2-DA46-AD18-8A912DFB1910}"/>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29" name="Group 28">
                <a:extLst>
                  <a:ext uri="{FF2B5EF4-FFF2-40B4-BE49-F238E27FC236}">
                    <a16:creationId xmlns:a16="http://schemas.microsoft.com/office/drawing/2014/main" id="{AE16DB9C-E5B2-884A-9565-EEAF0C5CF9BF}"/>
                  </a:ext>
                </a:extLst>
              </p:cNvPr>
              <p:cNvGrpSpPr/>
              <p:nvPr userDrawn="1"/>
            </p:nvGrpSpPr>
            <p:grpSpPr>
              <a:xfrm>
                <a:off x="9286315" y="3431192"/>
                <a:ext cx="2735151" cy="1280928"/>
                <a:chOff x="9286315" y="6976989"/>
                <a:chExt cx="2735151" cy="1280928"/>
              </a:xfrm>
            </p:grpSpPr>
            <p:sp>
              <p:nvSpPr>
                <p:cNvPr id="39" name="Rectangle 38">
                  <a:extLst>
                    <a:ext uri="{FF2B5EF4-FFF2-40B4-BE49-F238E27FC236}">
                      <a16:creationId xmlns:a16="http://schemas.microsoft.com/office/drawing/2014/main" id="{25D76DD2-29C7-BD42-9BE9-1550F8B7BDF1}"/>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0" name="TextBox 39">
                  <a:extLst>
                    <a:ext uri="{FF2B5EF4-FFF2-40B4-BE49-F238E27FC236}">
                      <a16:creationId xmlns:a16="http://schemas.microsoft.com/office/drawing/2014/main" id="{E7045288-2B1C-4240-9A09-B89800D81B9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1" name="Graphic 40">
                  <a:extLst>
                    <a:ext uri="{FF2B5EF4-FFF2-40B4-BE49-F238E27FC236}">
                      <a16:creationId xmlns:a16="http://schemas.microsoft.com/office/drawing/2014/main" id="{9C95FF09-8F95-C741-80C5-9454ECCF66F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2" name="TextBox 41">
                  <a:extLst>
                    <a:ext uri="{FF2B5EF4-FFF2-40B4-BE49-F238E27FC236}">
                      <a16:creationId xmlns:a16="http://schemas.microsoft.com/office/drawing/2014/main" id="{C04D2D0F-4866-1448-921A-43934368B081}"/>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3" name="Picture 42">
                  <a:extLst>
                    <a:ext uri="{FF2B5EF4-FFF2-40B4-BE49-F238E27FC236}">
                      <a16:creationId xmlns:a16="http://schemas.microsoft.com/office/drawing/2014/main" id="{2DACD82A-9A31-2640-A95E-910937801137}"/>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1" name="Group 30">
                <a:extLst>
                  <a:ext uri="{FF2B5EF4-FFF2-40B4-BE49-F238E27FC236}">
                    <a16:creationId xmlns:a16="http://schemas.microsoft.com/office/drawing/2014/main" id="{143CC937-04D8-DE45-8D1A-A0DB7A99D293}"/>
                  </a:ext>
                </a:extLst>
              </p:cNvPr>
              <p:cNvGrpSpPr/>
              <p:nvPr userDrawn="1"/>
            </p:nvGrpSpPr>
            <p:grpSpPr>
              <a:xfrm>
                <a:off x="9266651" y="510458"/>
                <a:ext cx="2617883" cy="651460"/>
                <a:chOff x="12352022" y="513115"/>
                <a:chExt cx="2617883" cy="651460"/>
              </a:xfrm>
            </p:grpSpPr>
            <p:sp>
              <p:nvSpPr>
                <p:cNvPr id="36" name="TextBox 35">
                  <a:extLst>
                    <a:ext uri="{FF2B5EF4-FFF2-40B4-BE49-F238E27FC236}">
                      <a16:creationId xmlns:a16="http://schemas.microsoft.com/office/drawing/2014/main" id="{820E4047-347B-0646-A5C0-9C67844D04A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7" name="TextBox 36">
                  <a:extLst>
                    <a:ext uri="{FF2B5EF4-FFF2-40B4-BE49-F238E27FC236}">
                      <a16:creationId xmlns:a16="http://schemas.microsoft.com/office/drawing/2014/main" id="{141E9D61-4264-1F40-8A29-25D96762047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38" name="TextBox 37">
                  <a:extLst>
                    <a:ext uri="{FF2B5EF4-FFF2-40B4-BE49-F238E27FC236}">
                      <a16:creationId xmlns:a16="http://schemas.microsoft.com/office/drawing/2014/main" id="{D0A5D692-BC3D-524B-9835-3D96650DE31A}"/>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32" name="TextBox 31">
                <a:extLst>
                  <a:ext uri="{FF2B5EF4-FFF2-40B4-BE49-F238E27FC236}">
                    <a16:creationId xmlns:a16="http://schemas.microsoft.com/office/drawing/2014/main" id="{3C323880-D720-CB4D-BE01-DE5BBD7897E2}"/>
                  </a:ext>
                </a:extLst>
              </p:cNvPr>
              <p:cNvSpPr txBox="1"/>
              <p:nvPr userDrawn="1"/>
            </p:nvSpPr>
            <p:spPr>
              <a:xfrm>
                <a:off x="9419085" y="152957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3" name="TextBox 32">
                <a:extLst>
                  <a:ext uri="{FF2B5EF4-FFF2-40B4-BE49-F238E27FC236}">
                    <a16:creationId xmlns:a16="http://schemas.microsoft.com/office/drawing/2014/main" id="{9EF3C03E-D1A7-144E-BB81-4551B13F525D}"/>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4" name="TextBox 33">
                <a:extLst>
                  <a:ext uri="{FF2B5EF4-FFF2-40B4-BE49-F238E27FC236}">
                    <a16:creationId xmlns:a16="http://schemas.microsoft.com/office/drawing/2014/main" id="{E99FADFB-AEE1-B940-8414-BC0369A1F7EF}"/>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35" name="TextBox 34">
                <a:extLst>
                  <a:ext uri="{FF2B5EF4-FFF2-40B4-BE49-F238E27FC236}">
                    <a16:creationId xmlns:a16="http://schemas.microsoft.com/office/drawing/2014/main" id="{DE441ADD-F33A-BB4A-B90B-1DE478BAD320}"/>
                  </a:ext>
                </a:extLst>
              </p:cNvPr>
              <p:cNvSpPr txBox="1"/>
              <p:nvPr userDrawn="1"/>
            </p:nvSpPr>
            <p:spPr>
              <a:xfrm>
                <a:off x="9419085" y="3095480"/>
                <a:ext cx="2374733"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5" name="Date Placeholder 4">
            <a:extLst>
              <a:ext uri="{FF2B5EF4-FFF2-40B4-BE49-F238E27FC236}">
                <a16:creationId xmlns:a16="http://schemas.microsoft.com/office/drawing/2014/main" id="{57736864-A696-CE41-ABC2-ABC572DF6E7C}"/>
              </a:ext>
            </a:extLst>
          </p:cNvPr>
          <p:cNvSpPr>
            <a:spLocks noGrp="1"/>
          </p:cNvSpPr>
          <p:nvPr>
            <p:ph type="dt" sz="half" idx="104"/>
          </p:nvPr>
        </p:nvSpPr>
        <p:spPr/>
        <p:txBody>
          <a:bodyPr/>
          <a:lstStyle/>
          <a:p>
            <a:endParaRPr lang="en-US" dirty="0"/>
          </a:p>
        </p:txBody>
      </p:sp>
      <p:sp>
        <p:nvSpPr>
          <p:cNvPr id="6" name="Footer Placeholder 5">
            <a:extLst>
              <a:ext uri="{FF2B5EF4-FFF2-40B4-BE49-F238E27FC236}">
                <a16:creationId xmlns:a16="http://schemas.microsoft.com/office/drawing/2014/main" id="{32336FBA-2F01-B14F-8747-8F105CF5439F}"/>
              </a:ext>
            </a:extLst>
          </p:cNvPr>
          <p:cNvSpPr>
            <a:spLocks noGrp="1"/>
          </p:cNvSpPr>
          <p:nvPr>
            <p:ph type="ftr" sz="quarter" idx="105"/>
          </p:nvPr>
        </p:nvSpPr>
        <p:spPr/>
        <p:txBody>
          <a:bodyPr/>
          <a:lstStyle/>
          <a:p>
            <a:endParaRPr lang="en-US" dirty="0"/>
          </a:p>
        </p:txBody>
      </p:sp>
      <p:sp>
        <p:nvSpPr>
          <p:cNvPr id="7" name="Slide Number Placeholder 6">
            <a:extLst>
              <a:ext uri="{FF2B5EF4-FFF2-40B4-BE49-F238E27FC236}">
                <a16:creationId xmlns:a16="http://schemas.microsoft.com/office/drawing/2014/main" id="{C712BF78-99E1-2F48-8801-14B42F731A25}"/>
              </a:ext>
            </a:extLst>
          </p:cNvPr>
          <p:cNvSpPr>
            <a:spLocks noGrp="1"/>
          </p:cNvSpPr>
          <p:nvPr>
            <p:ph type="sldNum" sz="quarter" idx="106"/>
          </p:nvPr>
        </p:nvSpPr>
        <p:spPr/>
        <p:txBody>
          <a:bodyPr/>
          <a:lstStyle/>
          <a:p>
            <a:pPr marL="12700"/>
            <a:fld id="{078C017C-E1B9-8443-B047-B08AAA027B45}" type="slidenum">
              <a:rPr lang="en-US" smtClean="0"/>
              <a:pPr marL="12700"/>
              <a:t>‹#›</a:t>
            </a:fld>
            <a:endParaRPr lang="en-US" dirty="0"/>
          </a:p>
        </p:txBody>
      </p:sp>
      <p:sp>
        <p:nvSpPr>
          <p:cNvPr id="60" name="Picture Placeholder 59">
            <a:extLst>
              <a:ext uri="{FF2B5EF4-FFF2-40B4-BE49-F238E27FC236}">
                <a16:creationId xmlns:a16="http://schemas.microsoft.com/office/drawing/2014/main" id="{1B8EE01B-6230-DE4D-94BD-23EB640CF275}"/>
              </a:ext>
            </a:extLst>
          </p:cNvPr>
          <p:cNvSpPr>
            <a:spLocks noGrp="1"/>
          </p:cNvSpPr>
          <p:nvPr>
            <p:ph type="pic" sz="quarter" idx="13" hasCustomPrompt="1"/>
          </p:nvPr>
        </p:nvSpPr>
        <p:spPr>
          <a:xfrm>
            <a:off x="575710" y="939471"/>
            <a:ext cx="4908388" cy="2760199"/>
          </a:xfrm>
          <a:custGeom>
            <a:avLst/>
            <a:gdLst>
              <a:gd name="connsiteX0" fmla="*/ 0 w 3681291"/>
              <a:gd name="connsiteY0" fmla="*/ 2756057 h 2760199"/>
              <a:gd name="connsiteX1" fmla="*/ 4143 w 3681291"/>
              <a:gd name="connsiteY1" fmla="*/ 2756057 h 2760199"/>
              <a:gd name="connsiteX2" fmla="*/ 4143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3 w 3681291"/>
              <a:gd name="connsiteY9" fmla="*/ 0 h 2760199"/>
              <a:gd name="connsiteX10" fmla="*/ 4143 w 3681291"/>
              <a:gd name="connsiteY10" fmla="*/ 4143 h 2760199"/>
              <a:gd name="connsiteX11" fmla="*/ 0 w 3681291"/>
              <a:gd name="connsiteY11" fmla="*/ 4143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3" y="2756057"/>
                </a:lnTo>
                <a:lnTo>
                  <a:pt x="4143" y="2760199"/>
                </a:lnTo>
                <a:lnTo>
                  <a:pt x="0" y="2760199"/>
                </a:lnTo>
                <a:close/>
                <a:moveTo>
                  <a:pt x="0" y="440325"/>
                </a:moveTo>
                <a:lnTo>
                  <a:pt x="3681291" y="440325"/>
                </a:lnTo>
                <a:lnTo>
                  <a:pt x="3681291" y="2478925"/>
                </a:lnTo>
                <a:lnTo>
                  <a:pt x="0" y="2478925"/>
                </a:lnTo>
                <a:close/>
                <a:moveTo>
                  <a:pt x="0" y="0"/>
                </a:moveTo>
                <a:lnTo>
                  <a:pt x="4143" y="0"/>
                </a:lnTo>
                <a:lnTo>
                  <a:pt x="4143" y="4143"/>
                </a:lnTo>
                <a:lnTo>
                  <a:pt x="0" y="4143"/>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
        <p:nvSpPr>
          <p:cNvPr id="61" name="Picture Placeholder 60">
            <a:extLst>
              <a:ext uri="{FF2B5EF4-FFF2-40B4-BE49-F238E27FC236}">
                <a16:creationId xmlns:a16="http://schemas.microsoft.com/office/drawing/2014/main" id="{BF1E3154-23CD-9D4A-9429-B3D20217993C}"/>
              </a:ext>
            </a:extLst>
          </p:cNvPr>
          <p:cNvSpPr>
            <a:spLocks noGrp="1"/>
          </p:cNvSpPr>
          <p:nvPr>
            <p:ph type="pic" sz="quarter" idx="102" hasCustomPrompt="1"/>
          </p:nvPr>
        </p:nvSpPr>
        <p:spPr>
          <a:xfrm>
            <a:off x="6277833" y="939471"/>
            <a:ext cx="4908388" cy="2760199"/>
          </a:xfrm>
          <a:custGeom>
            <a:avLst/>
            <a:gdLst>
              <a:gd name="connsiteX0" fmla="*/ 0 w 3681291"/>
              <a:gd name="connsiteY0" fmla="*/ 2756057 h 2760199"/>
              <a:gd name="connsiteX1" fmla="*/ 4142 w 3681291"/>
              <a:gd name="connsiteY1" fmla="*/ 2756057 h 2760199"/>
              <a:gd name="connsiteX2" fmla="*/ 4142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2 w 3681291"/>
              <a:gd name="connsiteY9" fmla="*/ 0 h 2760199"/>
              <a:gd name="connsiteX10" fmla="*/ 4142 w 3681291"/>
              <a:gd name="connsiteY10" fmla="*/ 4143 h 2760199"/>
              <a:gd name="connsiteX11" fmla="*/ 0 w 3681291"/>
              <a:gd name="connsiteY11" fmla="*/ 4143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2" y="2756057"/>
                </a:lnTo>
                <a:lnTo>
                  <a:pt x="4142" y="2760199"/>
                </a:lnTo>
                <a:lnTo>
                  <a:pt x="0" y="2760199"/>
                </a:lnTo>
                <a:close/>
                <a:moveTo>
                  <a:pt x="0" y="440325"/>
                </a:moveTo>
                <a:lnTo>
                  <a:pt x="3681291" y="440325"/>
                </a:lnTo>
                <a:lnTo>
                  <a:pt x="3681291" y="2478925"/>
                </a:lnTo>
                <a:lnTo>
                  <a:pt x="0" y="2478925"/>
                </a:lnTo>
                <a:close/>
                <a:moveTo>
                  <a:pt x="0" y="0"/>
                </a:moveTo>
                <a:lnTo>
                  <a:pt x="4142" y="0"/>
                </a:lnTo>
                <a:lnTo>
                  <a:pt x="4142" y="4143"/>
                </a:lnTo>
                <a:lnTo>
                  <a:pt x="0" y="4143"/>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
        <p:nvSpPr>
          <p:cNvPr id="62" name="Picture Placeholder 61">
            <a:extLst>
              <a:ext uri="{FF2B5EF4-FFF2-40B4-BE49-F238E27FC236}">
                <a16:creationId xmlns:a16="http://schemas.microsoft.com/office/drawing/2014/main" id="{FF6A229A-95CC-4546-92E9-8BEC486139C2}"/>
              </a:ext>
            </a:extLst>
          </p:cNvPr>
          <p:cNvSpPr>
            <a:spLocks noGrp="1"/>
          </p:cNvSpPr>
          <p:nvPr>
            <p:ph type="pic" sz="quarter" idx="101" hasCustomPrompt="1"/>
          </p:nvPr>
        </p:nvSpPr>
        <p:spPr>
          <a:xfrm>
            <a:off x="575710" y="3403916"/>
            <a:ext cx="4908388" cy="2760199"/>
          </a:xfrm>
          <a:custGeom>
            <a:avLst/>
            <a:gdLst>
              <a:gd name="connsiteX0" fmla="*/ 0 w 3681291"/>
              <a:gd name="connsiteY0" fmla="*/ 2756057 h 2760199"/>
              <a:gd name="connsiteX1" fmla="*/ 4143 w 3681291"/>
              <a:gd name="connsiteY1" fmla="*/ 2756057 h 2760199"/>
              <a:gd name="connsiteX2" fmla="*/ 4143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3 w 3681291"/>
              <a:gd name="connsiteY9" fmla="*/ 0 h 2760199"/>
              <a:gd name="connsiteX10" fmla="*/ 4143 w 3681291"/>
              <a:gd name="connsiteY10" fmla="*/ 4142 h 2760199"/>
              <a:gd name="connsiteX11" fmla="*/ 0 w 3681291"/>
              <a:gd name="connsiteY11" fmla="*/ 4142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3" y="2756057"/>
                </a:lnTo>
                <a:lnTo>
                  <a:pt x="4143" y="2760199"/>
                </a:lnTo>
                <a:lnTo>
                  <a:pt x="0" y="2760199"/>
                </a:lnTo>
                <a:close/>
                <a:moveTo>
                  <a:pt x="0" y="440325"/>
                </a:moveTo>
                <a:lnTo>
                  <a:pt x="3681291" y="440325"/>
                </a:lnTo>
                <a:lnTo>
                  <a:pt x="3681291" y="2478925"/>
                </a:lnTo>
                <a:lnTo>
                  <a:pt x="0" y="2478925"/>
                </a:lnTo>
                <a:close/>
                <a:moveTo>
                  <a:pt x="0" y="0"/>
                </a:moveTo>
                <a:lnTo>
                  <a:pt x="4143" y="0"/>
                </a:lnTo>
                <a:lnTo>
                  <a:pt x="4143" y="4142"/>
                </a:lnTo>
                <a:lnTo>
                  <a:pt x="0" y="4142"/>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
        <p:nvSpPr>
          <p:cNvPr id="63" name="Picture Placeholder 62">
            <a:extLst>
              <a:ext uri="{FF2B5EF4-FFF2-40B4-BE49-F238E27FC236}">
                <a16:creationId xmlns:a16="http://schemas.microsoft.com/office/drawing/2014/main" id="{E1B6409D-D1DD-2941-8A39-63C9D178D519}"/>
              </a:ext>
            </a:extLst>
          </p:cNvPr>
          <p:cNvSpPr>
            <a:spLocks noGrp="1"/>
          </p:cNvSpPr>
          <p:nvPr>
            <p:ph type="pic" sz="quarter" idx="103" hasCustomPrompt="1"/>
          </p:nvPr>
        </p:nvSpPr>
        <p:spPr>
          <a:xfrm>
            <a:off x="6277833" y="3403916"/>
            <a:ext cx="4908388" cy="2760199"/>
          </a:xfrm>
          <a:custGeom>
            <a:avLst/>
            <a:gdLst>
              <a:gd name="connsiteX0" fmla="*/ 0 w 3681291"/>
              <a:gd name="connsiteY0" fmla="*/ 2756057 h 2760199"/>
              <a:gd name="connsiteX1" fmla="*/ 4142 w 3681291"/>
              <a:gd name="connsiteY1" fmla="*/ 2756057 h 2760199"/>
              <a:gd name="connsiteX2" fmla="*/ 4142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2 w 3681291"/>
              <a:gd name="connsiteY9" fmla="*/ 0 h 2760199"/>
              <a:gd name="connsiteX10" fmla="*/ 4142 w 3681291"/>
              <a:gd name="connsiteY10" fmla="*/ 4142 h 2760199"/>
              <a:gd name="connsiteX11" fmla="*/ 0 w 3681291"/>
              <a:gd name="connsiteY11" fmla="*/ 4142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2" y="2756057"/>
                </a:lnTo>
                <a:lnTo>
                  <a:pt x="4142" y="2760199"/>
                </a:lnTo>
                <a:lnTo>
                  <a:pt x="0" y="2760199"/>
                </a:lnTo>
                <a:close/>
                <a:moveTo>
                  <a:pt x="0" y="440325"/>
                </a:moveTo>
                <a:lnTo>
                  <a:pt x="3681291" y="440325"/>
                </a:lnTo>
                <a:lnTo>
                  <a:pt x="3681291" y="2478925"/>
                </a:lnTo>
                <a:lnTo>
                  <a:pt x="0" y="2478925"/>
                </a:lnTo>
                <a:close/>
                <a:moveTo>
                  <a:pt x="0" y="0"/>
                </a:moveTo>
                <a:lnTo>
                  <a:pt x="4142" y="0"/>
                </a:lnTo>
                <a:lnTo>
                  <a:pt x="4142" y="4142"/>
                </a:lnTo>
                <a:lnTo>
                  <a:pt x="0" y="4142"/>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Tree>
    <p:extLst>
      <p:ext uri="{BB962C8B-B14F-4D97-AF65-F5344CB8AC3E}">
        <p14:creationId xmlns:p14="http://schemas.microsoft.com/office/powerpoint/2010/main" val="262292611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ext w/ Supporting Graphic (Righ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1" name="Picture Placeholder 7">
            <a:extLst>
              <a:ext uri="{FF2B5EF4-FFF2-40B4-BE49-F238E27FC236}">
                <a16:creationId xmlns:a16="http://schemas.microsoft.com/office/drawing/2014/main" id="{986F40DB-9C90-0445-8B56-2AB71F390752}"/>
              </a:ext>
            </a:extLst>
          </p:cNvPr>
          <p:cNvSpPr>
            <a:spLocks noGrp="1"/>
          </p:cNvSpPr>
          <p:nvPr>
            <p:ph type="pic" sz="quarter" idx="14" hasCustomPrompt="1"/>
          </p:nvPr>
        </p:nvSpPr>
        <p:spPr>
          <a:xfrm>
            <a:off x="6271363" y="3159427"/>
            <a:ext cx="5344904" cy="3006424"/>
          </a:xfrm>
          <a:solidFill>
            <a:srgbClr val="E8F3FD"/>
          </a:solidFill>
        </p:spPr>
        <p:txBody>
          <a:bodyPr anchor="ctr"/>
          <a:lstStyle>
            <a:lvl1pPr algn="ctr">
              <a:defRPr b="0">
                <a:solidFill>
                  <a:schemeClr val="tx1">
                    <a:lumMod val="50000"/>
                    <a:lumOff val="50000"/>
                  </a:schemeClr>
                </a:solidFill>
              </a:defRPr>
            </a:lvl1pPr>
          </a:lstStyle>
          <a:p>
            <a:r>
              <a:rPr lang="en-US" dirty="0"/>
              <a:t>Click icon to add a supporting</a:t>
            </a:r>
            <a:br>
              <a:rPr lang="en-US" dirty="0"/>
            </a:br>
            <a:r>
              <a:rPr lang="en-US" dirty="0"/>
              <a:t>graphic from the MRD</a:t>
            </a:r>
          </a:p>
        </p:txBody>
      </p:sp>
      <p:sp>
        <p:nvSpPr>
          <p:cNvPr id="1000" name="Footnotes Placeholder">
            <a:extLst>
              <a:ext uri="{FF2B5EF4-FFF2-40B4-BE49-F238E27FC236}">
                <a16:creationId xmlns:a16="http://schemas.microsoft.com/office/drawing/2014/main" id="{C191A018-C105-424B-88DC-E4B2664039C3}"/>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8" name="Date Placeholder 7">
            <a:extLst>
              <a:ext uri="{FF2B5EF4-FFF2-40B4-BE49-F238E27FC236}">
                <a16:creationId xmlns:a16="http://schemas.microsoft.com/office/drawing/2014/main" id="{2E70A2B7-CE2A-ED43-A309-9210649F358A}"/>
              </a:ext>
            </a:extLst>
          </p:cNvPr>
          <p:cNvSpPr>
            <a:spLocks noGrp="1"/>
          </p:cNvSpPr>
          <p:nvPr userDrawn="1">
            <p:ph type="dt" sz="half" idx="106"/>
          </p:nvPr>
        </p:nvSpPr>
        <p:spPr/>
        <p:txBody>
          <a:bodyPr/>
          <a:lstStyle/>
          <a:p>
            <a:endParaRPr lang="en-US" dirty="0"/>
          </a:p>
        </p:txBody>
      </p:sp>
      <p:sp>
        <p:nvSpPr>
          <p:cNvPr id="12" name="Footer Placeholder 11">
            <a:extLst>
              <a:ext uri="{FF2B5EF4-FFF2-40B4-BE49-F238E27FC236}">
                <a16:creationId xmlns:a16="http://schemas.microsoft.com/office/drawing/2014/main" id="{CD578981-DF62-9545-86D9-D47CA9B9AE76}"/>
              </a:ext>
            </a:extLst>
          </p:cNvPr>
          <p:cNvSpPr>
            <a:spLocks noGrp="1"/>
          </p:cNvSpPr>
          <p:nvPr userDrawn="1">
            <p:ph type="ftr" sz="quarter" idx="107"/>
          </p:nvPr>
        </p:nvSpPr>
        <p:spPr/>
        <p:txBody>
          <a:bodyPr/>
          <a:lstStyle/>
          <a:p>
            <a:endParaRPr lang="en-US" dirty="0"/>
          </a:p>
        </p:txBody>
      </p:sp>
      <p:sp>
        <p:nvSpPr>
          <p:cNvPr id="35" name="Slide Number Placeholder 34">
            <a:extLst>
              <a:ext uri="{FF2B5EF4-FFF2-40B4-BE49-F238E27FC236}">
                <a16:creationId xmlns:a16="http://schemas.microsoft.com/office/drawing/2014/main" id="{375449F1-602A-F648-BB75-81B7431F974E}"/>
              </a:ext>
            </a:extLst>
          </p:cNvPr>
          <p:cNvSpPr>
            <a:spLocks noGrp="1"/>
          </p:cNvSpPr>
          <p:nvPr userDrawn="1">
            <p:ph type="sldNum" sz="quarter" idx="108"/>
          </p:nvPr>
        </p:nvSpPr>
        <p:spPr/>
        <p:txBody>
          <a:bodyPr/>
          <a:lstStyle/>
          <a:p>
            <a:pPr marL="12700"/>
            <a:fld id="{078C017C-E1B9-8443-B047-B08AAA027B45}" type="slidenum">
              <a:rPr lang="en-US" smtClean="0"/>
              <a:pPr marL="12700"/>
              <a:t>‹#›</a:t>
            </a:fld>
            <a:endParaRPr lang="en-US" dirty="0"/>
          </a:p>
        </p:txBody>
      </p:sp>
      <p:sp>
        <p:nvSpPr>
          <p:cNvPr id="52" name="Text Placeholder 51">
            <a:extLst>
              <a:ext uri="{FF2B5EF4-FFF2-40B4-BE49-F238E27FC236}">
                <a16:creationId xmlns:a16="http://schemas.microsoft.com/office/drawing/2014/main" id="{32E619A7-2AA9-834A-95F7-C8972C8CA24E}"/>
              </a:ext>
            </a:extLst>
          </p:cNvPr>
          <p:cNvSpPr>
            <a:spLocks noGrp="1"/>
          </p:cNvSpPr>
          <p:nvPr>
            <p:ph type="body" sz="quarter" idx="109"/>
          </p:nvPr>
        </p:nvSpPr>
        <p:spPr>
          <a:xfrm>
            <a:off x="575733" y="1233489"/>
            <a:ext cx="5347200"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3" name="Text Placeholder 51">
            <a:extLst>
              <a:ext uri="{FF2B5EF4-FFF2-40B4-BE49-F238E27FC236}">
                <a16:creationId xmlns:a16="http://schemas.microsoft.com/office/drawing/2014/main" id="{B3C16F4A-5C29-7D42-B44A-AE0870C22033}"/>
              </a:ext>
            </a:extLst>
          </p:cNvPr>
          <p:cNvSpPr>
            <a:spLocks noGrp="1"/>
          </p:cNvSpPr>
          <p:nvPr>
            <p:ph type="body" sz="quarter" idx="110"/>
          </p:nvPr>
        </p:nvSpPr>
        <p:spPr>
          <a:xfrm>
            <a:off x="6269067" y="1233489"/>
            <a:ext cx="5347200" cy="17319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1" name="Group 50">
            <a:extLst>
              <a:ext uri="{FF2B5EF4-FFF2-40B4-BE49-F238E27FC236}">
                <a16:creationId xmlns:a16="http://schemas.microsoft.com/office/drawing/2014/main" id="{439DA4F8-9BFA-1543-833F-C395E53F03C5}"/>
              </a:ext>
            </a:extLst>
          </p:cNvPr>
          <p:cNvGrpSpPr/>
          <p:nvPr userDrawn="1"/>
        </p:nvGrpSpPr>
        <p:grpSpPr>
          <a:xfrm>
            <a:off x="12532243" y="-2"/>
            <a:ext cx="3965960" cy="9769405"/>
            <a:chOff x="9399182" y="-2"/>
            <a:chExt cx="2974470" cy="9769405"/>
          </a:xfrm>
        </p:grpSpPr>
        <p:sp>
          <p:nvSpPr>
            <p:cNvPr id="54" name="Rectangle 53">
              <a:extLst>
                <a:ext uri="{FF2B5EF4-FFF2-40B4-BE49-F238E27FC236}">
                  <a16:creationId xmlns:a16="http://schemas.microsoft.com/office/drawing/2014/main" id="{6B93FAD8-1ABE-8A4B-99DB-5688A1F2FCF4}"/>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55" name="Picture 54">
              <a:extLst>
                <a:ext uri="{FF2B5EF4-FFF2-40B4-BE49-F238E27FC236}">
                  <a16:creationId xmlns:a16="http://schemas.microsoft.com/office/drawing/2014/main" id="{9A844FD7-28C9-684C-8754-5CC8523344A8}"/>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6" name="Group 55">
              <a:extLst>
                <a:ext uri="{FF2B5EF4-FFF2-40B4-BE49-F238E27FC236}">
                  <a16:creationId xmlns:a16="http://schemas.microsoft.com/office/drawing/2014/main" id="{755AFA76-AD18-3D47-851A-F91F6F1DD6C4}"/>
                </a:ext>
              </a:extLst>
            </p:cNvPr>
            <p:cNvGrpSpPr/>
            <p:nvPr userDrawn="1"/>
          </p:nvGrpSpPr>
          <p:grpSpPr>
            <a:xfrm>
              <a:off x="9541497" y="162442"/>
              <a:ext cx="2819400" cy="814510"/>
              <a:chOff x="-3644733" y="165205"/>
              <a:chExt cx="2819400" cy="814510"/>
            </a:xfrm>
          </p:grpSpPr>
          <p:sp>
            <p:nvSpPr>
              <p:cNvPr id="123" name="Rectangle 122">
                <a:extLst>
                  <a:ext uri="{FF2B5EF4-FFF2-40B4-BE49-F238E27FC236}">
                    <a16:creationId xmlns:a16="http://schemas.microsoft.com/office/drawing/2014/main" id="{C097B3FB-898A-AC42-B3E4-F5A08355AA01}"/>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4" name="TextBox 123">
                <a:extLst>
                  <a:ext uri="{FF2B5EF4-FFF2-40B4-BE49-F238E27FC236}">
                    <a16:creationId xmlns:a16="http://schemas.microsoft.com/office/drawing/2014/main" id="{B57B4B0D-B8A6-3741-B898-3B5B9621F809}"/>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25" name="Picture 124">
                <a:extLst>
                  <a:ext uri="{FF2B5EF4-FFF2-40B4-BE49-F238E27FC236}">
                    <a16:creationId xmlns:a16="http://schemas.microsoft.com/office/drawing/2014/main" id="{E334168C-A1EA-0045-904E-AD3D885667B5}"/>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57" name="Group 56">
              <a:extLst>
                <a:ext uri="{FF2B5EF4-FFF2-40B4-BE49-F238E27FC236}">
                  <a16:creationId xmlns:a16="http://schemas.microsoft.com/office/drawing/2014/main" id="{6AC4EB5C-A373-3142-A895-73AFE767A8C7}"/>
                </a:ext>
              </a:extLst>
            </p:cNvPr>
            <p:cNvGrpSpPr/>
            <p:nvPr userDrawn="1"/>
          </p:nvGrpSpPr>
          <p:grpSpPr>
            <a:xfrm>
              <a:off x="9521833" y="3755578"/>
              <a:ext cx="2754815" cy="6013825"/>
              <a:chOff x="9521833" y="2566288"/>
              <a:chExt cx="2754815" cy="6013825"/>
            </a:xfrm>
          </p:grpSpPr>
          <p:sp>
            <p:nvSpPr>
              <p:cNvPr id="68" name="TextBox 67">
                <a:extLst>
                  <a:ext uri="{FF2B5EF4-FFF2-40B4-BE49-F238E27FC236}">
                    <a16:creationId xmlns:a16="http://schemas.microsoft.com/office/drawing/2014/main" id="{CEA72FE0-5163-5647-91EF-188D43828BD3}"/>
                  </a:ext>
                </a:extLst>
              </p:cNvPr>
              <p:cNvSpPr txBox="1"/>
              <p:nvPr userDrawn="1"/>
            </p:nvSpPr>
            <p:spPr>
              <a:xfrm>
                <a:off x="9558507" y="256628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69" name="Straight Connector 68">
                <a:extLst>
                  <a:ext uri="{FF2B5EF4-FFF2-40B4-BE49-F238E27FC236}">
                    <a16:creationId xmlns:a16="http://schemas.microsoft.com/office/drawing/2014/main" id="{23870F40-EB02-D74F-9098-6F2F12C985CB}"/>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8AE3F8FE-C399-5943-9055-76BEAA6F1E25}"/>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1" name="Group 70">
                <a:extLst>
                  <a:ext uri="{FF2B5EF4-FFF2-40B4-BE49-F238E27FC236}">
                    <a16:creationId xmlns:a16="http://schemas.microsoft.com/office/drawing/2014/main" id="{4F7E5367-61BA-0844-A18D-6E243A611B23}"/>
                  </a:ext>
                </a:extLst>
              </p:cNvPr>
              <p:cNvGrpSpPr/>
              <p:nvPr userDrawn="1"/>
            </p:nvGrpSpPr>
            <p:grpSpPr>
              <a:xfrm>
                <a:off x="9541497" y="7168798"/>
                <a:ext cx="2735151" cy="1411315"/>
                <a:chOff x="9296567" y="4910411"/>
                <a:chExt cx="2735151" cy="1411315"/>
              </a:xfrm>
            </p:grpSpPr>
            <p:sp>
              <p:nvSpPr>
                <p:cNvPr id="86" name="Rectangle 85">
                  <a:extLst>
                    <a:ext uri="{FF2B5EF4-FFF2-40B4-BE49-F238E27FC236}">
                      <a16:creationId xmlns:a16="http://schemas.microsoft.com/office/drawing/2014/main" id="{B7AB5EF7-7C57-6842-8895-9E22B85B7ACE}"/>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8" name="TextBox 117">
                  <a:extLst>
                    <a:ext uri="{FF2B5EF4-FFF2-40B4-BE49-F238E27FC236}">
                      <a16:creationId xmlns:a16="http://schemas.microsoft.com/office/drawing/2014/main" id="{73AAC846-7BFB-DA44-8D2C-ECB3087FB0D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19" name="Graphic 118">
                  <a:extLst>
                    <a:ext uri="{FF2B5EF4-FFF2-40B4-BE49-F238E27FC236}">
                      <a16:creationId xmlns:a16="http://schemas.microsoft.com/office/drawing/2014/main" id="{3D419284-D2BF-524C-9A3C-343AEBFCB80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20" name="TextBox 119">
                  <a:extLst>
                    <a:ext uri="{FF2B5EF4-FFF2-40B4-BE49-F238E27FC236}">
                      <a16:creationId xmlns:a16="http://schemas.microsoft.com/office/drawing/2014/main" id="{ACB24C4B-2C93-3D41-91B0-90484A6DE11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21" name="TextBox 120">
                  <a:extLst>
                    <a:ext uri="{FF2B5EF4-FFF2-40B4-BE49-F238E27FC236}">
                      <a16:creationId xmlns:a16="http://schemas.microsoft.com/office/drawing/2014/main" id="{6DC0F23D-3334-F945-BE8F-138CCFB269C5}"/>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22" name="TextBox 121">
                  <a:extLst>
                    <a:ext uri="{FF2B5EF4-FFF2-40B4-BE49-F238E27FC236}">
                      <a16:creationId xmlns:a16="http://schemas.microsoft.com/office/drawing/2014/main" id="{DF879D9E-3B5F-5346-BC23-2A7421B948CB}"/>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2" name="Group 71">
                <a:extLst>
                  <a:ext uri="{FF2B5EF4-FFF2-40B4-BE49-F238E27FC236}">
                    <a16:creationId xmlns:a16="http://schemas.microsoft.com/office/drawing/2014/main" id="{806D7B6A-4525-CB4E-BEDE-27DFFFC9F273}"/>
                  </a:ext>
                </a:extLst>
              </p:cNvPr>
              <p:cNvGrpSpPr/>
              <p:nvPr userDrawn="1"/>
            </p:nvGrpSpPr>
            <p:grpSpPr>
              <a:xfrm>
                <a:off x="9541497" y="5812142"/>
                <a:ext cx="2735151" cy="1280928"/>
                <a:chOff x="9286315" y="6976989"/>
                <a:chExt cx="2735151" cy="1280928"/>
              </a:xfrm>
            </p:grpSpPr>
            <p:sp>
              <p:nvSpPr>
                <p:cNvPr id="81" name="Rectangle 80">
                  <a:extLst>
                    <a:ext uri="{FF2B5EF4-FFF2-40B4-BE49-F238E27FC236}">
                      <a16:creationId xmlns:a16="http://schemas.microsoft.com/office/drawing/2014/main" id="{3112B5BF-3EA7-EA4E-9AAA-8D3A2CCACF6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2" name="TextBox 81">
                  <a:extLst>
                    <a:ext uri="{FF2B5EF4-FFF2-40B4-BE49-F238E27FC236}">
                      <a16:creationId xmlns:a16="http://schemas.microsoft.com/office/drawing/2014/main" id="{86F17A0C-8BDE-2B4F-8AFF-BF237CA89922}"/>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3" name="Graphic 82">
                  <a:extLst>
                    <a:ext uri="{FF2B5EF4-FFF2-40B4-BE49-F238E27FC236}">
                      <a16:creationId xmlns:a16="http://schemas.microsoft.com/office/drawing/2014/main" id="{E28C0A14-C0E0-DB4A-8A0E-0D823458A51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4" name="TextBox 83">
                  <a:extLst>
                    <a:ext uri="{FF2B5EF4-FFF2-40B4-BE49-F238E27FC236}">
                      <a16:creationId xmlns:a16="http://schemas.microsoft.com/office/drawing/2014/main" id="{4FEAEE44-7C52-1F4B-A920-A8BD040EFC7B}"/>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5" name="Picture 84">
                  <a:extLst>
                    <a:ext uri="{FF2B5EF4-FFF2-40B4-BE49-F238E27FC236}">
                      <a16:creationId xmlns:a16="http://schemas.microsoft.com/office/drawing/2014/main" id="{61D39635-4EFC-EB4F-A621-556285D7CB3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3" name="Group 72">
                <a:extLst>
                  <a:ext uri="{FF2B5EF4-FFF2-40B4-BE49-F238E27FC236}">
                    <a16:creationId xmlns:a16="http://schemas.microsoft.com/office/drawing/2014/main" id="{CCE30F03-6ECE-1648-965A-6C4E47AAC40C}"/>
                  </a:ext>
                </a:extLst>
              </p:cNvPr>
              <p:cNvGrpSpPr/>
              <p:nvPr userDrawn="1"/>
            </p:nvGrpSpPr>
            <p:grpSpPr>
              <a:xfrm>
                <a:off x="9521833" y="2891408"/>
                <a:ext cx="2617883" cy="651460"/>
                <a:chOff x="12352022" y="513115"/>
                <a:chExt cx="2617883" cy="651460"/>
              </a:xfrm>
            </p:grpSpPr>
            <p:sp>
              <p:nvSpPr>
                <p:cNvPr id="78" name="TextBox 77">
                  <a:extLst>
                    <a:ext uri="{FF2B5EF4-FFF2-40B4-BE49-F238E27FC236}">
                      <a16:creationId xmlns:a16="http://schemas.microsoft.com/office/drawing/2014/main" id="{1BFE1CF6-1371-7949-8C81-E85AE3364C6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9" name="TextBox 78">
                  <a:extLst>
                    <a:ext uri="{FF2B5EF4-FFF2-40B4-BE49-F238E27FC236}">
                      <a16:creationId xmlns:a16="http://schemas.microsoft.com/office/drawing/2014/main" id="{E7065FCA-7D52-954D-951B-AFFF617AC36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0" name="TextBox 79">
                  <a:extLst>
                    <a:ext uri="{FF2B5EF4-FFF2-40B4-BE49-F238E27FC236}">
                      <a16:creationId xmlns:a16="http://schemas.microsoft.com/office/drawing/2014/main" id="{9F81720C-5B88-6747-92DE-B4CC8D593A59}"/>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74" name="TextBox 73">
                <a:extLst>
                  <a:ext uri="{FF2B5EF4-FFF2-40B4-BE49-F238E27FC236}">
                    <a16:creationId xmlns:a16="http://schemas.microsoft.com/office/drawing/2014/main" id="{C66E677C-F59F-234E-94B8-5E68549A3A91}"/>
                  </a:ext>
                </a:extLst>
              </p:cNvPr>
              <p:cNvSpPr txBox="1"/>
              <p:nvPr userDrawn="1"/>
            </p:nvSpPr>
            <p:spPr>
              <a:xfrm>
                <a:off x="9674267" y="391052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5" name="TextBox 74">
                <a:extLst>
                  <a:ext uri="{FF2B5EF4-FFF2-40B4-BE49-F238E27FC236}">
                    <a16:creationId xmlns:a16="http://schemas.microsoft.com/office/drawing/2014/main" id="{CA900B32-800E-3A4E-AD5E-D6F78E897FB7}"/>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76" name="TextBox 75">
                <a:extLst>
                  <a:ext uri="{FF2B5EF4-FFF2-40B4-BE49-F238E27FC236}">
                    <a16:creationId xmlns:a16="http://schemas.microsoft.com/office/drawing/2014/main" id="{4C3215A6-2653-8046-96BD-835DEB1396EC}"/>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77" name="TextBox 76">
                <a:extLst>
                  <a:ext uri="{FF2B5EF4-FFF2-40B4-BE49-F238E27FC236}">
                    <a16:creationId xmlns:a16="http://schemas.microsoft.com/office/drawing/2014/main" id="{4C82AA2D-B8C0-024B-860E-F3632B97576C}"/>
                  </a:ext>
                </a:extLst>
              </p:cNvPr>
              <p:cNvSpPr txBox="1"/>
              <p:nvPr userDrawn="1"/>
            </p:nvSpPr>
            <p:spPr>
              <a:xfrm>
                <a:off x="9674267" y="5476430"/>
                <a:ext cx="2374733"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58" name="TextBox 57">
              <a:extLst>
                <a:ext uri="{FF2B5EF4-FFF2-40B4-BE49-F238E27FC236}">
                  <a16:creationId xmlns:a16="http://schemas.microsoft.com/office/drawing/2014/main" id="{370B81F6-838F-D747-95BA-4C229DAF5126}"/>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59" name="Straight Connector 58">
              <a:extLst>
                <a:ext uri="{FF2B5EF4-FFF2-40B4-BE49-F238E27FC236}">
                  <a16:creationId xmlns:a16="http://schemas.microsoft.com/office/drawing/2014/main" id="{CB220E15-3482-4F41-A26F-2953EA355B4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515E1C38-696D-EF44-A4BC-68688B6A2140}"/>
                </a:ext>
              </a:extLst>
            </p:cNvPr>
            <p:cNvGrpSpPr/>
            <p:nvPr userDrawn="1"/>
          </p:nvGrpSpPr>
          <p:grpSpPr>
            <a:xfrm>
              <a:off x="9554253" y="2414886"/>
              <a:ext cx="2819399" cy="1181890"/>
              <a:chOff x="9541498" y="3352649"/>
              <a:chExt cx="2819399" cy="1181890"/>
            </a:xfrm>
          </p:grpSpPr>
          <p:grpSp>
            <p:nvGrpSpPr>
              <p:cNvPr id="61" name="Group 60">
                <a:extLst>
                  <a:ext uri="{FF2B5EF4-FFF2-40B4-BE49-F238E27FC236}">
                    <a16:creationId xmlns:a16="http://schemas.microsoft.com/office/drawing/2014/main" id="{BA17E685-1C3A-5D40-866A-F707A720ED89}"/>
                  </a:ext>
                </a:extLst>
              </p:cNvPr>
              <p:cNvGrpSpPr/>
              <p:nvPr userDrawn="1"/>
            </p:nvGrpSpPr>
            <p:grpSpPr>
              <a:xfrm>
                <a:off x="9541498" y="3352649"/>
                <a:ext cx="2735150" cy="1181890"/>
                <a:chOff x="9541498" y="3751132"/>
                <a:chExt cx="2735150" cy="1181890"/>
              </a:xfrm>
            </p:grpSpPr>
            <p:grpSp>
              <p:nvGrpSpPr>
                <p:cNvPr id="63" name="Group 62">
                  <a:extLst>
                    <a:ext uri="{FF2B5EF4-FFF2-40B4-BE49-F238E27FC236}">
                      <a16:creationId xmlns:a16="http://schemas.microsoft.com/office/drawing/2014/main" id="{708B5411-EB9C-DE44-A78A-CB78C658CE4F}"/>
                    </a:ext>
                  </a:extLst>
                </p:cNvPr>
                <p:cNvGrpSpPr/>
                <p:nvPr userDrawn="1"/>
              </p:nvGrpSpPr>
              <p:grpSpPr>
                <a:xfrm>
                  <a:off x="9541498" y="3751132"/>
                  <a:ext cx="2735150" cy="1181890"/>
                  <a:chOff x="9296568" y="4910411"/>
                  <a:chExt cx="2735150" cy="1181890"/>
                </a:xfrm>
              </p:grpSpPr>
              <p:sp>
                <p:nvSpPr>
                  <p:cNvPr id="65" name="Rectangle 64">
                    <a:extLst>
                      <a:ext uri="{FF2B5EF4-FFF2-40B4-BE49-F238E27FC236}">
                        <a16:creationId xmlns:a16="http://schemas.microsoft.com/office/drawing/2014/main" id="{100AB9A3-51FF-BC40-B7CC-8EE421C3F661}"/>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6" name="TextBox 65">
                    <a:extLst>
                      <a:ext uri="{FF2B5EF4-FFF2-40B4-BE49-F238E27FC236}">
                        <a16:creationId xmlns:a16="http://schemas.microsoft.com/office/drawing/2014/main" id="{2C58CAD7-CFE6-3E47-9821-B56722BF0476}"/>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7" name="TextBox 66">
                    <a:extLst>
                      <a:ext uri="{FF2B5EF4-FFF2-40B4-BE49-F238E27FC236}">
                        <a16:creationId xmlns:a16="http://schemas.microsoft.com/office/drawing/2014/main" id="{27700D65-D0AA-CC46-A945-F26784AD6A6A}"/>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4" name="Graphic 63">
                  <a:extLst>
                    <a:ext uri="{FF2B5EF4-FFF2-40B4-BE49-F238E27FC236}">
                      <a16:creationId xmlns:a16="http://schemas.microsoft.com/office/drawing/2014/main" id="{C2A770D0-9E7E-A948-806C-6BFD3E5A41B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62" name="Picture 61">
                <a:extLst>
                  <a:ext uri="{FF2B5EF4-FFF2-40B4-BE49-F238E27FC236}">
                    <a16:creationId xmlns:a16="http://schemas.microsoft.com/office/drawing/2014/main" id="{8385943A-95B3-1445-B5C9-27F30D8DF83D}"/>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236224126"/>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Text w/ Supporting Graphic (Lef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1" name="Picture Placeholder 7">
            <a:extLst>
              <a:ext uri="{FF2B5EF4-FFF2-40B4-BE49-F238E27FC236}">
                <a16:creationId xmlns:a16="http://schemas.microsoft.com/office/drawing/2014/main" id="{986F40DB-9C90-0445-8B56-2AB71F390752}"/>
              </a:ext>
            </a:extLst>
          </p:cNvPr>
          <p:cNvSpPr>
            <a:spLocks noGrp="1"/>
          </p:cNvSpPr>
          <p:nvPr>
            <p:ph type="pic" sz="quarter" idx="14" hasCustomPrompt="1"/>
          </p:nvPr>
        </p:nvSpPr>
        <p:spPr>
          <a:xfrm>
            <a:off x="578029" y="1233488"/>
            <a:ext cx="5344904" cy="3006424"/>
          </a:xfrm>
          <a:solidFill>
            <a:srgbClr val="E8F3FD"/>
          </a:solidFill>
        </p:spPr>
        <p:txBody>
          <a:bodyPr anchor="ctr"/>
          <a:lstStyle>
            <a:lvl1pPr algn="ctr">
              <a:defRPr b="0">
                <a:solidFill>
                  <a:schemeClr val="tx1">
                    <a:lumMod val="50000"/>
                    <a:lumOff val="50000"/>
                  </a:schemeClr>
                </a:solidFill>
              </a:defRPr>
            </a:lvl1pPr>
          </a:lstStyle>
          <a:p>
            <a:r>
              <a:rPr lang="en-US" dirty="0"/>
              <a:t>Click icon to add a supporting</a:t>
            </a:r>
            <a:br>
              <a:rPr lang="en-US" dirty="0"/>
            </a:br>
            <a:r>
              <a:rPr lang="en-US" dirty="0"/>
              <a:t>graphic from the MRD</a:t>
            </a:r>
          </a:p>
        </p:txBody>
      </p:sp>
      <p:sp>
        <p:nvSpPr>
          <p:cNvPr id="1000" name="Footnotes Placeholder">
            <a:extLst>
              <a:ext uri="{FF2B5EF4-FFF2-40B4-BE49-F238E27FC236}">
                <a16:creationId xmlns:a16="http://schemas.microsoft.com/office/drawing/2014/main" id="{8A77B1E8-8952-D848-91B2-927E1D27FF9C}"/>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5" name="Date Placeholder 4">
            <a:extLst>
              <a:ext uri="{FF2B5EF4-FFF2-40B4-BE49-F238E27FC236}">
                <a16:creationId xmlns:a16="http://schemas.microsoft.com/office/drawing/2014/main" id="{E8245AA9-9EB0-A44D-9F6A-AE5544DD7AF4}"/>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C076AD30-9E9D-AD46-8DB1-E1FA38235D98}"/>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341D4FA9-B8EC-024E-9A3B-D9D5C8888BDC}"/>
              </a:ext>
            </a:extLst>
          </p:cNvPr>
          <p:cNvSpPr>
            <a:spLocks noGrp="1"/>
          </p:cNvSpPr>
          <p:nvPr>
            <p:ph type="sldNum" sz="quarter" idx="108"/>
          </p:nvPr>
        </p:nvSpPr>
        <p:spPr/>
        <p:txBody>
          <a:bodyPr/>
          <a:lstStyle/>
          <a:p>
            <a:pPr marL="12700"/>
            <a:fld id="{078C017C-E1B9-8443-B047-B08AAA027B45}" type="slidenum">
              <a:rPr lang="en-US" smtClean="0"/>
              <a:pPr marL="12700"/>
              <a:t>‹#›</a:t>
            </a:fld>
            <a:endParaRPr lang="en-US" dirty="0"/>
          </a:p>
        </p:txBody>
      </p:sp>
      <p:sp>
        <p:nvSpPr>
          <p:cNvPr id="83" name="Text Placeholder 51">
            <a:extLst>
              <a:ext uri="{FF2B5EF4-FFF2-40B4-BE49-F238E27FC236}">
                <a16:creationId xmlns:a16="http://schemas.microsoft.com/office/drawing/2014/main" id="{9F65596F-ECB2-1345-91E2-F5F3E3B039BA}"/>
              </a:ext>
            </a:extLst>
          </p:cNvPr>
          <p:cNvSpPr>
            <a:spLocks noGrp="1"/>
          </p:cNvSpPr>
          <p:nvPr>
            <p:ph type="body" sz="quarter" idx="109"/>
          </p:nvPr>
        </p:nvSpPr>
        <p:spPr>
          <a:xfrm>
            <a:off x="575733" y="4426721"/>
            <a:ext cx="5347200" cy="1738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4" name="Text Placeholder 51">
            <a:extLst>
              <a:ext uri="{FF2B5EF4-FFF2-40B4-BE49-F238E27FC236}">
                <a16:creationId xmlns:a16="http://schemas.microsoft.com/office/drawing/2014/main" id="{7E8C46CA-959B-CA4A-8775-B431C35E84F3}"/>
              </a:ext>
            </a:extLst>
          </p:cNvPr>
          <p:cNvSpPr>
            <a:spLocks noGrp="1"/>
          </p:cNvSpPr>
          <p:nvPr>
            <p:ph type="body" sz="quarter" idx="110"/>
          </p:nvPr>
        </p:nvSpPr>
        <p:spPr>
          <a:xfrm>
            <a:off x="6269067" y="1233489"/>
            <a:ext cx="5347200" cy="49323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9" name="Group 48">
            <a:extLst>
              <a:ext uri="{FF2B5EF4-FFF2-40B4-BE49-F238E27FC236}">
                <a16:creationId xmlns:a16="http://schemas.microsoft.com/office/drawing/2014/main" id="{BC6A50FF-7566-1649-8705-A39247ECBA70}"/>
              </a:ext>
            </a:extLst>
          </p:cNvPr>
          <p:cNvGrpSpPr/>
          <p:nvPr userDrawn="1"/>
        </p:nvGrpSpPr>
        <p:grpSpPr>
          <a:xfrm>
            <a:off x="12532243" y="-2"/>
            <a:ext cx="3965960" cy="9769405"/>
            <a:chOff x="9399182" y="-2"/>
            <a:chExt cx="2974470" cy="9769405"/>
          </a:xfrm>
        </p:grpSpPr>
        <p:sp>
          <p:nvSpPr>
            <p:cNvPr id="50" name="Rectangle 49">
              <a:extLst>
                <a:ext uri="{FF2B5EF4-FFF2-40B4-BE49-F238E27FC236}">
                  <a16:creationId xmlns:a16="http://schemas.microsoft.com/office/drawing/2014/main" id="{A5924230-3214-F841-925E-C150247BC60C}"/>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51" name="Picture 50">
              <a:extLst>
                <a:ext uri="{FF2B5EF4-FFF2-40B4-BE49-F238E27FC236}">
                  <a16:creationId xmlns:a16="http://schemas.microsoft.com/office/drawing/2014/main" id="{F7C92D88-EA4F-DF4B-B033-7E4AA28E420B}"/>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2" name="Group 51">
              <a:extLst>
                <a:ext uri="{FF2B5EF4-FFF2-40B4-BE49-F238E27FC236}">
                  <a16:creationId xmlns:a16="http://schemas.microsoft.com/office/drawing/2014/main" id="{EA037373-1C4C-FB46-A237-6166750D09BA}"/>
                </a:ext>
              </a:extLst>
            </p:cNvPr>
            <p:cNvGrpSpPr/>
            <p:nvPr userDrawn="1"/>
          </p:nvGrpSpPr>
          <p:grpSpPr>
            <a:xfrm>
              <a:off x="9541497" y="162442"/>
              <a:ext cx="2819400" cy="814510"/>
              <a:chOff x="-3644733" y="165205"/>
              <a:chExt cx="2819400" cy="814510"/>
            </a:xfrm>
          </p:grpSpPr>
          <p:sp>
            <p:nvSpPr>
              <p:cNvPr id="123" name="Rectangle 122">
                <a:extLst>
                  <a:ext uri="{FF2B5EF4-FFF2-40B4-BE49-F238E27FC236}">
                    <a16:creationId xmlns:a16="http://schemas.microsoft.com/office/drawing/2014/main" id="{6A89438A-C37A-8241-BE0E-FCBC1E6AC75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4" name="TextBox 123">
                <a:extLst>
                  <a:ext uri="{FF2B5EF4-FFF2-40B4-BE49-F238E27FC236}">
                    <a16:creationId xmlns:a16="http://schemas.microsoft.com/office/drawing/2014/main" id="{150A96AB-ACCE-A84E-9E34-865BB0CDBC6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25" name="Picture 124">
                <a:extLst>
                  <a:ext uri="{FF2B5EF4-FFF2-40B4-BE49-F238E27FC236}">
                    <a16:creationId xmlns:a16="http://schemas.microsoft.com/office/drawing/2014/main" id="{80A686FA-35D4-E54F-84D1-E5A1C088C2E4}"/>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53" name="Group 52">
              <a:extLst>
                <a:ext uri="{FF2B5EF4-FFF2-40B4-BE49-F238E27FC236}">
                  <a16:creationId xmlns:a16="http://schemas.microsoft.com/office/drawing/2014/main" id="{5B49B299-27B8-0543-B955-B39AD77B717C}"/>
                </a:ext>
              </a:extLst>
            </p:cNvPr>
            <p:cNvGrpSpPr/>
            <p:nvPr userDrawn="1"/>
          </p:nvGrpSpPr>
          <p:grpSpPr>
            <a:xfrm>
              <a:off x="9521833" y="3755578"/>
              <a:ext cx="2754815" cy="6013825"/>
              <a:chOff x="9521833" y="2566288"/>
              <a:chExt cx="2754815" cy="6013825"/>
            </a:xfrm>
          </p:grpSpPr>
          <p:sp>
            <p:nvSpPr>
              <p:cNvPr id="64" name="TextBox 63">
                <a:extLst>
                  <a:ext uri="{FF2B5EF4-FFF2-40B4-BE49-F238E27FC236}">
                    <a16:creationId xmlns:a16="http://schemas.microsoft.com/office/drawing/2014/main" id="{2AF2070A-EFB0-8148-9A83-076562E3FA5D}"/>
                  </a:ext>
                </a:extLst>
              </p:cNvPr>
              <p:cNvSpPr txBox="1"/>
              <p:nvPr userDrawn="1"/>
            </p:nvSpPr>
            <p:spPr>
              <a:xfrm>
                <a:off x="9558507" y="256628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65" name="Straight Connector 64">
                <a:extLst>
                  <a:ext uri="{FF2B5EF4-FFF2-40B4-BE49-F238E27FC236}">
                    <a16:creationId xmlns:a16="http://schemas.microsoft.com/office/drawing/2014/main" id="{BFFB8F6D-33C7-B84A-8C53-1C8BCABB3357}"/>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442299A1-A12A-4648-BADF-C112B5112970}"/>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7" name="Group 66">
                <a:extLst>
                  <a:ext uri="{FF2B5EF4-FFF2-40B4-BE49-F238E27FC236}">
                    <a16:creationId xmlns:a16="http://schemas.microsoft.com/office/drawing/2014/main" id="{FB2A614A-0DFB-1746-9449-BC673274DC69}"/>
                  </a:ext>
                </a:extLst>
              </p:cNvPr>
              <p:cNvGrpSpPr/>
              <p:nvPr userDrawn="1"/>
            </p:nvGrpSpPr>
            <p:grpSpPr>
              <a:xfrm>
                <a:off x="9541497" y="7168798"/>
                <a:ext cx="2735151" cy="1411315"/>
                <a:chOff x="9296567" y="4910411"/>
                <a:chExt cx="2735151" cy="1411315"/>
              </a:xfrm>
            </p:grpSpPr>
            <p:sp>
              <p:nvSpPr>
                <p:cNvPr id="82" name="Rectangle 81">
                  <a:extLst>
                    <a:ext uri="{FF2B5EF4-FFF2-40B4-BE49-F238E27FC236}">
                      <a16:creationId xmlns:a16="http://schemas.microsoft.com/office/drawing/2014/main" id="{08B2DC79-72E8-F448-B26F-22C25E78DE4E}"/>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8" name="TextBox 117">
                  <a:extLst>
                    <a:ext uri="{FF2B5EF4-FFF2-40B4-BE49-F238E27FC236}">
                      <a16:creationId xmlns:a16="http://schemas.microsoft.com/office/drawing/2014/main" id="{A012B685-7A1B-EE4A-B48C-476DD149037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19" name="Graphic 118">
                  <a:extLst>
                    <a:ext uri="{FF2B5EF4-FFF2-40B4-BE49-F238E27FC236}">
                      <a16:creationId xmlns:a16="http://schemas.microsoft.com/office/drawing/2014/main" id="{E42684EA-260D-FE4C-9DB5-ABC6A5EA89A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20" name="TextBox 119">
                  <a:extLst>
                    <a:ext uri="{FF2B5EF4-FFF2-40B4-BE49-F238E27FC236}">
                      <a16:creationId xmlns:a16="http://schemas.microsoft.com/office/drawing/2014/main" id="{229045D4-3E64-B747-9B77-8324211D1AB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21" name="TextBox 120">
                  <a:extLst>
                    <a:ext uri="{FF2B5EF4-FFF2-40B4-BE49-F238E27FC236}">
                      <a16:creationId xmlns:a16="http://schemas.microsoft.com/office/drawing/2014/main" id="{7C8C5E78-2D68-0F4A-9771-9A181870404F}"/>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22" name="TextBox 121">
                  <a:extLst>
                    <a:ext uri="{FF2B5EF4-FFF2-40B4-BE49-F238E27FC236}">
                      <a16:creationId xmlns:a16="http://schemas.microsoft.com/office/drawing/2014/main" id="{72ACF7AE-340C-034B-A293-B81D7EDAC4B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68" name="Group 67">
                <a:extLst>
                  <a:ext uri="{FF2B5EF4-FFF2-40B4-BE49-F238E27FC236}">
                    <a16:creationId xmlns:a16="http://schemas.microsoft.com/office/drawing/2014/main" id="{9D428D69-5C21-954F-AAA0-6C95377428A6}"/>
                  </a:ext>
                </a:extLst>
              </p:cNvPr>
              <p:cNvGrpSpPr/>
              <p:nvPr userDrawn="1"/>
            </p:nvGrpSpPr>
            <p:grpSpPr>
              <a:xfrm>
                <a:off x="9541497" y="5812142"/>
                <a:ext cx="2735151" cy="1280928"/>
                <a:chOff x="9286315" y="6976989"/>
                <a:chExt cx="2735151" cy="1280928"/>
              </a:xfrm>
            </p:grpSpPr>
            <p:sp>
              <p:nvSpPr>
                <p:cNvPr id="77" name="Rectangle 76">
                  <a:extLst>
                    <a:ext uri="{FF2B5EF4-FFF2-40B4-BE49-F238E27FC236}">
                      <a16:creationId xmlns:a16="http://schemas.microsoft.com/office/drawing/2014/main" id="{D2A8D114-EB36-D047-9E19-6917F77AB8AC}"/>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8" name="TextBox 77">
                  <a:extLst>
                    <a:ext uri="{FF2B5EF4-FFF2-40B4-BE49-F238E27FC236}">
                      <a16:creationId xmlns:a16="http://schemas.microsoft.com/office/drawing/2014/main" id="{DE249B37-1CBD-DE4C-B078-D171107C8DFB}"/>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9" name="Graphic 78">
                  <a:extLst>
                    <a:ext uri="{FF2B5EF4-FFF2-40B4-BE49-F238E27FC236}">
                      <a16:creationId xmlns:a16="http://schemas.microsoft.com/office/drawing/2014/main" id="{D9DC4789-EC3A-3C48-88CF-5B84FF620F3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0" name="TextBox 79">
                  <a:extLst>
                    <a:ext uri="{FF2B5EF4-FFF2-40B4-BE49-F238E27FC236}">
                      <a16:creationId xmlns:a16="http://schemas.microsoft.com/office/drawing/2014/main" id="{BC49CB42-C3B5-5841-B879-851F9C7EEA36}"/>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1" name="Picture 80">
                  <a:extLst>
                    <a:ext uri="{FF2B5EF4-FFF2-40B4-BE49-F238E27FC236}">
                      <a16:creationId xmlns:a16="http://schemas.microsoft.com/office/drawing/2014/main" id="{628F206A-7D04-EF40-9861-84678517D248}"/>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9" name="Group 68">
                <a:extLst>
                  <a:ext uri="{FF2B5EF4-FFF2-40B4-BE49-F238E27FC236}">
                    <a16:creationId xmlns:a16="http://schemas.microsoft.com/office/drawing/2014/main" id="{A490542C-8DFC-5548-AE6A-63B1D2808097}"/>
                  </a:ext>
                </a:extLst>
              </p:cNvPr>
              <p:cNvGrpSpPr/>
              <p:nvPr userDrawn="1"/>
            </p:nvGrpSpPr>
            <p:grpSpPr>
              <a:xfrm>
                <a:off x="9521833" y="2891408"/>
                <a:ext cx="2617883" cy="651460"/>
                <a:chOff x="12352022" y="513115"/>
                <a:chExt cx="2617883" cy="651460"/>
              </a:xfrm>
            </p:grpSpPr>
            <p:sp>
              <p:nvSpPr>
                <p:cNvPr id="74" name="TextBox 73">
                  <a:extLst>
                    <a:ext uri="{FF2B5EF4-FFF2-40B4-BE49-F238E27FC236}">
                      <a16:creationId xmlns:a16="http://schemas.microsoft.com/office/drawing/2014/main" id="{0FAFBA51-3305-F345-92BD-B46BA279BA2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5" name="TextBox 74">
                  <a:extLst>
                    <a:ext uri="{FF2B5EF4-FFF2-40B4-BE49-F238E27FC236}">
                      <a16:creationId xmlns:a16="http://schemas.microsoft.com/office/drawing/2014/main" id="{768B0866-9666-5048-A6BD-3E4EE1D31D82}"/>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76" name="TextBox 75">
                  <a:extLst>
                    <a:ext uri="{FF2B5EF4-FFF2-40B4-BE49-F238E27FC236}">
                      <a16:creationId xmlns:a16="http://schemas.microsoft.com/office/drawing/2014/main" id="{2FDB09E1-182B-8C41-A90D-675C6F64D42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70" name="TextBox 69">
                <a:extLst>
                  <a:ext uri="{FF2B5EF4-FFF2-40B4-BE49-F238E27FC236}">
                    <a16:creationId xmlns:a16="http://schemas.microsoft.com/office/drawing/2014/main" id="{D485FD98-7EF6-A54D-9C57-9E702C04A959}"/>
                  </a:ext>
                </a:extLst>
              </p:cNvPr>
              <p:cNvSpPr txBox="1"/>
              <p:nvPr userDrawn="1"/>
            </p:nvSpPr>
            <p:spPr>
              <a:xfrm>
                <a:off x="9674267" y="391052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1" name="TextBox 70">
                <a:extLst>
                  <a:ext uri="{FF2B5EF4-FFF2-40B4-BE49-F238E27FC236}">
                    <a16:creationId xmlns:a16="http://schemas.microsoft.com/office/drawing/2014/main" id="{87E809D7-903C-6E4C-9509-800D999D8BEB}"/>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72" name="TextBox 71">
                <a:extLst>
                  <a:ext uri="{FF2B5EF4-FFF2-40B4-BE49-F238E27FC236}">
                    <a16:creationId xmlns:a16="http://schemas.microsoft.com/office/drawing/2014/main" id="{7653C300-7116-984F-AC25-FE91A768367E}"/>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73" name="TextBox 72">
                <a:extLst>
                  <a:ext uri="{FF2B5EF4-FFF2-40B4-BE49-F238E27FC236}">
                    <a16:creationId xmlns:a16="http://schemas.microsoft.com/office/drawing/2014/main" id="{348DD668-2F25-B14F-B0EB-7BBC3FE735D6}"/>
                  </a:ext>
                </a:extLst>
              </p:cNvPr>
              <p:cNvSpPr txBox="1"/>
              <p:nvPr userDrawn="1"/>
            </p:nvSpPr>
            <p:spPr>
              <a:xfrm>
                <a:off x="9674267" y="5476430"/>
                <a:ext cx="2374733"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54" name="TextBox 53">
              <a:extLst>
                <a:ext uri="{FF2B5EF4-FFF2-40B4-BE49-F238E27FC236}">
                  <a16:creationId xmlns:a16="http://schemas.microsoft.com/office/drawing/2014/main" id="{A38C3867-F18E-4D46-9E21-2FC7FF845627}"/>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55" name="Straight Connector 54">
              <a:extLst>
                <a:ext uri="{FF2B5EF4-FFF2-40B4-BE49-F238E27FC236}">
                  <a16:creationId xmlns:a16="http://schemas.microsoft.com/office/drawing/2014/main" id="{DD4325D9-7389-094C-A2CF-5C5323B35208}"/>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EEAA9040-CF51-8F4A-A448-164422E39F10}"/>
                </a:ext>
              </a:extLst>
            </p:cNvPr>
            <p:cNvGrpSpPr/>
            <p:nvPr userDrawn="1"/>
          </p:nvGrpSpPr>
          <p:grpSpPr>
            <a:xfrm>
              <a:off x="9554253" y="2414886"/>
              <a:ext cx="2819399" cy="1181890"/>
              <a:chOff x="9541498" y="3352649"/>
              <a:chExt cx="2819399" cy="1181890"/>
            </a:xfrm>
          </p:grpSpPr>
          <p:grpSp>
            <p:nvGrpSpPr>
              <p:cNvPr id="57" name="Group 56">
                <a:extLst>
                  <a:ext uri="{FF2B5EF4-FFF2-40B4-BE49-F238E27FC236}">
                    <a16:creationId xmlns:a16="http://schemas.microsoft.com/office/drawing/2014/main" id="{71989BAA-BA51-5B43-B478-80240E70B031}"/>
                  </a:ext>
                </a:extLst>
              </p:cNvPr>
              <p:cNvGrpSpPr/>
              <p:nvPr userDrawn="1"/>
            </p:nvGrpSpPr>
            <p:grpSpPr>
              <a:xfrm>
                <a:off x="9541498" y="3352649"/>
                <a:ext cx="2735150" cy="1181890"/>
                <a:chOff x="9541498" y="3751132"/>
                <a:chExt cx="2735150" cy="1181890"/>
              </a:xfrm>
            </p:grpSpPr>
            <p:grpSp>
              <p:nvGrpSpPr>
                <p:cNvPr id="59" name="Group 58">
                  <a:extLst>
                    <a:ext uri="{FF2B5EF4-FFF2-40B4-BE49-F238E27FC236}">
                      <a16:creationId xmlns:a16="http://schemas.microsoft.com/office/drawing/2014/main" id="{1F0DB689-2380-EE49-8628-14383AA33533}"/>
                    </a:ext>
                  </a:extLst>
                </p:cNvPr>
                <p:cNvGrpSpPr/>
                <p:nvPr userDrawn="1"/>
              </p:nvGrpSpPr>
              <p:grpSpPr>
                <a:xfrm>
                  <a:off x="9541498" y="3751132"/>
                  <a:ext cx="2735150" cy="1181890"/>
                  <a:chOff x="9296568" y="4910411"/>
                  <a:chExt cx="2735150" cy="1181890"/>
                </a:xfrm>
              </p:grpSpPr>
              <p:sp>
                <p:nvSpPr>
                  <p:cNvPr id="61" name="Rectangle 60">
                    <a:extLst>
                      <a:ext uri="{FF2B5EF4-FFF2-40B4-BE49-F238E27FC236}">
                        <a16:creationId xmlns:a16="http://schemas.microsoft.com/office/drawing/2014/main" id="{0C31B8AD-3259-0E4D-B7B9-A1BED5431619}"/>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2" name="TextBox 61">
                    <a:extLst>
                      <a:ext uri="{FF2B5EF4-FFF2-40B4-BE49-F238E27FC236}">
                        <a16:creationId xmlns:a16="http://schemas.microsoft.com/office/drawing/2014/main" id="{79D5AE7D-A300-E04A-8178-CEFBFD6B3695}"/>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3" name="TextBox 62">
                    <a:extLst>
                      <a:ext uri="{FF2B5EF4-FFF2-40B4-BE49-F238E27FC236}">
                        <a16:creationId xmlns:a16="http://schemas.microsoft.com/office/drawing/2014/main" id="{71453D1D-E082-484F-B617-10330BB9C893}"/>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0" name="Graphic 59">
                  <a:extLst>
                    <a:ext uri="{FF2B5EF4-FFF2-40B4-BE49-F238E27FC236}">
                      <a16:creationId xmlns:a16="http://schemas.microsoft.com/office/drawing/2014/main" id="{0BFB961E-6B44-4A41-8979-B6EDBFAAEB3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58" name="Picture 57">
                <a:extLst>
                  <a:ext uri="{FF2B5EF4-FFF2-40B4-BE49-F238E27FC236}">
                    <a16:creationId xmlns:a16="http://schemas.microsoft.com/office/drawing/2014/main" id="{983E9B20-7313-604E-8431-234F059880A1}"/>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822600074"/>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A1E5E-5092-C14B-BCA7-1CE9980DAC4E}"/>
              </a:ext>
            </a:extLst>
          </p:cNvPr>
          <p:cNvSpPr>
            <a:spLocks noGrp="1"/>
          </p:cNvSpPr>
          <p:nvPr>
            <p:ph type="title" hasCustomPrompt="1"/>
          </p:nvPr>
        </p:nvSpPr>
        <p:spPr/>
        <p:txBody>
          <a:bodyPr/>
          <a:lstStyle/>
          <a:p>
            <a:r>
              <a:rPr lang="en-US" dirty="0"/>
              <a:t>CLICK TO ADD Slide TITLE. ALL CAPS. TWO LINES max.</a:t>
            </a:r>
          </a:p>
        </p:txBody>
      </p:sp>
      <p:sp>
        <p:nvSpPr>
          <p:cNvPr id="1000" name="Footnotes Placeholder">
            <a:extLst>
              <a:ext uri="{FF2B5EF4-FFF2-40B4-BE49-F238E27FC236}">
                <a16:creationId xmlns:a16="http://schemas.microsoft.com/office/drawing/2014/main" id="{36AF8DC8-87FB-C141-8D83-20DF12993AF5}"/>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3" name="Date Placeholder 2">
            <a:extLst>
              <a:ext uri="{FF2B5EF4-FFF2-40B4-BE49-F238E27FC236}">
                <a16:creationId xmlns:a16="http://schemas.microsoft.com/office/drawing/2014/main" id="{6F932E4D-3BB6-F145-B5C5-AD97EAF75D44}"/>
              </a:ext>
            </a:extLst>
          </p:cNvPr>
          <p:cNvSpPr>
            <a:spLocks noGrp="1"/>
          </p:cNvSpPr>
          <p:nvPr>
            <p:ph type="dt" sz="half" idx="1001"/>
          </p:nvPr>
        </p:nvSpPr>
        <p:spPr/>
        <p:txBody>
          <a:bodyPr/>
          <a:lstStyle/>
          <a:p>
            <a:endParaRPr lang="en-US" dirty="0"/>
          </a:p>
        </p:txBody>
      </p:sp>
      <p:sp>
        <p:nvSpPr>
          <p:cNvPr id="4" name="Footer Placeholder 3">
            <a:extLst>
              <a:ext uri="{FF2B5EF4-FFF2-40B4-BE49-F238E27FC236}">
                <a16:creationId xmlns:a16="http://schemas.microsoft.com/office/drawing/2014/main" id="{E17286FE-76E3-3247-ACB0-061B0414E37F}"/>
              </a:ext>
            </a:extLst>
          </p:cNvPr>
          <p:cNvSpPr>
            <a:spLocks noGrp="1"/>
          </p:cNvSpPr>
          <p:nvPr>
            <p:ph type="ftr" sz="quarter" idx="1002"/>
          </p:nvPr>
        </p:nvSpPr>
        <p:spPr/>
        <p:txBody>
          <a:bodyPr/>
          <a:lstStyle/>
          <a:p>
            <a:endParaRPr lang="en-US" dirty="0"/>
          </a:p>
        </p:txBody>
      </p:sp>
      <p:sp>
        <p:nvSpPr>
          <p:cNvPr id="5" name="Slide Number Placeholder 4">
            <a:extLst>
              <a:ext uri="{FF2B5EF4-FFF2-40B4-BE49-F238E27FC236}">
                <a16:creationId xmlns:a16="http://schemas.microsoft.com/office/drawing/2014/main" id="{867E789D-6D1E-A34E-82C5-72E722D0C6B6}"/>
              </a:ext>
            </a:extLst>
          </p:cNvPr>
          <p:cNvSpPr>
            <a:spLocks noGrp="1"/>
          </p:cNvSpPr>
          <p:nvPr>
            <p:ph type="sldNum" sz="quarter" idx="1003"/>
          </p:nvPr>
        </p:nvSpPr>
        <p:spPr/>
        <p:txBody>
          <a:bodyPr/>
          <a:lstStyle/>
          <a:p>
            <a:pPr marL="12700"/>
            <a:fld id="{078C017C-E1B9-8443-B047-B08AAA027B45}" type="slidenum">
              <a:rPr lang="en-US" smtClean="0"/>
              <a:pPr marL="12700"/>
              <a:t>‹#›</a:t>
            </a:fld>
            <a:endParaRPr lang="en-US" dirty="0"/>
          </a:p>
        </p:txBody>
      </p:sp>
    </p:spTree>
    <p:extLst>
      <p:ext uri="{BB962C8B-B14F-4D97-AF65-F5344CB8AC3E}">
        <p14:creationId xmlns:p14="http://schemas.microsoft.com/office/powerpoint/2010/main" val="1232301455"/>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Footnotes Appendix">
    <p:spTree>
      <p:nvGrpSpPr>
        <p:cNvPr id="1" name=""/>
        <p:cNvGrpSpPr/>
        <p:nvPr/>
      </p:nvGrpSpPr>
      <p:grpSpPr>
        <a:xfrm>
          <a:off x="0" y="0"/>
          <a:ext cx="0" cy="0"/>
          <a:chOff x="0" y="0"/>
          <a:chExt cx="0" cy="0"/>
        </a:xfrm>
      </p:grpSpPr>
      <p:sp>
        <p:nvSpPr>
          <p:cNvPr id="1000" name="Footnotes Placeholder">
            <a:extLst>
              <a:ext uri="{FF2B5EF4-FFF2-40B4-BE49-F238E27FC236}">
                <a16:creationId xmlns:a16="http://schemas.microsoft.com/office/drawing/2014/main" id="{73A7EDA7-F3CC-FE4B-8FF2-546BF052CA2D}"/>
              </a:ext>
            </a:extLst>
          </p:cNvPr>
          <p:cNvSpPr>
            <a:spLocks noGrp="1"/>
          </p:cNvSpPr>
          <p:nvPr>
            <p:ph type="subTitle" sz="quarter" idx="1000" hasCustomPrompt="1"/>
          </p:nvPr>
        </p:nvSpPr>
        <p:spPr>
          <a:xfrm>
            <a:off x="575710" y="1233488"/>
            <a:ext cx="11040532" cy="4932362"/>
          </a:xfrm>
        </p:spPr>
        <p:txBody>
          <a:bodyPr bIns="0" anchor="t"/>
          <a:lstStyle>
            <a:lvl1pPr marL="6350" indent="-1588">
              <a:spcBef>
                <a:spcPts val="600"/>
              </a:spcBef>
              <a:spcAft>
                <a:spcPts val="75"/>
              </a:spcAft>
              <a:buSzPct val="100000"/>
              <a:buFontTx/>
              <a:buNone/>
              <a:tabLst/>
              <a:defRPr sz="1100" b="1">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page reference. Paste in overflow footnotes.</a:t>
            </a:r>
          </a:p>
          <a:p>
            <a:pPr lvl="1"/>
            <a:r>
              <a:rPr lang="en-US" dirty="0"/>
              <a:t>Second level</a:t>
            </a:r>
          </a:p>
          <a:p>
            <a:pPr lvl="2"/>
            <a:r>
              <a:rPr lang="en-US" dirty="0"/>
              <a:t>Third level</a:t>
            </a:r>
          </a:p>
          <a:p>
            <a:pPr lvl="3"/>
            <a:r>
              <a:rPr lang="en-US" dirty="0"/>
              <a:t>Fourth level</a:t>
            </a:r>
          </a:p>
          <a:p>
            <a:pPr lvl="4"/>
            <a:r>
              <a:rPr lang="en-US" dirty="0"/>
              <a:t>Fifth level</a:t>
            </a:r>
            <a:endParaRPr lang="en-US" sz="1400" dirty="0">
              <a:latin typeface="Arial" charset="0"/>
              <a:cs typeface="Arial" charset="0"/>
            </a:endParaRPr>
          </a:p>
          <a:p>
            <a:pPr lvl="5"/>
            <a:r>
              <a:rPr lang="en-US" dirty="0">
                <a:latin typeface="Arial" charset="0"/>
                <a:cs typeface="Arial" charset="0"/>
              </a:rPr>
              <a:t>Sixth level</a:t>
            </a:r>
          </a:p>
          <a:p>
            <a:pPr lvl="6"/>
            <a:r>
              <a:rPr lang="en-US" dirty="0">
                <a:latin typeface="Arial" charset="0"/>
                <a:cs typeface="Arial" charset="0"/>
              </a:rPr>
              <a:t>Seventh level</a:t>
            </a:r>
          </a:p>
          <a:p>
            <a:pPr lvl="7"/>
            <a:r>
              <a:rPr lang="en-US" dirty="0">
                <a:latin typeface="Arial" charset="0"/>
                <a:cs typeface="Arial" charset="0"/>
              </a:rPr>
              <a:t>Eighth level</a:t>
            </a:r>
          </a:p>
          <a:p>
            <a:pPr lvl="8"/>
            <a:r>
              <a:rPr lang="en-US" dirty="0">
                <a:latin typeface="Arial" charset="0"/>
                <a:cs typeface="Arial" charset="0"/>
              </a:rPr>
              <a:t>Ninth level</a:t>
            </a:r>
            <a:endParaRPr lang="en-US" dirty="0"/>
          </a:p>
        </p:txBody>
      </p:sp>
      <p:sp>
        <p:nvSpPr>
          <p:cNvPr id="11" name="Title 8">
            <a:extLst>
              <a:ext uri="{FF2B5EF4-FFF2-40B4-BE49-F238E27FC236}">
                <a16:creationId xmlns:a16="http://schemas.microsoft.com/office/drawing/2014/main" id="{39E817B6-FF8C-0842-B1E7-3F8A6FA8F66D}"/>
              </a:ext>
            </a:extLst>
          </p:cNvPr>
          <p:cNvSpPr txBox="1">
            <a:spLocks/>
          </p:cNvSpPr>
          <p:nvPr userDrawn="1"/>
        </p:nvSpPr>
        <p:spPr>
          <a:xfrm>
            <a:off x="575734" y="423038"/>
            <a:ext cx="11040533" cy="567394"/>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a:lstStyle>
          <a:p>
            <a:r>
              <a:rPr lang="en-US" sz="1900" dirty="0"/>
              <a:t>Appendix</a:t>
            </a:r>
          </a:p>
        </p:txBody>
      </p:sp>
      <p:sp>
        <p:nvSpPr>
          <p:cNvPr id="5" name="Date Placeholder 4">
            <a:extLst>
              <a:ext uri="{FF2B5EF4-FFF2-40B4-BE49-F238E27FC236}">
                <a16:creationId xmlns:a16="http://schemas.microsoft.com/office/drawing/2014/main" id="{4EB956B6-5A6C-5D48-9F0C-B94F649F8BBE}"/>
              </a:ext>
            </a:extLst>
          </p:cNvPr>
          <p:cNvSpPr>
            <a:spLocks noGrp="1"/>
          </p:cNvSpPr>
          <p:nvPr>
            <p:ph type="dt" sz="half" idx="101"/>
          </p:nvPr>
        </p:nvSpPr>
        <p:spPr/>
        <p:txBody>
          <a:bodyPr/>
          <a:lstStyle/>
          <a:p>
            <a:endParaRPr lang="en-US" dirty="0"/>
          </a:p>
        </p:txBody>
      </p:sp>
      <p:sp>
        <p:nvSpPr>
          <p:cNvPr id="6" name="Footer Placeholder 5">
            <a:extLst>
              <a:ext uri="{FF2B5EF4-FFF2-40B4-BE49-F238E27FC236}">
                <a16:creationId xmlns:a16="http://schemas.microsoft.com/office/drawing/2014/main" id="{65529702-1F3A-4D45-95E7-B4EE450AA0E0}"/>
              </a:ext>
            </a:extLst>
          </p:cNvPr>
          <p:cNvSpPr>
            <a:spLocks noGrp="1"/>
          </p:cNvSpPr>
          <p:nvPr>
            <p:ph type="ftr" sz="quarter" idx="102"/>
          </p:nvPr>
        </p:nvSpPr>
        <p:spPr/>
        <p:txBody>
          <a:bodyPr/>
          <a:lstStyle/>
          <a:p>
            <a:endParaRPr lang="en-US" dirty="0"/>
          </a:p>
        </p:txBody>
      </p:sp>
      <p:sp>
        <p:nvSpPr>
          <p:cNvPr id="7" name="Slide Number Placeholder 6">
            <a:extLst>
              <a:ext uri="{FF2B5EF4-FFF2-40B4-BE49-F238E27FC236}">
                <a16:creationId xmlns:a16="http://schemas.microsoft.com/office/drawing/2014/main" id="{2AF6F60A-A028-CA43-9F6E-24A771157036}"/>
              </a:ext>
            </a:extLst>
          </p:cNvPr>
          <p:cNvSpPr>
            <a:spLocks noGrp="1"/>
          </p:cNvSpPr>
          <p:nvPr>
            <p:ph type="sldNum" sz="quarter" idx="103"/>
          </p:nvPr>
        </p:nvSpPr>
        <p:spPr/>
        <p:txBody>
          <a:bodyPr/>
          <a:lstStyle/>
          <a:p>
            <a:pPr marL="12700"/>
            <a:fld id="{078C017C-E1B9-8443-B047-B08AAA027B45}" type="slidenum">
              <a:rPr lang="en-US" smtClean="0"/>
              <a:pPr marL="12700"/>
              <a:t>‹#›</a:t>
            </a:fld>
            <a:endParaRPr lang="en-US" dirty="0"/>
          </a:p>
        </p:txBody>
      </p:sp>
      <p:grpSp>
        <p:nvGrpSpPr>
          <p:cNvPr id="21" name="Group 20">
            <a:extLst>
              <a:ext uri="{FF2B5EF4-FFF2-40B4-BE49-F238E27FC236}">
                <a16:creationId xmlns:a16="http://schemas.microsoft.com/office/drawing/2014/main" id="{104D1EDF-2467-804A-B15C-D4504AFFEBB6}"/>
              </a:ext>
            </a:extLst>
          </p:cNvPr>
          <p:cNvGrpSpPr/>
          <p:nvPr userDrawn="1"/>
        </p:nvGrpSpPr>
        <p:grpSpPr>
          <a:xfrm>
            <a:off x="12532244" y="-1"/>
            <a:ext cx="3948953" cy="6858001"/>
            <a:chOff x="9399182" y="-1"/>
            <a:chExt cx="2961715" cy="6858001"/>
          </a:xfrm>
        </p:grpSpPr>
        <p:sp>
          <p:nvSpPr>
            <p:cNvPr id="9" name="Rectangle 8">
              <a:extLst>
                <a:ext uri="{FF2B5EF4-FFF2-40B4-BE49-F238E27FC236}">
                  <a16:creationId xmlns:a16="http://schemas.microsoft.com/office/drawing/2014/main" id="{1450A66C-4EFE-574E-8105-8F19294291C0}"/>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41" name="Picture 40">
              <a:extLst>
                <a:ext uri="{FF2B5EF4-FFF2-40B4-BE49-F238E27FC236}">
                  <a16:creationId xmlns:a16="http://schemas.microsoft.com/office/drawing/2014/main" id="{8CFE866E-1B7C-B841-9874-F39026C7B1D6}"/>
                </a:ext>
              </a:extLst>
            </p:cNvPr>
            <p:cNvPicPr>
              <a:picLocks noChangeAspect="1"/>
            </p:cNvPicPr>
            <p:nvPr userDrawn="1"/>
          </p:nvPicPr>
          <p:blipFill rotWithShape="1">
            <a:blip r:embed="rId2"/>
            <a:srcRect l="-1" t="-1" r="57393" b="1331"/>
            <a:stretch/>
          </p:blipFill>
          <p:spPr>
            <a:xfrm>
              <a:off x="9558505" y="1322104"/>
              <a:ext cx="2631977" cy="1346819"/>
            </a:xfrm>
            <a:prstGeom prst="rect">
              <a:avLst/>
            </a:prstGeom>
          </p:spPr>
        </p:pic>
        <p:grpSp>
          <p:nvGrpSpPr>
            <p:cNvPr id="14" name="Group 13">
              <a:extLst>
                <a:ext uri="{FF2B5EF4-FFF2-40B4-BE49-F238E27FC236}">
                  <a16:creationId xmlns:a16="http://schemas.microsoft.com/office/drawing/2014/main" id="{9FFEF678-A102-7F4F-AA3B-CD00034E1645}"/>
                </a:ext>
              </a:extLst>
            </p:cNvPr>
            <p:cNvGrpSpPr/>
            <p:nvPr userDrawn="1"/>
          </p:nvGrpSpPr>
          <p:grpSpPr>
            <a:xfrm>
              <a:off x="9541497" y="162442"/>
              <a:ext cx="2819400" cy="814510"/>
              <a:chOff x="-3644733" y="165205"/>
              <a:chExt cx="2819400" cy="814510"/>
            </a:xfrm>
          </p:grpSpPr>
          <p:sp>
            <p:nvSpPr>
              <p:cNvPr id="42" name="Rectangle 41">
                <a:extLst>
                  <a:ext uri="{FF2B5EF4-FFF2-40B4-BE49-F238E27FC236}">
                    <a16:creationId xmlns:a16="http://schemas.microsoft.com/office/drawing/2014/main" id="{5897A035-D50A-9E4B-AC4B-7F127F053054}"/>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3" name="TextBox 42">
                <a:extLst>
                  <a:ext uri="{FF2B5EF4-FFF2-40B4-BE49-F238E27FC236}">
                    <a16:creationId xmlns:a16="http://schemas.microsoft.com/office/drawing/2014/main" id="{80017FBF-C159-274E-A045-C7FE28DD4891}"/>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44" name="Picture 43">
                <a:extLst>
                  <a:ext uri="{FF2B5EF4-FFF2-40B4-BE49-F238E27FC236}">
                    <a16:creationId xmlns:a16="http://schemas.microsoft.com/office/drawing/2014/main" id="{E92D98F1-AA3C-ED4D-9D08-7B7F95CAA93F}"/>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23" name="Group 22">
              <a:extLst>
                <a:ext uri="{FF2B5EF4-FFF2-40B4-BE49-F238E27FC236}">
                  <a16:creationId xmlns:a16="http://schemas.microsoft.com/office/drawing/2014/main" id="{63F2733A-C19B-3340-8146-DE69DD441B5E}"/>
                </a:ext>
              </a:extLst>
            </p:cNvPr>
            <p:cNvGrpSpPr/>
            <p:nvPr userDrawn="1"/>
          </p:nvGrpSpPr>
          <p:grpSpPr>
            <a:xfrm>
              <a:off x="9558507" y="1119891"/>
              <a:ext cx="2639328" cy="202617"/>
              <a:chOff x="9303325" y="149270"/>
              <a:chExt cx="2639328" cy="202617"/>
            </a:xfrm>
          </p:grpSpPr>
          <p:sp>
            <p:nvSpPr>
              <p:cNvPr id="24" name="TextBox 23">
                <a:extLst>
                  <a:ext uri="{FF2B5EF4-FFF2-40B4-BE49-F238E27FC236}">
                    <a16:creationId xmlns:a16="http://schemas.microsoft.com/office/drawing/2014/main" id="{C79CF978-B72A-C545-9B0B-E904D2B4E054}"/>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25" name="Straight Connector 24">
                <a:extLst>
                  <a:ext uri="{FF2B5EF4-FFF2-40B4-BE49-F238E27FC236}">
                    <a16:creationId xmlns:a16="http://schemas.microsoft.com/office/drawing/2014/main" id="{8526A15D-C3EF-0040-8B4F-8F84446E57AB}"/>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36126328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Q+A (Photo)">
    <p:bg>
      <p:bgPr>
        <a:solidFill>
          <a:schemeClr val="bg1"/>
        </a:solidFill>
        <a:effectLst/>
      </p:bgPr>
    </p:bg>
    <p:spTree>
      <p:nvGrpSpPr>
        <p:cNvPr id="1" name=""/>
        <p:cNvGrpSpPr/>
        <p:nvPr/>
      </p:nvGrpSpPr>
      <p:grpSpPr>
        <a:xfrm>
          <a:off x="0" y="0"/>
          <a:ext cx="0" cy="0"/>
          <a:chOff x="0" y="0"/>
          <a:chExt cx="0" cy="0"/>
        </a:xfrm>
      </p:grpSpPr>
      <p:sp>
        <p:nvSpPr>
          <p:cNvPr id="61" name="Picture Placeholder 60">
            <a:extLst>
              <a:ext uri="{FF2B5EF4-FFF2-40B4-BE49-F238E27FC236}">
                <a16:creationId xmlns:a16="http://schemas.microsoft.com/office/drawing/2014/main" id="{123A1A90-4696-7C42-B7AA-8B8C9D33FA1E}"/>
              </a:ext>
            </a:extLst>
          </p:cNvPr>
          <p:cNvSpPr>
            <a:spLocks noGrp="1"/>
          </p:cNvSpPr>
          <p:nvPr>
            <p:ph type="pic" sz="quarter" idx="10" hasCustomPrompt="1"/>
          </p:nvPr>
        </p:nvSpPr>
        <p:spPr>
          <a:xfrm>
            <a:off x="0" y="0"/>
            <a:ext cx="12192000" cy="6858000"/>
          </a:xfrm>
          <a:custGeom>
            <a:avLst/>
            <a:gdLst>
              <a:gd name="connsiteX0" fmla="*/ 8381735 w 9144000"/>
              <a:gd name="connsiteY0" fmla="*/ 6576022 h 6858000"/>
              <a:gd name="connsiteX1" fmla="*/ 8398942 w 9144000"/>
              <a:gd name="connsiteY1" fmla="*/ 6577877 h 6858000"/>
              <a:gd name="connsiteX2" fmla="*/ 8407847 w 9144000"/>
              <a:gd name="connsiteY2" fmla="*/ 6584666 h 6858000"/>
              <a:gd name="connsiteX3" fmla="*/ 8413547 w 9144000"/>
              <a:gd name="connsiteY3" fmla="*/ 6594991 h 6858000"/>
              <a:gd name="connsiteX4" fmla="*/ 8415584 w 9144000"/>
              <a:gd name="connsiteY4" fmla="*/ 6608203 h 6858000"/>
              <a:gd name="connsiteX5" fmla="*/ 8413646 w 9144000"/>
              <a:gd name="connsiteY5" fmla="*/ 6621274 h 6858000"/>
              <a:gd name="connsiteX6" fmla="*/ 8407947 w 9144000"/>
              <a:gd name="connsiteY6" fmla="*/ 6631669 h 6858000"/>
              <a:gd name="connsiteX7" fmla="*/ 8375887 w 9144000"/>
              <a:gd name="connsiteY7" fmla="*/ 6638514 h 6858000"/>
              <a:gd name="connsiteX8" fmla="*/ 8366910 w 9144000"/>
              <a:gd name="connsiteY8" fmla="*/ 6631669 h 6858000"/>
              <a:gd name="connsiteX9" fmla="*/ 8361211 w 9144000"/>
              <a:gd name="connsiteY9" fmla="*/ 6621274 h 6858000"/>
              <a:gd name="connsiteX10" fmla="*/ 8359045 w 9144000"/>
              <a:gd name="connsiteY10" fmla="*/ 6608203 h 6858000"/>
              <a:gd name="connsiteX11" fmla="*/ 8361097 w 9144000"/>
              <a:gd name="connsiteY11" fmla="*/ 6594991 h 6858000"/>
              <a:gd name="connsiteX12" fmla="*/ 8366796 w 9144000"/>
              <a:gd name="connsiteY12" fmla="*/ 6584666 h 6858000"/>
              <a:gd name="connsiteX13" fmla="*/ 8381735 w 9144000"/>
              <a:gd name="connsiteY13" fmla="*/ 6576022 h 6858000"/>
              <a:gd name="connsiteX14" fmla="*/ 8525633 w 9144000"/>
              <a:gd name="connsiteY14" fmla="*/ 6553486 h 6858000"/>
              <a:gd name="connsiteX15" fmla="*/ 8525633 w 9144000"/>
              <a:gd name="connsiteY15" fmla="*/ 6599432 h 6858000"/>
              <a:gd name="connsiteX16" fmla="*/ 8525633 w 9144000"/>
              <a:gd name="connsiteY16" fmla="*/ 6662773 h 6858000"/>
              <a:gd name="connsiteX17" fmla="*/ 8595623 w 9144000"/>
              <a:gd name="connsiteY17" fmla="*/ 6662773 h 6858000"/>
              <a:gd name="connsiteX18" fmla="*/ 8596022 w 9144000"/>
              <a:gd name="connsiteY18" fmla="*/ 6662773 h 6858000"/>
              <a:gd name="connsiteX19" fmla="*/ 8596022 w 9144000"/>
              <a:gd name="connsiteY19" fmla="*/ 6645772 h 6858000"/>
              <a:gd name="connsiteX20" fmla="*/ 8595623 w 9144000"/>
              <a:gd name="connsiteY20" fmla="*/ 6645772 h 6858000"/>
              <a:gd name="connsiteX21" fmla="*/ 8595623 w 9144000"/>
              <a:gd name="connsiteY21" fmla="*/ 6639674 h 6858000"/>
              <a:gd name="connsiteX22" fmla="*/ 8551295 w 9144000"/>
              <a:gd name="connsiteY22" fmla="*/ 6639674 h 6858000"/>
              <a:gd name="connsiteX23" fmla="*/ 8551295 w 9144000"/>
              <a:gd name="connsiteY23" fmla="*/ 6618349 h 6858000"/>
              <a:gd name="connsiteX24" fmla="*/ 8591705 w 9144000"/>
              <a:gd name="connsiteY24" fmla="*/ 6618349 h 6858000"/>
              <a:gd name="connsiteX25" fmla="*/ 8591705 w 9144000"/>
              <a:gd name="connsiteY25" fmla="*/ 6596277 h 6858000"/>
              <a:gd name="connsiteX26" fmla="*/ 8551295 w 9144000"/>
              <a:gd name="connsiteY26" fmla="*/ 6596277 h 6858000"/>
              <a:gd name="connsiteX27" fmla="*/ 8551295 w 9144000"/>
              <a:gd name="connsiteY27" fmla="*/ 6576755 h 6858000"/>
              <a:gd name="connsiteX28" fmla="*/ 8595623 w 9144000"/>
              <a:gd name="connsiteY28" fmla="*/ 6576755 h 6858000"/>
              <a:gd name="connsiteX29" fmla="*/ 8595623 w 9144000"/>
              <a:gd name="connsiteY29" fmla="*/ 6570487 h 6858000"/>
              <a:gd name="connsiteX30" fmla="*/ 8596022 w 9144000"/>
              <a:gd name="connsiteY30" fmla="*/ 6570487 h 6858000"/>
              <a:gd name="connsiteX31" fmla="*/ 8596022 w 9144000"/>
              <a:gd name="connsiteY31" fmla="*/ 6553486 h 6858000"/>
              <a:gd name="connsiteX32" fmla="*/ 8595623 w 9144000"/>
              <a:gd name="connsiteY32" fmla="*/ 6553486 h 6858000"/>
              <a:gd name="connsiteX33" fmla="*/ 8547362 w 9144000"/>
              <a:gd name="connsiteY33" fmla="*/ 6553486 h 6858000"/>
              <a:gd name="connsiteX34" fmla="*/ 8448177 w 9144000"/>
              <a:gd name="connsiteY34" fmla="*/ 6553486 h 6858000"/>
              <a:gd name="connsiteX35" fmla="*/ 8448177 w 9144000"/>
              <a:gd name="connsiteY35" fmla="*/ 6599432 h 6858000"/>
              <a:gd name="connsiteX36" fmla="*/ 8448177 w 9144000"/>
              <a:gd name="connsiteY36" fmla="*/ 6662773 h 6858000"/>
              <a:gd name="connsiteX37" fmla="*/ 8518167 w 9144000"/>
              <a:gd name="connsiteY37" fmla="*/ 6662773 h 6858000"/>
              <a:gd name="connsiteX38" fmla="*/ 8518552 w 9144000"/>
              <a:gd name="connsiteY38" fmla="*/ 6662773 h 6858000"/>
              <a:gd name="connsiteX39" fmla="*/ 8518552 w 9144000"/>
              <a:gd name="connsiteY39" fmla="*/ 6645772 h 6858000"/>
              <a:gd name="connsiteX40" fmla="*/ 8518167 w 9144000"/>
              <a:gd name="connsiteY40" fmla="*/ 6645772 h 6858000"/>
              <a:gd name="connsiteX41" fmla="*/ 8518167 w 9144000"/>
              <a:gd name="connsiteY41" fmla="*/ 6639674 h 6858000"/>
              <a:gd name="connsiteX42" fmla="*/ 8473825 w 9144000"/>
              <a:gd name="connsiteY42" fmla="*/ 6639674 h 6858000"/>
              <a:gd name="connsiteX43" fmla="*/ 8473825 w 9144000"/>
              <a:gd name="connsiteY43" fmla="*/ 6618349 h 6858000"/>
              <a:gd name="connsiteX44" fmla="*/ 8514235 w 9144000"/>
              <a:gd name="connsiteY44" fmla="*/ 6618349 h 6858000"/>
              <a:gd name="connsiteX45" fmla="*/ 8514235 w 9144000"/>
              <a:gd name="connsiteY45" fmla="*/ 6596277 h 6858000"/>
              <a:gd name="connsiteX46" fmla="*/ 8473825 w 9144000"/>
              <a:gd name="connsiteY46" fmla="*/ 6596277 h 6858000"/>
              <a:gd name="connsiteX47" fmla="*/ 8473825 w 9144000"/>
              <a:gd name="connsiteY47" fmla="*/ 6576755 h 6858000"/>
              <a:gd name="connsiteX48" fmla="*/ 8518167 w 9144000"/>
              <a:gd name="connsiteY48" fmla="*/ 6576755 h 6858000"/>
              <a:gd name="connsiteX49" fmla="*/ 8518167 w 9144000"/>
              <a:gd name="connsiteY49" fmla="*/ 6570487 h 6858000"/>
              <a:gd name="connsiteX50" fmla="*/ 8518552 w 9144000"/>
              <a:gd name="connsiteY50" fmla="*/ 6570487 h 6858000"/>
              <a:gd name="connsiteX51" fmla="*/ 8518552 w 9144000"/>
              <a:gd name="connsiteY51" fmla="*/ 6553486 h 6858000"/>
              <a:gd name="connsiteX52" fmla="*/ 8518167 w 9144000"/>
              <a:gd name="connsiteY52" fmla="*/ 6553486 h 6858000"/>
              <a:gd name="connsiteX53" fmla="*/ 8469892 w 9144000"/>
              <a:gd name="connsiteY53" fmla="*/ 6553486 h 6858000"/>
              <a:gd name="connsiteX54" fmla="*/ 8387913 w 9144000"/>
              <a:gd name="connsiteY54" fmla="*/ 6553453 h 6858000"/>
              <a:gd name="connsiteX55" fmla="*/ 8365286 w 9144000"/>
              <a:gd name="connsiteY55" fmla="*/ 6557679 h 6858000"/>
              <a:gd name="connsiteX56" fmla="*/ 8357150 w 9144000"/>
              <a:gd name="connsiteY56" fmla="*/ 6561806 h 6858000"/>
              <a:gd name="connsiteX57" fmla="*/ 8332784 w 9144000"/>
              <a:gd name="connsiteY57" fmla="*/ 6613372 h 6858000"/>
              <a:gd name="connsiteX58" fmla="*/ 8336389 w 9144000"/>
              <a:gd name="connsiteY58" fmla="*/ 6629852 h 6858000"/>
              <a:gd name="connsiteX59" fmla="*/ 8364431 w 9144000"/>
              <a:gd name="connsiteY59" fmla="*/ 6658585 h 6858000"/>
              <a:gd name="connsiteX60" fmla="*/ 8386916 w 9144000"/>
              <a:gd name="connsiteY60" fmla="*/ 6662811 h 6858000"/>
              <a:gd name="connsiteX61" fmla="*/ 8409486 w 9144000"/>
              <a:gd name="connsiteY61" fmla="*/ 6658585 h 6858000"/>
              <a:gd name="connsiteX62" fmla="*/ 8426926 w 9144000"/>
              <a:gd name="connsiteY62" fmla="*/ 6647106 h 6858000"/>
              <a:gd name="connsiteX63" fmla="*/ 8438240 w 9144000"/>
              <a:gd name="connsiteY63" fmla="*/ 6629852 h 6858000"/>
              <a:gd name="connsiteX64" fmla="*/ 8442258 w 9144000"/>
              <a:gd name="connsiteY64" fmla="*/ 6608203 h 6858000"/>
              <a:gd name="connsiteX65" fmla="*/ 8438397 w 9144000"/>
              <a:gd name="connsiteY65" fmla="*/ 6586469 h 6858000"/>
              <a:gd name="connsiteX66" fmla="*/ 8427439 w 9144000"/>
              <a:gd name="connsiteY66" fmla="*/ 6569158 h 6858000"/>
              <a:gd name="connsiteX67" fmla="*/ 8410341 w 9144000"/>
              <a:gd name="connsiteY67" fmla="*/ 6557679 h 6858000"/>
              <a:gd name="connsiteX68" fmla="*/ 8387913 w 9144000"/>
              <a:gd name="connsiteY68" fmla="*/ 6553453 h 6858000"/>
              <a:gd name="connsiteX69" fmla="*/ 8245203 w 9144000"/>
              <a:gd name="connsiteY69" fmla="*/ 6553106 h 6858000"/>
              <a:gd name="connsiteX70" fmla="*/ 8261546 w 9144000"/>
              <a:gd name="connsiteY70" fmla="*/ 6587178 h 6858000"/>
              <a:gd name="connsiteX71" fmla="*/ 8288505 w 9144000"/>
              <a:gd name="connsiteY71" fmla="*/ 6587178 h 6858000"/>
              <a:gd name="connsiteX72" fmla="*/ 8274156 w 9144000"/>
              <a:gd name="connsiteY72" fmla="*/ 6553106 h 6858000"/>
              <a:gd name="connsiteX73" fmla="*/ 8325053 w 9144000"/>
              <a:gd name="connsiteY73" fmla="*/ 6553092 h 6858000"/>
              <a:gd name="connsiteX74" fmla="*/ 8299363 w 9144000"/>
              <a:gd name="connsiteY74" fmla="*/ 6612222 h 6858000"/>
              <a:gd name="connsiteX75" fmla="*/ 8292395 w 9144000"/>
              <a:gd name="connsiteY75" fmla="*/ 6595883 h 6858000"/>
              <a:gd name="connsiteX76" fmla="*/ 8265650 w 9144000"/>
              <a:gd name="connsiteY76" fmla="*/ 6595883 h 6858000"/>
              <a:gd name="connsiteX77" fmla="*/ 8297582 w 9144000"/>
              <a:gd name="connsiteY77" fmla="*/ 6662548 h 6858000"/>
              <a:gd name="connsiteX78" fmla="*/ 8300545 w 9144000"/>
              <a:gd name="connsiteY78" fmla="*/ 6662548 h 6858000"/>
              <a:gd name="connsiteX79" fmla="*/ 8352283 w 9144000"/>
              <a:gd name="connsiteY79" fmla="*/ 6553092 h 6858000"/>
              <a:gd name="connsiteX80" fmla="*/ 8704282 w 9144000"/>
              <a:gd name="connsiteY80" fmla="*/ 6515554 h 6858000"/>
              <a:gd name="connsiteX81" fmla="*/ 8704282 w 9144000"/>
              <a:gd name="connsiteY81" fmla="*/ 6690482 h 6858000"/>
              <a:gd name="connsiteX82" fmla="*/ 8723671 w 9144000"/>
              <a:gd name="connsiteY82" fmla="*/ 6690482 h 6858000"/>
              <a:gd name="connsiteX83" fmla="*/ 8723671 w 9144000"/>
              <a:gd name="connsiteY83" fmla="*/ 6515554 h 6858000"/>
              <a:gd name="connsiteX84" fmla="*/ 0 w 9144000"/>
              <a:gd name="connsiteY84" fmla="*/ 0 h 6858000"/>
              <a:gd name="connsiteX85" fmla="*/ 9144000 w 9144000"/>
              <a:gd name="connsiteY85" fmla="*/ 0 h 6858000"/>
              <a:gd name="connsiteX86" fmla="*/ 9144000 w 9144000"/>
              <a:gd name="connsiteY86" fmla="*/ 6214681 h 6858000"/>
              <a:gd name="connsiteX87" fmla="*/ 9144000 w 9144000"/>
              <a:gd name="connsiteY87" fmla="*/ 6397151 h 6858000"/>
              <a:gd name="connsiteX88" fmla="*/ 9144000 w 9144000"/>
              <a:gd name="connsiteY88" fmla="*/ 6401792 h 6858000"/>
              <a:gd name="connsiteX89" fmla="*/ 9144000 w 9144000"/>
              <a:gd name="connsiteY89" fmla="*/ 6434962 h 6858000"/>
              <a:gd name="connsiteX90" fmla="*/ 9144000 w 9144000"/>
              <a:gd name="connsiteY90" fmla="*/ 6858000 h 6858000"/>
              <a:gd name="connsiteX91" fmla="*/ 8995529 w 9144000"/>
              <a:gd name="connsiteY91" fmla="*/ 6858000 h 6858000"/>
              <a:gd name="connsiteX92" fmla="*/ 7924718 w 9144000"/>
              <a:gd name="connsiteY92" fmla="*/ 6858000 h 6858000"/>
              <a:gd name="connsiteX93" fmla="*/ 0 w 9144000"/>
              <a:gd name="connsiteY93" fmla="*/ 6858000 h 6858000"/>
              <a:gd name="connsiteX94" fmla="*/ 0 w 9144000"/>
              <a:gd name="connsiteY94" fmla="*/ 6434962 h 6858000"/>
              <a:gd name="connsiteX95" fmla="*/ 0 w 9144000"/>
              <a:gd name="connsiteY95" fmla="*/ 6401792 h 6858000"/>
              <a:gd name="connsiteX96" fmla="*/ 0 w 9144000"/>
              <a:gd name="connsiteY96" fmla="*/ 6397151 h 6858000"/>
              <a:gd name="connsiteX97" fmla="*/ 0 w 9144000"/>
              <a:gd name="connsiteY97" fmla="*/ 62146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144000" h="6858000">
                <a:moveTo>
                  <a:pt x="8381735" y="6576022"/>
                </a:moveTo>
                <a:cubicBezTo>
                  <a:pt x="8387385" y="6574829"/>
                  <a:pt x="8393413" y="6575385"/>
                  <a:pt x="8398942" y="6577877"/>
                </a:cubicBezTo>
                <a:cubicBezTo>
                  <a:pt x="8402361" y="6579495"/>
                  <a:pt x="8405396" y="6581808"/>
                  <a:pt x="8407847" y="6584666"/>
                </a:cubicBezTo>
                <a:cubicBezTo>
                  <a:pt x="8410387" y="6587723"/>
                  <a:pt x="8412320" y="6591226"/>
                  <a:pt x="8413547" y="6594991"/>
                </a:cubicBezTo>
                <a:cubicBezTo>
                  <a:pt x="8414952" y="6599255"/>
                  <a:pt x="8415640" y="6603718"/>
                  <a:pt x="8415584" y="6608203"/>
                </a:cubicBezTo>
                <a:cubicBezTo>
                  <a:pt x="8415665" y="6612635"/>
                  <a:pt x="8415011" y="6617051"/>
                  <a:pt x="8413646" y="6621274"/>
                </a:cubicBezTo>
                <a:cubicBezTo>
                  <a:pt x="8412411" y="6625056"/>
                  <a:pt x="8410478" y="6628580"/>
                  <a:pt x="8407947" y="6631669"/>
                </a:cubicBezTo>
                <a:cubicBezTo>
                  <a:pt x="8399972" y="6640715"/>
                  <a:pt x="8386928" y="6643500"/>
                  <a:pt x="8375887" y="6638514"/>
                </a:cubicBezTo>
                <a:cubicBezTo>
                  <a:pt x="8372423" y="6636911"/>
                  <a:pt x="8369358" y="6634574"/>
                  <a:pt x="8366910" y="6631669"/>
                </a:cubicBezTo>
                <a:cubicBezTo>
                  <a:pt x="8364379" y="6628580"/>
                  <a:pt x="8362446" y="6625056"/>
                  <a:pt x="8361211" y="6621274"/>
                </a:cubicBezTo>
                <a:cubicBezTo>
                  <a:pt x="8359769" y="6617063"/>
                  <a:pt x="8359038" y="6612647"/>
                  <a:pt x="8359045" y="6608203"/>
                </a:cubicBezTo>
                <a:cubicBezTo>
                  <a:pt x="8358993" y="6603717"/>
                  <a:pt x="8359686" y="6599254"/>
                  <a:pt x="8361097" y="6594991"/>
                </a:cubicBezTo>
                <a:cubicBezTo>
                  <a:pt x="8362323" y="6591226"/>
                  <a:pt x="8364257" y="6587723"/>
                  <a:pt x="8366796" y="6584666"/>
                </a:cubicBezTo>
                <a:cubicBezTo>
                  <a:pt x="8370813" y="6580158"/>
                  <a:pt x="8376085" y="6577215"/>
                  <a:pt x="8381735" y="6576022"/>
                </a:cubicBezTo>
                <a:close/>
                <a:moveTo>
                  <a:pt x="8525633" y="6553486"/>
                </a:moveTo>
                <a:lnTo>
                  <a:pt x="8525633" y="6599432"/>
                </a:lnTo>
                <a:lnTo>
                  <a:pt x="8525633" y="6662773"/>
                </a:lnTo>
                <a:lnTo>
                  <a:pt x="8595623" y="6662773"/>
                </a:lnTo>
                <a:lnTo>
                  <a:pt x="8596022" y="6662773"/>
                </a:lnTo>
                <a:lnTo>
                  <a:pt x="8596022" y="6645772"/>
                </a:lnTo>
                <a:lnTo>
                  <a:pt x="8595623" y="6645772"/>
                </a:lnTo>
                <a:lnTo>
                  <a:pt x="8595623" y="6639674"/>
                </a:lnTo>
                <a:lnTo>
                  <a:pt x="8551295" y="6639674"/>
                </a:lnTo>
                <a:lnTo>
                  <a:pt x="8551295" y="6618349"/>
                </a:lnTo>
                <a:lnTo>
                  <a:pt x="8591705" y="6618349"/>
                </a:lnTo>
                <a:lnTo>
                  <a:pt x="8591705" y="6596277"/>
                </a:lnTo>
                <a:lnTo>
                  <a:pt x="8551295" y="6596277"/>
                </a:lnTo>
                <a:lnTo>
                  <a:pt x="8551295" y="6576755"/>
                </a:lnTo>
                <a:lnTo>
                  <a:pt x="8595623" y="6576755"/>
                </a:lnTo>
                <a:lnTo>
                  <a:pt x="8595623" y="6570487"/>
                </a:lnTo>
                <a:lnTo>
                  <a:pt x="8596022" y="6570487"/>
                </a:lnTo>
                <a:lnTo>
                  <a:pt x="8596022" y="6553486"/>
                </a:lnTo>
                <a:lnTo>
                  <a:pt x="8595623" y="6553486"/>
                </a:lnTo>
                <a:lnTo>
                  <a:pt x="8547362" y="6553486"/>
                </a:lnTo>
                <a:close/>
                <a:moveTo>
                  <a:pt x="8448177" y="6553486"/>
                </a:moveTo>
                <a:lnTo>
                  <a:pt x="8448177" y="6599432"/>
                </a:lnTo>
                <a:lnTo>
                  <a:pt x="8448177" y="6662773"/>
                </a:lnTo>
                <a:lnTo>
                  <a:pt x="8518167" y="6662773"/>
                </a:lnTo>
                <a:lnTo>
                  <a:pt x="8518552" y="6662773"/>
                </a:lnTo>
                <a:lnTo>
                  <a:pt x="8518552" y="6645772"/>
                </a:lnTo>
                <a:lnTo>
                  <a:pt x="8518167" y="6645772"/>
                </a:lnTo>
                <a:lnTo>
                  <a:pt x="8518167" y="6639674"/>
                </a:lnTo>
                <a:lnTo>
                  <a:pt x="8473825" y="6639674"/>
                </a:lnTo>
                <a:lnTo>
                  <a:pt x="8473825" y="6618349"/>
                </a:lnTo>
                <a:lnTo>
                  <a:pt x="8514235" y="6618349"/>
                </a:lnTo>
                <a:lnTo>
                  <a:pt x="8514235" y="6596277"/>
                </a:lnTo>
                <a:lnTo>
                  <a:pt x="8473825" y="6596277"/>
                </a:lnTo>
                <a:lnTo>
                  <a:pt x="8473825" y="6576755"/>
                </a:lnTo>
                <a:lnTo>
                  <a:pt x="8518167" y="6576755"/>
                </a:lnTo>
                <a:lnTo>
                  <a:pt x="8518167" y="6570487"/>
                </a:lnTo>
                <a:lnTo>
                  <a:pt x="8518552" y="6570487"/>
                </a:lnTo>
                <a:lnTo>
                  <a:pt x="8518552" y="6553486"/>
                </a:lnTo>
                <a:lnTo>
                  <a:pt x="8518167" y="6553486"/>
                </a:lnTo>
                <a:lnTo>
                  <a:pt x="8469892" y="6553486"/>
                </a:lnTo>
                <a:close/>
                <a:moveTo>
                  <a:pt x="8387913" y="6553453"/>
                </a:moveTo>
                <a:cubicBezTo>
                  <a:pt x="8380162" y="6553369"/>
                  <a:pt x="8372471" y="6554805"/>
                  <a:pt x="8365286" y="6557679"/>
                </a:cubicBezTo>
                <a:cubicBezTo>
                  <a:pt x="8362463" y="6558830"/>
                  <a:pt x="8359742" y="6560211"/>
                  <a:pt x="8357150" y="6561806"/>
                </a:cubicBezTo>
                <a:lnTo>
                  <a:pt x="8332784" y="6613372"/>
                </a:lnTo>
                <a:cubicBezTo>
                  <a:pt x="8333178" y="6619008"/>
                  <a:pt x="8334392" y="6624558"/>
                  <a:pt x="8336389" y="6629852"/>
                </a:cubicBezTo>
                <a:cubicBezTo>
                  <a:pt x="8341193" y="6642926"/>
                  <a:pt x="8351385" y="6653370"/>
                  <a:pt x="8364431" y="6658585"/>
                </a:cubicBezTo>
                <a:cubicBezTo>
                  <a:pt x="8371564" y="6661469"/>
                  <a:pt x="8379210" y="6662906"/>
                  <a:pt x="8386916" y="6662811"/>
                </a:cubicBezTo>
                <a:cubicBezTo>
                  <a:pt x="8394648" y="6662898"/>
                  <a:pt x="8402321" y="6661462"/>
                  <a:pt x="8409486" y="6658585"/>
                </a:cubicBezTo>
                <a:cubicBezTo>
                  <a:pt x="8416013" y="6655943"/>
                  <a:pt x="8421943" y="6652041"/>
                  <a:pt x="8426926" y="6647106"/>
                </a:cubicBezTo>
                <a:cubicBezTo>
                  <a:pt x="8431850" y="6642179"/>
                  <a:pt x="8435700" y="6636306"/>
                  <a:pt x="8438240" y="6629852"/>
                </a:cubicBezTo>
                <a:cubicBezTo>
                  <a:pt x="8440974" y="6622958"/>
                  <a:pt x="8442338" y="6615607"/>
                  <a:pt x="8442258" y="6608203"/>
                </a:cubicBezTo>
                <a:cubicBezTo>
                  <a:pt x="8442328" y="6600785"/>
                  <a:pt x="8441019" y="6593419"/>
                  <a:pt x="8438397" y="6586469"/>
                </a:cubicBezTo>
                <a:cubicBezTo>
                  <a:pt x="8435967" y="6580025"/>
                  <a:pt x="8432239" y="6574136"/>
                  <a:pt x="8427439" y="6569158"/>
                </a:cubicBezTo>
                <a:cubicBezTo>
                  <a:pt x="8422597" y="6564212"/>
                  <a:pt x="8416777" y="6560305"/>
                  <a:pt x="8410341" y="6557679"/>
                </a:cubicBezTo>
                <a:cubicBezTo>
                  <a:pt x="8403230" y="6554789"/>
                  <a:pt x="8395601" y="6553352"/>
                  <a:pt x="8387913" y="6553453"/>
                </a:cubicBezTo>
                <a:close/>
                <a:moveTo>
                  <a:pt x="8245203" y="6553106"/>
                </a:moveTo>
                <a:lnTo>
                  <a:pt x="8261546" y="6587178"/>
                </a:lnTo>
                <a:lnTo>
                  <a:pt x="8288505" y="6587178"/>
                </a:lnTo>
                <a:lnTo>
                  <a:pt x="8274156" y="6553106"/>
                </a:lnTo>
                <a:close/>
                <a:moveTo>
                  <a:pt x="8325053" y="6553092"/>
                </a:moveTo>
                <a:lnTo>
                  <a:pt x="8299363" y="6612222"/>
                </a:lnTo>
                <a:lnTo>
                  <a:pt x="8292395" y="6595883"/>
                </a:lnTo>
                <a:lnTo>
                  <a:pt x="8265650" y="6595883"/>
                </a:lnTo>
                <a:lnTo>
                  <a:pt x="8297582" y="6662548"/>
                </a:lnTo>
                <a:lnTo>
                  <a:pt x="8300545" y="6662548"/>
                </a:lnTo>
                <a:lnTo>
                  <a:pt x="8352283" y="6553092"/>
                </a:lnTo>
                <a:close/>
                <a:moveTo>
                  <a:pt x="8704282" y="6515554"/>
                </a:moveTo>
                <a:lnTo>
                  <a:pt x="8704282" y="6690482"/>
                </a:lnTo>
                <a:lnTo>
                  <a:pt x="8723671" y="6690482"/>
                </a:lnTo>
                <a:lnTo>
                  <a:pt x="8723671" y="6515554"/>
                </a:lnTo>
                <a:close/>
                <a:moveTo>
                  <a:pt x="0" y="0"/>
                </a:moveTo>
                <a:lnTo>
                  <a:pt x="9144000" y="0"/>
                </a:lnTo>
                <a:lnTo>
                  <a:pt x="9144000" y="6214681"/>
                </a:lnTo>
                <a:lnTo>
                  <a:pt x="9144000" y="6397151"/>
                </a:lnTo>
                <a:lnTo>
                  <a:pt x="9144000" y="6401792"/>
                </a:lnTo>
                <a:lnTo>
                  <a:pt x="9144000" y="6434962"/>
                </a:lnTo>
                <a:lnTo>
                  <a:pt x="9144000" y="6858000"/>
                </a:lnTo>
                <a:lnTo>
                  <a:pt x="8995529" y="6858000"/>
                </a:lnTo>
                <a:lnTo>
                  <a:pt x="7924718" y="6858000"/>
                </a:lnTo>
                <a:lnTo>
                  <a:pt x="0" y="6858000"/>
                </a:lnTo>
                <a:lnTo>
                  <a:pt x="0" y="6434962"/>
                </a:lnTo>
                <a:lnTo>
                  <a:pt x="0" y="6401792"/>
                </a:lnTo>
                <a:lnTo>
                  <a:pt x="0" y="6397151"/>
                </a:lnTo>
                <a:lnTo>
                  <a:pt x="0" y="6214681"/>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 Drag image onto slide to add photo </a:t>
            </a:r>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2" y="1"/>
            <a:ext cx="9622695"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gradFill>
            <a:gsLst>
              <a:gs pos="13000">
                <a:schemeClr val="accent1"/>
              </a:gs>
              <a:gs pos="97000">
                <a:schemeClr val="accent1">
                  <a:alpha val="80000"/>
                </a:schemeClr>
              </a:gs>
            </a:gsLst>
            <a:lin ang="5400000" scaled="0"/>
          </a:gradFill>
          <a:ln>
            <a:solidFill>
              <a:srgbClr val="003865">
                <a:shade val="50000"/>
                <a:alpha val="0"/>
              </a:srgbClr>
            </a:solidFill>
          </a:ln>
        </p:spPr>
        <p:txBody>
          <a:bodyPr wrap="square" lIns="432000" tIns="0" rIns="2160000" bIns="0" anchor="ctr">
            <a:noAutofit/>
          </a:bodyPr>
          <a:lstStyle>
            <a:lvl1pPr marL="20638" indent="0">
              <a:spcAft>
                <a:spcPts val="300"/>
              </a:spcAft>
              <a:buNone/>
              <a:tabLst/>
              <a:defRPr sz="66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dirty="0"/>
              <a:t>Q&amp;A message</a:t>
            </a:r>
          </a:p>
          <a:p>
            <a:pPr lvl="1"/>
            <a:r>
              <a:rPr lang="en-US" dirty="0"/>
              <a:t>Second level</a:t>
            </a:r>
          </a:p>
        </p:txBody>
      </p:sp>
      <p:grpSp>
        <p:nvGrpSpPr>
          <p:cNvPr id="16" name="Group 15">
            <a:extLst>
              <a:ext uri="{FF2B5EF4-FFF2-40B4-BE49-F238E27FC236}">
                <a16:creationId xmlns:a16="http://schemas.microsoft.com/office/drawing/2014/main" id="{50A982D0-E4B8-1041-813F-BDDC3436A88D}"/>
              </a:ext>
            </a:extLst>
          </p:cNvPr>
          <p:cNvGrpSpPr/>
          <p:nvPr userDrawn="1"/>
        </p:nvGrpSpPr>
        <p:grpSpPr>
          <a:xfrm>
            <a:off x="-342618" y="2429705"/>
            <a:ext cx="335281" cy="1998593"/>
            <a:chOff x="-256404" y="360363"/>
            <a:chExt cx="251461" cy="692152"/>
          </a:xfrm>
        </p:grpSpPr>
        <p:grpSp>
          <p:nvGrpSpPr>
            <p:cNvPr id="17" name="Group 16">
              <a:extLst>
                <a:ext uri="{FF2B5EF4-FFF2-40B4-BE49-F238E27FC236}">
                  <a16:creationId xmlns:a16="http://schemas.microsoft.com/office/drawing/2014/main" id="{C83CFF79-5962-9D49-8E42-F2AF4C267204}"/>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A6F525C6-8B46-4140-AF00-48FB794ECBC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04655F-D15F-D843-AA38-CAA6FDF115A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43ACDE28-DF49-C14A-B556-C3FBEB96DDE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18" name="TextBox 17">
              <a:extLst>
                <a:ext uri="{FF2B5EF4-FFF2-40B4-BE49-F238E27FC236}">
                  <a16:creationId xmlns:a16="http://schemas.microsoft.com/office/drawing/2014/main" id="{509205E5-0F35-EB40-8B2F-8E547892AACD}"/>
                </a:ext>
              </a:extLst>
            </p:cNvPr>
            <p:cNvSpPr txBox="1"/>
            <p:nvPr userDrawn="1"/>
          </p:nvSpPr>
          <p:spPr>
            <a:xfrm rot="16200000">
              <a:off x="-244472" y="662666"/>
              <a:ext cx="227612" cy="8079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Q&amp;A MESSAGE</a:t>
              </a:r>
            </a:p>
          </p:txBody>
        </p:sp>
      </p:grpSp>
      <p:grpSp>
        <p:nvGrpSpPr>
          <p:cNvPr id="12" name="Group 11">
            <a:extLst>
              <a:ext uri="{FF2B5EF4-FFF2-40B4-BE49-F238E27FC236}">
                <a16:creationId xmlns:a16="http://schemas.microsoft.com/office/drawing/2014/main" id="{A18A15BD-A596-E247-85A4-DD939638C5D3}"/>
              </a:ext>
            </a:extLst>
          </p:cNvPr>
          <p:cNvGrpSpPr/>
          <p:nvPr userDrawn="1"/>
        </p:nvGrpSpPr>
        <p:grpSpPr>
          <a:xfrm>
            <a:off x="12532244" y="0"/>
            <a:ext cx="3948953" cy="8293166"/>
            <a:chOff x="9399182" y="0"/>
            <a:chExt cx="2961715" cy="8293166"/>
          </a:xfrm>
        </p:grpSpPr>
        <p:sp>
          <p:nvSpPr>
            <p:cNvPr id="24" name="Rectangle 23">
              <a:extLst>
                <a:ext uri="{FF2B5EF4-FFF2-40B4-BE49-F238E27FC236}">
                  <a16:creationId xmlns:a16="http://schemas.microsoft.com/office/drawing/2014/main" id="{3484143C-DF42-9845-8B4E-6EE9192D37DA}"/>
                </a:ext>
              </a:extLst>
            </p:cNvPr>
            <p:cNvSpPr/>
            <p:nvPr userDrawn="1"/>
          </p:nvSpPr>
          <p:spPr>
            <a:xfrm>
              <a:off x="9399182" y="0"/>
              <a:ext cx="2798651" cy="812636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68" name="Picture 67">
              <a:extLst>
                <a:ext uri="{FF2B5EF4-FFF2-40B4-BE49-F238E27FC236}">
                  <a16:creationId xmlns:a16="http://schemas.microsoft.com/office/drawing/2014/main" id="{DC6F3D09-77E6-DD4A-B8C1-57D3B5AF8511}"/>
                </a:ext>
              </a:extLst>
            </p:cNvPr>
            <p:cNvPicPr>
              <a:picLocks noChangeAspect="1"/>
            </p:cNvPicPr>
            <p:nvPr userDrawn="1"/>
          </p:nvPicPr>
          <p:blipFill rotWithShape="1">
            <a:blip r:embed="rId2"/>
            <a:srcRect r="31332"/>
            <a:stretch/>
          </p:blipFill>
          <p:spPr>
            <a:xfrm>
              <a:off x="9558506" y="1334591"/>
              <a:ext cx="2639325" cy="793238"/>
            </a:xfrm>
            <a:prstGeom prst="rect">
              <a:avLst/>
            </a:prstGeom>
          </p:spPr>
        </p:pic>
        <p:sp>
          <p:nvSpPr>
            <p:cNvPr id="57" name="Rectangle 56">
              <a:extLst>
                <a:ext uri="{FF2B5EF4-FFF2-40B4-BE49-F238E27FC236}">
                  <a16:creationId xmlns:a16="http://schemas.microsoft.com/office/drawing/2014/main" id="{6FAA681A-5A01-3546-8044-1C8ECB661A3E}"/>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8" name="TextBox 57">
              <a:extLst>
                <a:ext uri="{FF2B5EF4-FFF2-40B4-BE49-F238E27FC236}">
                  <a16:creationId xmlns:a16="http://schemas.microsoft.com/office/drawing/2014/main" id="{94D0CDE4-38A0-8B46-802A-EFEB782422E0}"/>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9" name="Picture 58">
              <a:extLst>
                <a:ext uri="{FF2B5EF4-FFF2-40B4-BE49-F238E27FC236}">
                  <a16:creationId xmlns:a16="http://schemas.microsoft.com/office/drawing/2014/main" id="{F1F33519-662F-9A45-B84A-EC851E121091}"/>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grpSp>
          <p:nvGrpSpPr>
            <p:cNvPr id="6" name="Group 5">
              <a:extLst>
                <a:ext uri="{FF2B5EF4-FFF2-40B4-BE49-F238E27FC236}">
                  <a16:creationId xmlns:a16="http://schemas.microsoft.com/office/drawing/2014/main" id="{991FADFC-F7F0-CE43-B65A-8A3CF7063BA7}"/>
                </a:ext>
              </a:extLst>
            </p:cNvPr>
            <p:cNvGrpSpPr/>
            <p:nvPr userDrawn="1"/>
          </p:nvGrpSpPr>
          <p:grpSpPr>
            <a:xfrm>
              <a:off x="9521833" y="2279341"/>
              <a:ext cx="2754815" cy="6013825"/>
              <a:chOff x="9521833" y="2429703"/>
              <a:chExt cx="2754815" cy="6013825"/>
            </a:xfrm>
          </p:grpSpPr>
          <p:sp>
            <p:nvSpPr>
              <p:cNvPr id="25" name="TextBox 24">
                <a:extLst>
                  <a:ext uri="{FF2B5EF4-FFF2-40B4-BE49-F238E27FC236}">
                    <a16:creationId xmlns:a16="http://schemas.microsoft.com/office/drawing/2014/main" id="{50000E5F-473E-B14E-9172-0C267CD0D2E3}"/>
                  </a:ext>
                </a:extLst>
              </p:cNvPr>
              <p:cNvSpPr txBox="1"/>
              <p:nvPr userDrawn="1"/>
            </p:nvSpPr>
            <p:spPr>
              <a:xfrm>
                <a:off x="9558507" y="2429703"/>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26" name="Straight Connector 25">
                <a:extLst>
                  <a:ext uri="{FF2B5EF4-FFF2-40B4-BE49-F238E27FC236}">
                    <a16:creationId xmlns:a16="http://schemas.microsoft.com/office/drawing/2014/main" id="{4E62F4DD-8AD3-2F43-B8DF-8C54ABD90DFD}"/>
                  </a:ext>
                </a:extLst>
              </p:cNvPr>
              <p:cNvCxnSpPr>
                <a:cxnSpLocks/>
              </p:cNvCxnSpPr>
              <p:nvPr userDrawn="1"/>
            </p:nvCxnSpPr>
            <p:spPr>
              <a:xfrm>
                <a:off x="9558507" y="263232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C363D809-5FFE-3D42-B068-23D851F092D9}"/>
                  </a:ext>
                </a:extLst>
              </p:cNvPr>
              <p:cNvSpPr txBox="1"/>
              <p:nvPr userDrawn="1"/>
            </p:nvSpPr>
            <p:spPr>
              <a:xfrm>
                <a:off x="9686426" y="349063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sp>
            <p:nvSpPr>
              <p:cNvPr id="51" name="Rectangle 50">
                <a:extLst>
                  <a:ext uri="{FF2B5EF4-FFF2-40B4-BE49-F238E27FC236}">
                    <a16:creationId xmlns:a16="http://schemas.microsoft.com/office/drawing/2014/main" id="{AB47AC43-F715-C242-B27E-A04E6F462262}"/>
                  </a:ext>
                </a:extLst>
              </p:cNvPr>
              <p:cNvSpPr/>
              <p:nvPr userDrawn="1"/>
            </p:nvSpPr>
            <p:spPr>
              <a:xfrm>
                <a:off x="9541497" y="7032213"/>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2" name="TextBox 51">
                <a:extLst>
                  <a:ext uri="{FF2B5EF4-FFF2-40B4-BE49-F238E27FC236}">
                    <a16:creationId xmlns:a16="http://schemas.microsoft.com/office/drawing/2014/main" id="{148CB54C-821A-5D43-9B80-B00746C05FDA}"/>
                  </a:ext>
                </a:extLst>
              </p:cNvPr>
              <p:cNvSpPr txBox="1"/>
              <p:nvPr userDrawn="1"/>
            </p:nvSpPr>
            <p:spPr>
              <a:xfrm>
                <a:off x="9907688" y="716101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3" name="Graphic 52">
                <a:extLst>
                  <a:ext uri="{FF2B5EF4-FFF2-40B4-BE49-F238E27FC236}">
                    <a16:creationId xmlns:a16="http://schemas.microsoft.com/office/drawing/2014/main" id="{2504B4CD-2C7F-1246-A54A-8E3EBAAD534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171296"/>
                <a:ext cx="155227" cy="155227"/>
              </a:xfrm>
              <a:prstGeom prst="rect">
                <a:avLst/>
              </a:prstGeom>
            </p:spPr>
          </p:pic>
          <p:sp>
            <p:nvSpPr>
              <p:cNvPr id="54" name="TextBox 53">
                <a:extLst>
                  <a:ext uri="{FF2B5EF4-FFF2-40B4-BE49-F238E27FC236}">
                    <a16:creationId xmlns:a16="http://schemas.microsoft.com/office/drawing/2014/main" id="{62BFE2AB-0056-4F46-9E47-AE686B26A8F3}"/>
                  </a:ext>
                </a:extLst>
              </p:cNvPr>
              <p:cNvSpPr txBox="1"/>
              <p:nvPr userDrawn="1"/>
            </p:nvSpPr>
            <p:spPr>
              <a:xfrm>
                <a:off x="9716735" y="7740996"/>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5" name="TextBox 54">
                <a:extLst>
                  <a:ext uri="{FF2B5EF4-FFF2-40B4-BE49-F238E27FC236}">
                    <a16:creationId xmlns:a16="http://schemas.microsoft.com/office/drawing/2014/main" id="{89249B47-877A-7F4B-81CF-E1915A134B07}"/>
                  </a:ext>
                </a:extLst>
              </p:cNvPr>
              <p:cNvSpPr txBox="1"/>
              <p:nvPr userDrawn="1"/>
            </p:nvSpPr>
            <p:spPr>
              <a:xfrm>
                <a:off x="9716735" y="742215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6" name="TextBox 55">
                <a:extLst>
                  <a:ext uri="{FF2B5EF4-FFF2-40B4-BE49-F238E27FC236}">
                    <a16:creationId xmlns:a16="http://schemas.microsoft.com/office/drawing/2014/main" id="{25B3D92B-ADE7-4F4A-97DB-1DFE94A4713A}"/>
                  </a:ext>
                </a:extLst>
              </p:cNvPr>
              <p:cNvSpPr txBox="1"/>
              <p:nvPr userDrawn="1"/>
            </p:nvSpPr>
            <p:spPr>
              <a:xfrm>
                <a:off x="9716735" y="8190673"/>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44" name="Rectangle 43">
                <a:extLst>
                  <a:ext uri="{FF2B5EF4-FFF2-40B4-BE49-F238E27FC236}">
                    <a16:creationId xmlns:a16="http://schemas.microsoft.com/office/drawing/2014/main" id="{27DA6595-306D-0A4B-AE99-BA22D473E46C}"/>
                  </a:ext>
                </a:extLst>
              </p:cNvPr>
              <p:cNvSpPr/>
              <p:nvPr userDrawn="1"/>
            </p:nvSpPr>
            <p:spPr>
              <a:xfrm>
                <a:off x="9541497" y="5675557"/>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5" name="TextBox 44">
                <a:extLst>
                  <a:ext uri="{FF2B5EF4-FFF2-40B4-BE49-F238E27FC236}">
                    <a16:creationId xmlns:a16="http://schemas.microsoft.com/office/drawing/2014/main" id="{EF7C1405-EF07-DF44-B3F2-FD2C93E0BA8B}"/>
                  </a:ext>
                </a:extLst>
              </p:cNvPr>
              <p:cNvSpPr txBox="1"/>
              <p:nvPr userDrawn="1"/>
            </p:nvSpPr>
            <p:spPr>
              <a:xfrm>
                <a:off x="9907688" y="580435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6" name="Graphic 45">
                <a:extLst>
                  <a:ext uri="{FF2B5EF4-FFF2-40B4-BE49-F238E27FC236}">
                    <a16:creationId xmlns:a16="http://schemas.microsoft.com/office/drawing/2014/main" id="{98B75E83-A291-C749-8530-D0134288939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814639"/>
                <a:ext cx="155227" cy="155227"/>
              </a:xfrm>
              <a:prstGeom prst="rect">
                <a:avLst/>
              </a:prstGeom>
            </p:spPr>
          </p:pic>
          <p:sp>
            <p:nvSpPr>
              <p:cNvPr id="47" name="TextBox 46">
                <a:extLst>
                  <a:ext uri="{FF2B5EF4-FFF2-40B4-BE49-F238E27FC236}">
                    <a16:creationId xmlns:a16="http://schemas.microsoft.com/office/drawing/2014/main" id="{49043FBC-99A8-904D-B1DC-ED8D203DAF7E}"/>
                  </a:ext>
                </a:extLst>
              </p:cNvPr>
              <p:cNvSpPr txBox="1"/>
              <p:nvPr userDrawn="1"/>
            </p:nvSpPr>
            <p:spPr>
              <a:xfrm>
                <a:off x="9701720" y="6068540"/>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8" name="Picture 47">
                <a:extLst>
                  <a:ext uri="{FF2B5EF4-FFF2-40B4-BE49-F238E27FC236}">
                    <a16:creationId xmlns:a16="http://schemas.microsoft.com/office/drawing/2014/main" id="{94798B0E-910D-4A4C-9F6F-4AAF72D24DFC}"/>
                  </a:ext>
                </a:extLst>
              </p:cNvPr>
              <p:cNvPicPr>
                <a:picLocks noChangeAspect="1"/>
              </p:cNvPicPr>
              <p:nvPr userDrawn="1"/>
            </p:nvPicPr>
            <p:blipFill rotWithShape="1">
              <a:blip r:embed="rId6"/>
              <a:srcRect l="33684" t="12097" r="43371" b="20368"/>
              <a:stretch/>
            </p:blipFill>
            <p:spPr>
              <a:xfrm>
                <a:off x="11498723" y="6152973"/>
                <a:ext cx="136897" cy="213643"/>
              </a:xfrm>
              <a:prstGeom prst="rect">
                <a:avLst/>
              </a:prstGeom>
              <a:ln w="19050">
                <a:solidFill>
                  <a:schemeClr val="accent3">
                    <a:lumMod val="60000"/>
                    <a:lumOff val="40000"/>
                  </a:schemeClr>
                </a:solidFill>
              </a:ln>
            </p:spPr>
          </p:pic>
          <p:sp>
            <p:nvSpPr>
              <p:cNvPr id="41" name="TextBox 40">
                <a:extLst>
                  <a:ext uri="{FF2B5EF4-FFF2-40B4-BE49-F238E27FC236}">
                    <a16:creationId xmlns:a16="http://schemas.microsoft.com/office/drawing/2014/main" id="{52BC29DD-C20C-EA42-8872-8414ACCDD374}"/>
                  </a:ext>
                </a:extLst>
              </p:cNvPr>
              <p:cNvSpPr txBox="1">
                <a:spLocks noChangeAspect="1"/>
              </p:cNvSpPr>
              <p:nvPr/>
            </p:nvSpPr>
            <p:spPr>
              <a:xfrm>
                <a:off x="9521833" y="27798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2" name="TextBox 41">
                <a:extLst>
                  <a:ext uri="{FF2B5EF4-FFF2-40B4-BE49-F238E27FC236}">
                    <a16:creationId xmlns:a16="http://schemas.microsoft.com/office/drawing/2014/main" id="{95A41E19-A5FB-2D4D-8D95-130C7BA64B44}"/>
                  </a:ext>
                </a:extLst>
              </p:cNvPr>
              <p:cNvSpPr txBox="1">
                <a:spLocks noChangeAspect="1"/>
              </p:cNvSpPr>
              <p:nvPr/>
            </p:nvSpPr>
            <p:spPr>
              <a:xfrm>
                <a:off x="9521833" y="327540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3" name="TextBox 42">
                <a:extLst>
                  <a:ext uri="{FF2B5EF4-FFF2-40B4-BE49-F238E27FC236}">
                    <a16:creationId xmlns:a16="http://schemas.microsoft.com/office/drawing/2014/main" id="{B4A2419C-7501-4D49-A0B2-08128721E5B0}"/>
                  </a:ext>
                </a:extLst>
              </p:cNvPr>
              <p:cNvSpPr txBox="1"/>
              <p:nvPr userDrawn="1"/>
            </p:nvSpPr>
            <p:spPr>
              <a:xfrm>
                <a:off x="9686426" y="2754823"/>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sp>
            <p:nvSpPr>
              <p:cNvPr id="33" name="TextBox 32">
                <a:extLst>
                  <a:ext uri="{FF2B5EF4-FFF2-40B4-BE49-F238E27FC236}">
                    <a16:creationId xmlns:a16="http://schemas.microsoft.com/office/drawing/2014/main" id="{5506C958-AF2C-9943-9FB4-E2A3C7843CB1}"/>
                  </a:ext>
                </a:extLst>
              </p:cNvPr>
              <p:cNvSpPr txBox="1"/>
              <p:nvPr userDrawn="1"/>
            </p:nvSpPr>
            <p:spPr>
              <a:xfrm>
                <a:off x="9674267" y="3773935"/>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4" name="TextBox 33">
                <a:extLst>
                  <a:ext uri="{FF2B5EF4-FFF2-40B4-BE49-F238E27FC236}">
                    <a16:creationId xmlns:a16="http://schemas.microsoft.com/office/drawing/2014/main" id="{C706E14D-CD4C-A845-9F04-15216A850EFD}"/>
                  </a:ext>
                </a:extLst>
              </p:cNvPr>
              <p:cNvSpPr txBox="1"/>
              <p:nvPr userDrawn="1"/>
            </p:nvSpPr>
            <p:spPr>
              <a:xfrm>
                <a:off x="9686426" y="418919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 </a:t>
                </a:r>
              </a:p>
              <a:p>
                <a:pPr lvl="1">
                  <a:buNone/>
                </a:pPr>
                <a:r>
                  <a:rPr lang="en-US" sz="1050" dirty="0"/>
                  <a:t>Right-click or use keyboard shortcuts to paste the image.</a:t>
                </a:r>
              </a:p>
            </p:txBody>
          </p:sp>
          <p:sp>
            <p:nvSpPr>
              <p:cNvPr id="35" name="TextBox 34">
                <a:extLst>
                  <a:ext uri="{FF2B5EF4-FFF2-40B4-BE49-F238E27FC236}">
                    <a16:creationId xmlns:a16="http://schemas.microsoft.com/office/drawing/2014/main" id="{781F2FB8-3E34-904B-A499-11E8E7059B83}"/>
                  </a:ext>
                </a:extLst>
              </p:cNvPr>
              <p:cNvSpPr txBox="1"/>
              <p:nvPr userDrawn="1"/>
            </p:nvSpPr>
            <p:spPr>
              <a:xfrm>
                <a:off x="9686426" y="490928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36" name="TextBox 35">
                <a:extLst>
                  <a:ext uri="{FF2B5EF4-FFF2-40B4-BE49-F238E27FC236}">
                    <a16:creationId xmlns:a16="http://schemas.microsoft.com/office/drawing/2014/main" id="{E470A557-B8E0-3A45-9AF0-EA49D8E444DD}"/>
                  </a:ext>
                </a:extLst>
              </p:cNvPr>
              <p:cNvSpPr txBox="1"/>
              <p:nvPr userDrawn="1"/>
            </p:nvSpPr>
            <p:spPr>
              <a:xfrm>
                <a:off x="9674267" y="5339845"/>
                <a:ext cx="2374733"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 </a:t>
                </a:r>
                <a:br>
                  <a:rPr lang="en-US" sz="700" dirty="0"/>
                </a:br>
                <a:r>
                  <a:rPr lang="en-US" sz="700" dirty="0"/>
                  <a:t>In this case use one of the other methods.</a:t>
                </a:r>
              </a:p>
            </p:txBody>
          </p:sp>
        </p:grpSp>
        <p:sp>
          <p:nvSpPr>
            <p:cNvPr id="39" name="TextBox 38">
              <a:extLst>
                <a:ext uri="{FF2B5EF4-FFF2-40B4-BE49-F238E27FC236}">
                  <a16:creationId xmlns:a16="http://schemas.microsoft.com/office/drawing/2014/main" id="{E6CC4D87-33F0-FC4F-BA5B-B1A92EB4BE71}"/>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40" name="Straight Connector 39">
              <a:extLst>
                <a:ext uri="{FF2B5EF4-FFF2-40B4-BE49-F238E27FC236}">
                  <a16:creationId xmlns:a16="http://schemas.microsoft.com/office/drawing/2014/main" id="{E1268B1E-F62E-304A-B81F-61E2F75FA67E}"/>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60" name="Text Placeholder 21">
            <a:extLst>
              <a:ext uri="{FF2B5EF4-FFF2-40B4-BE49-F238E27FC236}">
                <a16:creationId xmlns:a16="http://schemas.microsoft.com/office/drawing/2014/main" id="{AE87001B-4793-B648-AA15-C4839E720D70}"/>
              </a:ext>
            </a:extLst>
          </p:cNvPr>
          <p:cNvSpPr>
            <a:spLocks noGrp="1"/>
          </p:cNvSpPr>
          <p:nvPr userDrawn="1">
            <p:ph type="body" sz="quarter" idx="14" hasCustomPrompt="1"/>
          </p:nvPr>
        </p:nvSpPr>
        <p:spPr>
          <a:xfrm>
            <a:off x="9812449" y="6200776"/>
            <a:ext cx="1791763"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2" name="Date Placeholder 1">
            <a:extLst>
              <a:ext uri="{FF2B5EF4-FFF2-40B4-BE49-F238E27FC236}">
                <a16:creationId xmlns:a16="http://schemas.microsoft.com/office/drawing/2014/main" id="{639E4D18-9C18-1044-90FB-55BA101FB9A6}"/>
              </a:ext>
            </a:extLst>
          </p:cNvPr>
          <p:cNvSpPr>
            <a:spLocks noGrp="1"/>
          </p:cNvSpPr>
          <p:nvPr userDrawn="1">
            <p:ph type="dt" sz="half" idx="16"/>
          </p:nvPr>
        </p:nvSpPr>
        <p:spPr/>
        <p:txBody>
          <a:bodyPr/>
          <a:lstStyle/>
          <a:p>
            <a:endParaRPr lang="en-US" dirty="0"/>
          </a:p>
        </p:txBody>
      </p:sp>
      <p:sp>
        <p:nvSpPr>
          <p:cNvPr id="4" name="Footer Placeholder 3">
            <a:extLst>
              <a:ext uri="{FF2B5EF4-FFF2-40B4-BE49-F238E27FC236}">
                <a16:creationId xmlns:a16="http://schemas.microsoft.com/office/drawing/2014/main" id="{9A6F3FDB-CFE4-E643-8F66-62F5B43DC7E7}"/>
              </a:ext>
            </a:extLst>
          </p:cNvPr>
          <p:cNvSpPr>
            <a:spLocks noGrp="1"/>
          </p:cNvSpPr>
          <p:nvPr userDrawn="1">
            <p:ph type="ftr" sz="quarter" idx="17"/>
          </p:nvPr>
        </p:nvSpPr>
        <p:spPr/>
        <p:txBody>
          <a:bodyPr/>
          <a:lstStyle/>
          <a:p>
            <a:endParaRPr lang="en-US" dirty="0"/>
          </a:p>
        </p:txBody>
      </p:sp>
      <p:sp>
        <p:nvSpPr>
          <p:cNvPr id="5" name="Slide Number Placeholder 4">
            <a:extLst>
              <a:ext uri="{FF2B5EF4-FFF2-40B4-BE49-F238E27FC236}">
                <a16:creationId xmlns:a16="http://schemas.microsoft.com/office/drawing/2014/main" id="{DDB21BDA-AD36-4743-9F8E-0A4C0BC0DD64}"/>
              </a:ext>
            </a:extLst>
          </p:cNvPr>
          <p:cNvSpPr>
            <a:spLocks noGrp="1"/>
          </p:cNvSpPr>
          <p:nvPr userDrawn="1">
            <p:ph type="sldNum" sz="quarter" idx="18"/>
          </p:nvPr>
        </p:nvSpPr>
        <p:spPr>
          <a:noFill/>
        </p:spPr>
        <p:txBody>
          <a:bodyPr/>
          <a:lstStyle>
            <a:lvl1pPr>
              <a:defRPr>
                <a:solidFill>
                  <a:schemeClr val="bg1"/>
                </a:solidFill>
              </a:defRPr>
            </a:lvl1pPr>
          </a:lstStyle>
          <a:p>
            <a:pPr marL="12700"/>
            <a:fld id="{078C017C-E1B9-8443-B047-B08AAA027B45}" type="slidenum">
              <a:rPr lang="en-US" smtClean="0"/>
              <a:pPr marL="12700"/>
              <a:t>‹#›</a:t>
            </a:fld>
            <a:endParaRPr lang="en-US" dirty="0"/>
          </a:p>
        </p:txBody>
      </p:sp>
      <p:grpSp>
        <p:nvGrpSpPr>
          <p:cNvPr id="96" name="Group 95">
            <a:extLst>
              <a:ext uri="{FF2B5EF4-FFF2-40B4-BE49-F238E27FC236}">
                <a16:creationId xmlns:a16="http://schemas.microsoft.com/office/drawing/2014/main" id="{673DA702-693D-CC41-B851-ADCA7E442CAD}"/>
              </a:ext>
            </a:extLst>
          </p:cNvPr>
          <p:cNvGrpSpPr/>
          <p:nvPr userDrawn="1"/>
        </p:nvGrpSpPr>
        <p:grpSpPr>
          <a:xfrm>
            <a:off x="574987" y="-246933"/>
            <a:ext cx="11040535" cy="7347304"/>
            <a:chOff x="431240" y="-246933"/>
            <a:chExt cx="8280401" cy="7347304"/>
          </a:xfrm>
        </p:grpSpPr>
        <p:grpSp>
          <p:nvGrpSpPr>
            <p:cNvPr id="97" name="Group 96">
              <a:extLst>
                <a:ext uri="{FF2B5EF4-FFF2-40B4-BE49-F238E27FC236}">
                  <a16:creationId xmlns:a16="http://schemas.microsoft.com/office/drawing/2014/main" id="{68E21C45-C896-3A4E-9AC2-0B2E1C68424D}"/>
                </a:ext>
              </a:extLst>
            </p:cNvPr>
            <p:cNvGrpSpPr/>
            <p:nvPr userDrawn="1"/>
          </p:nvGrpSpPr>
          <p:grpSpPr>
            <a:xfrm>
              <a:off x="431242" y="6864579"/>
              <a:ext cx="8280398" cy="235792"/>
              <a:chOff x="431801" y="-235792"/>
              <a:chExt cx="4400550" cy="235792"/>
            </a:xfrm>
          </p:grpSpPr>
          <p:cxnSp>
            <p:nvCxnSpPr>
              <p:cNvPr id="106" name="Straight Connector 105">
                <a:extLst>
                  <a:ext uri="{FF2B5EF4-FFF2-40B4-BE49-F238E27FC236}">
                    <a16:creationId xmlns:a16="http://schemas.microsoft.com/office/drawing/2014/main" id="{E11C4987-4F88-FA4D-9044-5BEA5CD0FD7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FAFED8F-4D61-3A4C-B900-C1AFD5742855}"/>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0F0D3C41-93FC-C045-9185-5A21C57F01F2}"/>
                </a:ext>
              </a:extLst>
            </p:cNvPr>
            <p:cNvGrpSpPr/>
            <p:nvPr userDrawn="1"/>
          </p:nvGrpSpPr>
          <p:grpSpPr>
            <a:xfrm>
              <a:off x="431240" y="-246933"/>
              <a:ext cx="8280401" cy="235792"/>
              <a:chOff x="431800" y="-240735"/>
              <a:chExt cx="8280401" cy="235792"/>
            </a:xfrm>
          </p:grpSpPr>
          <p:grpSp>
            <p:nvGrpSpPr>
              <p:cNvPr id="99" name="Group 98">
                <a:extLst>
                  <a:ext uri="{FF2B5EF4-FFF2-40B4-BE49-F238E27FC236}">
                    <a16:creationId xmlns:a16="http://schemas.microsoft.com/office/drawing/2014/main" id="{1D065C1D-41DC-ED41-AC5F-9B220460AFDF}"/>
                  </a:ext>
                </a:extLst>
              </p:cNvPr>
              <p:cNvGrpSpPr/>
              <p:nvPr userDrawn="1"/>
            </p:nvGrpSpPr>
            <p:grpSpPr>
              <a:xfrm>
                <a:off x="431800" y="-240735"/>
                <a:ext cx="8280400" cy="235792"/>
                <a:chOff x="431800" y="-235792"/>
                <a:chExt cx="4400551" cy="235792"/>
              </a:xfrm>
            </p:grpSpPr>
            <p:cxnSp>
              <p:nvCxnSpPr>
                <p:cNvPr id="103" name="Straight Connector 102">
                  <a:extLst>
                    <a:ext uri="{FF2B5EF4-FFF2-40B4-BE49-F238E27FC236}">
                      <a16:creationId xmlns:a16="http://schemas.microsoft.com/office/drawing/2014/main" id="{0C96A83E-17A8-C54D-A34D-A4D00E992C7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EE874F0A-C444-FD4A-ABF6-C6D41FC80E5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E74B379E-15F9-2A4A-A6FF-49649073612C}"/>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100" name="TextBox 99">
                <a:extLst>
                  <a:ext uri="{FF2B5EF4-FFF2-40B4-BE49-F238E27FC236}">
                    <a16:creationId xmlns:a16="http://schemas.microsoft.com/office/drawing/2014/main" id="{4B9BE125-E956-8941-AE3B-AD6895BD1F8B}"/>
                  </a:ext>
                </a:extLst>
              </p:cNvPr>
              <p:cNvSpPr txBox="1"/>
              <p:nvPr userDrawn="1"/>
            </p:nvSpPr>
            <p:spPr>
              <a:xfrm>
                <a:off x="3914336" y="-176700"/>
                <a:ext cx="1315339"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01" name="Straight Arrow Connector 100">
                <a:extLst>
                  <a:ext uri="{FF2B5EF4-FFF2-40B4-BE49-F238E27FC236}">
                    <a16:creationId xmlns:a16="http://schemas.microsoft.com/office/drawing/2014/main" id="{B40F167B-24AA-EA40-9DF5-3D37F00624E8}"/>
                  </a:ext>
                </a:extLst>
              </p:cNvPr>
              <p:cNvCxnSpPr>
                <a:cxnSpLocks/>
                <a:stCxn id="100" idx="1"/>
                <a:endCxn id="105" idx="2"/>
              </p:cNvCxnSpPr>
              <p:nvPr userDrawn="1"/>
            </p:nvCxnSpPr>
            <p:spPr>
              <a:xfrm flipH="1">
                <a:off x="431801" y="-122839"/>
                <a:ext cx="3482535"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4111FD70-76FA-D84E-9207-CC62337BE3E4}"/>
                  </a:ext>
                </a:extLst>
              </p:cNvPr>
              <p:cNvCxnSpPr>
                <a:cxnSpLocks/>
                <a:stCxn id="100" idx="3"/>
                <a:endCxn id="105" idx="0"/>
              </p:cNvCxnSpPr>
              <p:nvPr userDrawn="1"/>
            </p:nvCxnSpPr>
            <p:spPr>
              <a:xfrm flipV="1">
                <a:off x="5229674" y="-122840"/>
                <a:ext cx="3482527"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72128804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Q+A (Plain)">
    <p:spTree>
      <p:nvGrpSpPr>
        <p:cNvPr id="1" name=""/>
        <p:cNvGrpSpPr/>
        <p:nvPr/>
      </p:nvGrpSpPr>
      <p:grpSpPr>
        <a:xfrm>
          <a:off x="0" y="0"/>
          <a:ext cx="0" cy="0"/>
          <a:chOff x="0" y="0"/>
          <a:chExt cx="0" cy="0"/>
        </a:xfrm>
      </p:grpSpPr>
      <p:sp>
        <p:nvSpPr>
          <p:cNvPr id="48" name="Freeform 47">
            <a:extLst>
              <a:ext uri="{FF2B5EF4-FFF2-40B4-BE49-F238E27FC236}">
                <a16:creationId xmlns:a16="http://schemas.microsoft.com/office/drawing/2014/main" id="{C03A9194-4143-4341-BD04-5CC4B8AD8B99}"/>
              </a:ext>
            </a:extLst>
          </p:cNvPr>
          <p:cNvSpPr/>
          <p:nvPr userDrawn="1"/>
        </p:nvSpPr>
        <p:spPr>
          <a:xfrm>
            <a:off x="0" y="6200775"/>
            <a:ext cx="12192000" cy="658368"/>
          </a:xfrm>
          <a:custGeom>
            <a:avLst/>
            <a:gdLst>
              <a:gd name="connsiteX0" fmla="*/ 8381735 w 9144000"/>
              <a:gd name="connsiteY0" fmla="*/ 376390 h 658368"/>
              <a:gd name="connsiteX1" fmla="*/ 8398942 w 9144000"/>
              <a:gd name="connsiteY1" fmla="*/ 378245 h 658368"/>
              <a:gd name="connsiteX2" fmla="*/ 8407847 w 9144000"/>
              <a:gd name="connsiteY2" fmla="*/ 385034 h 658368"/>
              <a:gd name="connsiteX3" fmla="*/ 8413547 w 9144000"/>
              <a:gd name="connsiteY3" fmla="*/ 395359 h 658368"/>
              <a:gd name="connsiteX4" fmla="*/ 8415584 w 9144000"/>
              <a:gd name="connsiteY4" fmla="*/ 408571 h 658368"/>
              <a:gd name="connsiteX5" fmla="*/ 8413646 w 9144000"/>
              <a:gd name="connsiteY5" fmla="*/ 421642 h 658368"/>
              <a:gd name="connsiteX6" fmla="*/ 8407947 w 9144000"/>
              <a:gd name="connsiteY6" fmla="*/ 432037 h 658368"/>
              <a:gd name="connsiteX7" fmla="*/ 8375887 w 9144000"/>
              <a:gd name="connsiteY7" fmla="*/ 438882 h 658368"/>
              <a:gd name="connsiteX8" fmla="*/ 8366910 w 9144000"/>
              <a:gd name="connsiteY8" fmla="*/ 432037 h 658368"/>
              <a:gd name="connsiteX9" fmla="*/ 8361211 w 9144000"/>
              <a:gd name="connsiteY9" fmla="*/ 421642 h 658368"/>
              <a:gd name="connsiteX10" fmla="*/ 8359045 w 9144000"/>
              <a:gd name="connsiteY10" fmla="*/ 408571 h 658368"/>
              <a:gd name="connsiteX11" fmla="*/ 8361097 w 9144000"/>
              <a:gd name="connsiteY11" fmla="*/ 395359 h 658368"/>
              <a:gd name="connsiteX12" fmla="*/ 8366796 w 9144000"/>
              <a:gd name="connsiteY12" fmla="*/ 385034 h 658368"/>
              <a:gd name="connsiteX13" fmla="*/ 8381735 w 9144000"/>
              <a:gd name="connsiteY13" fmla="*/ 376390 h 658368"/>
              <a:gd name="connsiteX14" fmla="*/ 8525633 w 9144000"/>
              <a:gd name="connsiteY14" fmla="*/ 353854 h 658368"/>
              <a:gd name="connsiteX15" fmla="*/ 8525633 w 9144000"/>
              <a:gd name="connsiteY15" fmla="*/ 399800 h 658368"/>
              <a:gd name="connsiteX16" fmla="*/ 8525633 w 9144000"/>
              <a:gd name="connsiteY16" fmla="*/ 463141 h 658368"/>
              <a:gd name="connsiteX17" fmla="*/ 8595623 w 9144000"/>
              <a:gd name="connsiteY17" fmla="*/ 463141 h 658368"/>
              <a:gd name="connsiteX18" fmla="*/ 8596022 w 9144000"/>
              <a:gd name="connsiteY18" fmla="*/ 463141 h 658368"/>
              <a:gd name="connsiteX19" fmla="*/ 8596022 w 9144000"/>
              <a:gd name="connsiteY19" fmla="*/ 446140 h 658368"/>
              <a:gd name="connsiteX20" fmla="*/ 8595623 w 9144000"/>
              <a:gd name="connsiteY20" fmla="*/ 446140 h 658368"/>
              <a:gd name="connsiteX21" fmla="*/ 8595623 w 9144000"/>
              <a:gd name="connsiteY21" fmla="*/ 440042 h 658368"/>
              <a:gd name="connsiteX22" fmla="*/ 8551295 w 9144000"/>
              <a:gd name="connsiteY22" fmla="*/ 440042 h 658368"/>
              <a:gd name="connsiteX23" fmla="*/ 8551295 w 9144000"/>
              <a:gd name="connsiteY23" fmla="*/ 418717 h 658368"/>
              <a:gd name="connsiteX24" fmla="*/ 8591705 w 9144000"/>
              <a:gd name="connsiteY24" fmla="*/ 418717 h 658368"/>
              <a:gd name="connsiteX25" fmla="*/ 8591705 w 9144000"/>
              <a:gd name="connsiteY25" fmla="*/ 396645 h 658368"/>
              <a:gd name="connsiteX26" fmla="*/ 8551295 w 9144000"/>
              <a:gd name="connsiteY26" fmla="*/ 396645 h 658368"/>
              <a:gd name="connsiteX27" fmla="*/ 8551295 w 9144000"/>
              <a:gd name="connsiteY27" fmla="*/ 377123 h 658368"/>
              <a:gd name="connsiteX28" fmla="*/ 8595623 w 9144000"/>
              <a:gd name="connsiteY28" fmla="*/ 377123 h 658368"/>
              <a:gd name="connsiteX29" fmla="*/ 8595623 w 9144000"/>
              <a:gd name="connsiteY29" fmla="*/ 370855 h 658368"/>
              <a:gd name="connsiteX30" fmla="*/ 8596022 w 9144000"/>
              <a:gd name="connsiteY30" fmla="*/ 370855 h 658368"/>
              <a:gd name="connsiteX31" fmla="*/ 8596022 w 9144000"/>
              <a:gd name="connsiteY31" fmla="*/ 353854 h 658368"/>
              <a:gd name="connsiteX32" fmla="*/ 8595623 w 9144000"/>
              <a:gd name="connsiteY32" fmla="*/ 353854 h 658368"/>
              <a:gd name="connsiteX33" fmla="*/ 8547362 w 9144000"/>
              <a:gd name="connsiteY33" fmla="*/ 353854 h 658368"/>
              <a:gd name="connsiteX34" fmla="*/ 8448177 w 9144000"/>
              <a:gd name="connsiteY34" fmla="*/ 353854 h 658368"/>
              <a:gd name="connsiteX35" fmla="*/ 8448177 w 9144000"/>
              <a:gd name="connsiteY35" fmla="*/ 399800 h 658368"/>
              <a:gd name="connsiteX36" fmla="*/ 8448177 w 9144000"/>
              <a:gd name="connsiteY36" fmla="*/ 463141 h 658368"/>
              <a:gd name="connsiteX37" fmla="*/ 8518167 w 9144000"/>
              <a:gd name="connsiteY37" fmla="*/ 463141 h 658368"/>
              <a:gd name="connsiteX38" fmla="*/ 8518552 w 9144000"/>
              <a:gd name="connsiteY38" fmla="*/ 463141 h 658368"/>
              <a:gd name="connsiteX39" fmla="*/ 8518552 w 9144000"/>
              <a:gd name="connsiteY39" fmla="*/ 446140 h 658368"/>
              <a:gd name="connsiteX40" fmla="*/ 8518167 w 9144000"/>
              <a:gd name="connsiteY40" fmla="*/ 446140 h 658368"/>
              <a:gd name="connsiteX41" fmla="*/ 8518167 w 9144000"/>
              <a:gd name="connsiteY41" fmla="*/ 440042 h 658368"/>
              <a:gd name="connsiteX42" fmla="*/ 8473825 w 9144000"/>
              <a:gd name="connsiteY42" fmla="*/ 440042 h 658368"/>
              <a:gd name="connsiteX43" fmla="*/ 8473825 w 9144000"/>
              <a:gd name="connsiteY43" fmla="*/ 418717 h 658368"/>
              <a:gd name="connsiteX44" fmla="*/ 8514235 w 9144000"/>
              <a:gd name="connsiteY44" fmla="*/ 418717 h 658368"/>
              <a:gd name="connsiteX45" fmla="*/ 8514235 w 9144000"/>
              <a:gd name="connsiteY45" fmla="*/ 396645 h 658368"/>
              <a:gd name="connsiteX46" fmla="*/ 8473825 w 9144000"/>
              <a:gd name="connsiteY46" fmla="*/ 396645 h 658368"/>
              <a:gd name="connsiteX47" fmla="*/ 8473825 w 9144000"/>
              <a:gd name="connsiteY47" fmla="*/ 377123 h 658368"/>
              <a:gd name="connsiteX48" fmla="*/ 8518167 w 9144000"/>
              <a:gd name="connsiteY48" fmla="*/ 377123 h 658368"/>
              <a:gd name="connsiteX49" fmla="*/ 8518167 w 9144000"/>
              <a:gd name="connsiteY49" fmla="*/ 370855 h 658368"/>
              <a:gd name="connsiteX50" fmla="*/ 8518552 w 9144000"/>
              <a:gd name="connsiteY50" fmla="*/ 370855 h 658368"/>
              <a:gd name="connsiteX51" fmla="*/ 8518552 w 9144000"/>
              <a:gd name="connsiteY51" fmla="*/ 353854 h 658368"/>
              <a:gd name="connsiteX52" fmla="*/ 8518167 w 9144000"/>
              <a:gd name="connsiteY52" fmla="*/ 353854 h 658368"/>
              <a:gd name="connsiteX53" fmla="*/ 8469892 w 9144000"/>
              <a:gd name="connsiteY53" fmla="*/ 353854 h 658368"/>
              <a:gd name="connsiteX54" fmla="*/ 8387913 w 9144000"/>
              <a:gd name="connsiteY54" fmla="*/ 353821 h 658368"/>
              <a:gd name="connsiteX55" fmla="*/ 8365286 w 9144000"/>
              <a:gd name="connsiteY55" fmla="*/ 358047 h 658368"/>
              <a:gd name="connsiteX56" fmla="*/ 8357150 w 9144000"/>
              <a:gd name="connsiteY56" fmla="*/ 362174 h 658368"/>
              <a:gd name="connsiteX57" fmla="*/ 8332784 w 9144000"/>
              <a:gd name="connsiteY57" fmla="*/ 413740 h 658368"/>
              <a:gd name="connsiteX58" fmla="*/ 8336389 w 9144000"/>
              <a:gd name="connsiteY58" fmla="*/ 430220 h 658368"/>
              <a:gd name="connsiteX59" fmla="*/ 8364431 w 9144000"/>
              <a:gd name="connsiteY59" fmla="*/ 458953 h 658368"/>
              <a:gd name="connsiteX60" fmla="*/ 8386916 w 9144000"/>
              <a:gd name="connsiteY60" fmla="*/ 463179 h 658368"/>
              <a:gd name="connsiteX61" fmla="*/ 8409486 w 9144000"/>
              <a:gd name="connsiteY61" fmla="*/ 458953 h 658368"/>
              <a:gd name="connsiteX62" fmla="*/ 8426926 w 9144000"/>
              <a:gd name="connsiteY62" fmla="*/ 447474 h 658368"/>
              <a:gd name="connsiteX63" fmla="*/ 8438240 w 9144000"/>
              <a:gd name="connsiteY63" fmla="*/ 430220 h 658368"/>
              <a:gd name="connsiteX64" fmla="*/ 8442258 w 9144000"/>
              <a:gd name="connsiteY64" fmla="*/ 408571 h 658368"/>
              <a:gd name="connsiteX65" fmla="*/ 8438397 w 9144000"/>
              <a:gd name="connsiteY65" fmla="*/ 386837 h 658368"/>
              <a:gd name="connsiteX66" fmla="*/ 8427439 w 9144000"/>
              <a:gd name="connsiteY66" fmla="*/ 369526 h 658368"/>
              <a:gd name="connsiteX67" fmla="*/ 8410341 w 9144000"/>
              <a:gd name="connsiteY67" fmla="*/ 358047 h 658368"/>
              <a:gd name="connsiteX68" fmla="*/ 8387913 w 9144000"/>
              <a:gd name="connsiteY68" fmla="*/ 353821 h 658368"/>
              <a:gd name="connsiteX69" fmla="*/ 8245203 w 9144000"/>
              <a:gd name="connsiteY69" fmla="*/ 353474 h 658368"/>
              <a:gd name="connsiteX70" fmla="*/ 8261546 w 9144000"/>
              <a:gd name="connsiteY70" fmla="*/ 387546 h 658368"/>
              <a:gd name="connsiteX71" fmla="*/ 8288505 w 9144000"/>
              <a:gd name="connsiteY71" fmla="*/ 387546 h 658368"/>
              <a:gd name="connsiteX72" fmla="*/ 8274156 w 9144000"/>
              <a:gd name="connsiteY72" fmla="*/ 353474 h 658368"/>
              <a:gd name="connsiteX73" fmla="*/ 8325053 w 9144000"/>
              <a:gd name="connsiteY73" fmla="*/ 353460 h 658368"/>
              <a:gd name="connsiteX74" fmla="*/ 8299363 w 9144000"/>
              <a:gd name="connsiteY74" fmla="*/ 412590 h 658368"/>
              <a:gd name="connsiteX75" fmla="*/ 8292395 w 9144000"/>
              <a:gd name="connsiteY75" fmla="*/ 396251 h 658368"/>
              <a:gd name="connsiteX76" fmla="*/ 8265650 w 9144000"/>
              <a:gd name="connsiteY76" fmla="*/ 396251 h 658368"/>
              <a:gd name="connsiteX77" fmla="*/ 8297582 w 9144000"/>
              <a:gd name="connsiteY77" fmla="*/ 462916 h 658368"/>
              <a:gd name="connsiteX78" fmla="*/ 8300545 w 9144000"/>
              <a:gd name="connsiteY78" fmla="*/ 462916 h 658368"/>
              <a:gd name="connsiteX79" fmla="*/ 8352283 w 9144000"/>
              <a:gd name="connsiteY79" fmla="*/ 353460 h 658368"/>
              <a:gd name="connsiteX80" fmla="*/ 8704282 w 9144000"/>
              <a:gd name="connsiteY80" fmla="*/ 315922 h 658368"/>
              <a:gd name="connsiteX81" fmla="*/ 8704282 w 9144000"/>
              <a:gd name="connsiteY81" fmla="*/ 490850 h 658368"/>
              <a:gd name="connsiteX82" fmla="*/ 8723671 w 9144000"/>
              <a:gd name="connsiteY82" fmla="*/ 490850 h 658368"/>
              <a:gd name="connsiteX83" fmla="*/ 8723671 w 9144000"/>
              <a:gd name="connsiteY83" fmla="*/ 315922 h 658368"/>
              <a:gd name="connsiteX84" fmla="*/ 0 w 9144000"/>
              <a:gd name="connsiteY84" fmla="*/ 0 h 658368"/>
              <a:gd name="connsiteX85" fmla="*/ 9144000 w 9144000"/>
              <a:gd name="connsiteY85" fmla="*/ 0 h 658368"/>
              <a:gd name="connsiteX86" fmla="*/ 9144000 w 9144000"/>
              <a:gd name="connsiteY86" fmla="*/ 658368 h 658368"/>
              <a:gd name="connsiteX87" fmla="*/ 0 w 9144000"/>
              <a:gd name="connsiteY87" fmla="*/ 658368 h 65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9144000" h="658368">
                <a:moveTo>
                  <a:pt x="8381735" y="376390"/>
                </a:moveTo>
                <a:cubicBezTo>
                  <a:pt x="8387385" y="375197"/>
                  <a:pt x="8393413" y="375753"/>
                  <a:pt x="8398942" y="378245"/>
                </a:cubicBezTo>
                <a:cubicBezTo>
                  <a:pt x="8402361" y="379863"/>
                  <a:pt x="8405396" y="382176"/>
                  <a:pt x="8407847" y="385034"/>
                </a:cubicBezTo>
                <a:cubicBezTo>
                  <a:pt x="8410387" y="388091"/>
                  <a:pt x="8412320" y="391594"/>
                  <a:pt x="8413547" y="395359"/>
                </a:cubicBezTo>
                <a:cubicBezTo>
                  <a:pt x="8414952" y="399623"/>
                  <a:pt x="8415640" y="404086"/>
                  <a:pt x="8415584" y="408571"/>
                </a:cubicBezTo>
                <a:cubicBezTo>
                  <a:pt x="8415665" y="413003"/>
                  <a:pt x="8415011" y="417419"/>
                  <a:pt x="8413646" y="421642"/>
                </a:cubicBezTo>
                <a:cubicBezTo>
                  <a:pt x="8412411" y="425424"/>
                  <a:pt x="8410478" y="428948"/>
                  <a:pt x="8407947" y="432037"/>
                </a:cubicBezTo>
                <a:cubicBezTo>
                  <a:pt x="8399972" y="441083"/>
                  <a:pt x="8386928" y="443868"/>
                  <a:pt x="8375887" y="438882"/>
                </a:cubicBezTo>
                <a:cubicBezTo>
                  <a:pt x="8372423" y="437279"/>
                  <a:pt x="8369358" y="434942"/>
                  <a:pt x="8366910" y="432037"/>
                </a:cubicBezTo>
                <a:cubicBezTo>
                  <a:pt x="8364379" y="428948"/>
                  <a:pt x="8362446" y="425424"/>
                  <a:pt x="8361211" y="421642"/>
                </a:cubicBezTo>
                <a:cubicBezTo>
                  <a:pt x="8359769" y="417431"/>
                  <a:pt x="8359038" y="413015"/>
                  <a:pt x="8359045" y="408571"/>
                </a:cubicBezTo>
                <a:cubicBezTo>
                  <a:pt x="8358993" y="404085"/>
                  <a:pt x="8359686" y="399622"/>
                  <a:pt x="8361097" y="395359"/>
                </a:cubicBezTo>
                <a:cubicBezTo>
                  <a:pt x="8362323" y="391594"/>
                  <a:pt x="8364257" y="388091"/>
                  <a:pt x="8366796" y="385034"/>
                </a:cubicBezTo>
                <a:cubicBezTo>
                  <a:pt x="8370813" y="380526"/>
                  <a:pt x="8376085" y="377583"/>
                  <a:pt x="8381735" y="376390"/>
                </a:cubicBezTo>
                <a:close/>
                <a:moveTo>
                  <a:pt x="8525633" y="353854"/>
                </a:moveTo>
                <a:lnTo>
                  <a:pt x="8525633" y="399800"/>
                </a:lnTo>
                <a:lnTo>
                  <a:pt x="8525633" y="463141"/>
                </a:lnTo>
                <a:lnTo>
                  <a:pt x="8595623" y="463141"/>
                </a:lnTo>
                <a:lnTo>
                  <a:pt x="8596022" y="463141"/>
                </a:lnTo>
                <a:lnTo>
                  <a:pt x="8596022" y="446140"/>
                </a:lnTo>
                <a:lnTo>
                  <a:pt x="8595623" y="446140"/>
                </a:lnTo>
                <a:lnTo>
                  <a:pt x="8595623" y="440042"/>
                </a:lnTo>
                <a:lnTo>
                  <a:pt x="8551295" y="440042"/>
                </a:lnTo>
                <a:lnTo>
                  <a:pt x="8551295" y="418717"/>
                </a:lnTo>
                <a:lnTo>
                  <a:pt x="8591705" y="418717"/>
                </a:lnTo>
                <a:lnTo>
                  <a:pt x="8591705" y="396645"/>
                </a:lnTo>
                <a:lnTo>
                  <a:pt x="8551295" y="396645"/>
                </a:lnTo>
                <a:lnTo>
                  <a:pt x="8551295" y="377123"/>
                </a:lnTo>
                <a:lnTo>
                  <a:pt x="8595623" y="377123"/>
                </a:lnTo>
                <a:lnTo>
                  <a:pt x="8595623" y="370855"/>
                </a:lnTo>
                <a:lnTo>
                  <a:pt x="8596022" y="370855"/>
                </a:lnTo>
                <a:lnTo>
                  <a:pt x="8596022" y="353854"/>
                </a:lnTo>
                <a:lnTo>
                  <a:pt x="8595623" y="353854"/>
                </a:lnTo>
                <a:lnTo>
                  <a:pt x="8547362" y="353854"/>
                </a:lnTo>
                <a:close/>
                <a:moveTo>
                  <a:pt x="8448177" y="353854"/>
                </a:moveTo>
                <a:lnTo>
                  <a:pt x="8448177" y="399800"/>
                </a:lnTo>
                <a:lnTo>
                  <a:pt x="8448177" y="463141"/>
                </a:lnTo>
                <a:lnTo>
                  <a:pt x="8518167" y="463141"/>
                </a:lnTo>
                <a:lnTo>
                  <a:pt x="8518552" y="463141"/>
                </a:lnTo>
                <a:lnTo>
                  <a:pt x="8518552" y="446140"/>
                </a:lnTo>
                <a:lnTo>
                  <a:pt x="8518167" y="446140"/>
                </a:lnTo>
                <a:lnTo>
                  <a:pt x="8518167" y="440042"/>
                </a:lnTo>
                <a:lnTo>
                  <a:pt x="8473825" y="440042"/>
                </a:lnTo>
                <a:lnTo>
                  <a:pt x="8473825" y="418717"/>
                </a:lnTo>
                <a:lnTo>
                  <a:pt x="8514235" y="418717"/>
                </a:lnTo>
                <a:lnTo>
                  <a:pt x="8514235" y="396645"/>
                </a:lnTo>
                <a:lnTo>
                  <a:pt x="8473825" y="396645"/>
                </a:lnTo>
                <a:lnTo>
                  <a:pt x="8473825" y="377123"/>
                </a:lnTo>
                <a:lnTo>
                  <a:pt x="8518167" y="377123"/>
                </a:lnTo>
                <a:lnTo>
                  <a:pt x="8518167" y="370855"/>
                </a:lnTo>
                <a:lnTo>
                  <a:pt x="8518552" y="370855"/>
                </a:lnTo>
                <a:lnTo>
                  <a:pt x="8518552" y="353854"/>
                </a:lnTo>
                <a:lnTo>
                  <a:pt x="8518167" y="353854"/>
                </a:lnTo>
                <a:lnTo>
                  <a:pt x="8469892" y="353854"/>
                </a:lnTo>
                <a:close/>
                <a:moveTo>
                  <a:pt x="8387913" y="353821"/>
                </a:moveTo>
                <a:cubicBezTo>
                  <a:pt x="8380162" y="353737"/>
                  <a:pt x="8372471" y="355173"/>
                  <a:pt x="8365286" y="358047"/>
                </a:cubicBezTo>
                <a:cubicBezTo>
                  <a:pt x="8362463" y="359198"/>
                  <a:pt x="8359742" y="360579"/>
                  <a:pt x="8357150" y="362174"/>
                </a:cubicBezTo>
                <a:lnTo>
                  <a:pt x="8332784" y="413740"/>
                </a:lnTo>
                <a:cubicBezTo>
                  <a:pt x="8333178" y="419376"/>
                  <a:pt x="8334392" y="424926"/>
                  <a:pt x="8336389" y="430220"/>
                </a:cubicBezTo>
                <a:cubicBezTo>
                  <a:pt x="8341193" y="443294"/>
                  <a:pt x="8351385" y="453738"/>
                  <a:pt x="8364431" y="458953"/>
                </a:cubicBezTo>
                <a:cubicBezTo>
                  <a:pt x="8371564" y="461837"/>
                  <a:pt x="8379210" y="463274"/>
                  <a:pt x="8386916" y="463179"/>
                </a:cubicBezTo>
                <a:cubicBezTo>
                  <a:pt x="8394648" y="463266"/>
                  <a:pt x="8402321" y="461830"/>
                  <a:pt x="8409486" y="458953"/>
                </a:cubicBezTo>
                <a:cubicBezTo>
                  <a:pt x="8416013" y="456311"/>
                  <a:pt x="8421943" y="452409"/>
                  <a:pt x="8426926" y="447474"/>
                </a:cubicBezTo>
                <a:cubicBezTo>
                  <a:pt x="8431850" y="442547"/>
                  <a:pt x="8435700" y="436674"/>
                  <a:pt x="8438240" y="430220"/>
                </a:cubicBezTo>
                <a:cubicBezTo>
                  <a:pt x="8440974" y="423326"/>
                  <a:pt x="8442338" y="415975"/>
                  <a:pt x="8442258" y="408571"/>
                </a:cubicBezTo>
                <a:cubicBezTo>
                  <a:pt x="8442328" y="401153"/>
                  <a:pt x="8441019" y="393787"/>
                  <a:pt x="8438397" y="386837"/>
                </a:cubicBezTo>
                <a:cubicBezTo>
                  <a:pt x="8435967" y="380393"/>
                  <a:pt x="8432239" y="374504"/>
                  <a:pt x="8427439" y="369526"/>
                </a:cubicBezTo>
                <a:cubicBezTo>
                  <a:pt x="8422597" y="364580"/>
                  <a:pt x="8416777" y="360673"/>
                  <a:pt x="8410341" y="358047"/>
                </a:cubicBezTo>
                <a:cubicBezTo>
                  <a:pt x="8403230" y="355157"/>
                  <a:pt x="8395601" y="353720"/>
                  <a:pt x="8387913" y="353821"/>
                </a:cubicBezTo>
                <a:close/>
                <a:moveTo>
                  <a:pt x="8245203" y="353474"/>
                </a:moveTo>
                <a:lnTo>
                  <a:pt x="8261546" y="387546"/>
                </a:lnTo>
                <a:lnTo>
                  <a:pt x="8288505" y="387546"/>
                </a:lnTo>
                <a:lnTo>
                  <a:pt x="8274156" y="353474"/>
                </a:lnTo>
                <a:close/>
                <a:moveTo>
                  <a:pt x="8325053" y="353460"/>
                </a:moveTo>
                <a:lnTo>
                  <a:pt x="8299363" y="412590"/>
                </a:lnTo>
                <a:lnTo>
                  <a:pt x="8292395" y="396251"/>
                </a:lnTo>
                <a:lnTo>
                  <a:pt x="8265650" y="396251"/>
                </a:lnTo>
                <a:lnTo>
                  <a:pt x="8297582" y="462916"/>
                </a:lnTo>
                <a:lnTo>
                  <a:pt x="8300545" y="462916"/>
                </a:lnTo>
                <a:lnTo>
                  <a:pt x="8352283" y="353460"/>
                </a:lnTo>
                <a:close/>
                <a:moveTo>
                  <a:pt x="8704282" y="315922"/>
                </a:moveTo>
                <a:lnTo>
                  <a:pt x="8704282" y="490850"/>
                </a:lnTo>
                <a:lnTo>
                  <a:pt x="8723671" y="490850"/>
                </a:lnTo>
                <a:lnTo>
                  <a:pt x="8723671" y="315922"/>
                </a:lnTo>
                <a:close/>
                <a:moveTo>
                  <a:pt x="0" y="0"/>
                </a:moveTo>
                <a:lnTo>
                  <a:pt x="9144000" y="0"/>
                </a:lnTo>
                <a:lnTo>
                  <a:pt x="9144000" y="658368"/>
                </a:lnTo>
                <a:lnTo>
                  <a:pt x="0" y="6583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24" name="Freeform 23">
            <a:extLst>
              <a:ext uri="{FF2B5EF4-FFF2-40B4-BE49-F238E27FC236}">
                <a16:creationId xmlns:a16="http://schemas.microsoft.com/office/drawing/2014/main" id="{E79AC3E7-6F38-DB4F-A28C-F43DDC379D28}"/>
              </a:ext>
            </a:extLst>
          </p:cNvPr>
          <p:cNvSpPr/>
          <p:nvPr userDrawn="1"/>
        </p:nvSpPr>
        <p:spPr>
          <a:xfrm>
            <a:off x="1" y="0"/>
            <a:ext cx="9622695"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2" y="1881813"/>
            <a:ext cx="6926468" cy="3094376"/>
          </a:xfrm>
          <a:prstGeom prst="rect">
            <a:avLst/>
          </a:prstGeom>
          <a:noFill/>
          <a:ln>
            <a:noFill/>
          </a:ln>
        </p:spPr>
        <p:txBody>
          <a:bodyPr wrap="square" lIns="432000" tIns="0" rIns="0" bIns="0" anchor="ctr">
            <a:noAutofit/>
          </a:bodyPr>
          <a:lstStyle>
            <a:lvl1pPr marL="20638" indent="0">
              <a:spcAft>
                <a:spcPts val="300"/>
              </a:spcAft>
              <a:buNone/>
              <a:tabLst/>
              <a:defRPr sz="66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dirty="0"/>
              <a:t>Q&amp;A message</a:t>
            </a:r>
          </a:p>
          <a:p>
            <a:pPr lvl="1"/>
            <a:r>
              <a:rPr lang="en-US" dirty="0"/>
              <a:t>Second level</a:t>
            </a:r>
          </a:p>
        </p:txBody>
      </p:sp>
      <p:grpSp>
        <p:nvGrpSpPr>
          <p:cNvPr id="25" name="Group 24">
            <a:extLst>
              <a:ext uri="{FF2B5EF4-FFF2-40B4-BE49-F238E27FC236}">
                <a16:creationId xmlns:a16="http://schemas.microsoft.com/office/drawing/2014/main" id="{8103AB71-ACF2-D747-99D4-1B67168DB846}"/>
              </a:ext>
            </a:extLst>
          </p:cNvPr>
          <p:cNvGrpSpPr/>
          <p:nvPr userDrawn="1"/>
        </p:nvGrpSpPr>
        <p:grpSpPr>
          <a:xfrm>
            <a:off x="-342618" y="2429705"/>
            <a:ext cx="335281" cy="1998593"/>
            <a:chOff x="-256404" y="360363"/>
            <a:chExt cx="251461" cy="692152"/>
          </a:xfrm>
        </p:grpSpPr>
        <p:grpSp>
          <p:nvGrpSpPr>
            <p:cNvPr id="26" name="Group 25">
              <a:extLst>
                <a:ext uri="{FF2B5EF4-FFF2-40B4-BE49-F238E27FC236}">
                  <a16:creationId xmlns:a16="http://schemas.microsoft.com/office/drawing/2014/main" id="{03C6CB04-838C-1B48-B38E-7B94BB69DD62}"/>
                </a:ext>
              </a:extLst>
            </p:cNvPr>
            <p:cNvGrpSpPr/>
            <p:nvPr userDrawn="1"/>
          </p:nvGrpSpPr>
          <p:grpSpPr>
            <a:xfrm rot="16200000">
              <a:off x="-476749" y="580708"/>
              <a:ext cx="692152" cy="251461"/>
              <a:chOff x="431800" y="-235792"/>
              <a:chExt cx="4400551" cy="235792"/>
            </a:xfrm>
          </p:grpSpPr>
          <p:cxnSp>
            <p:nvCxnSpPr>
              <p:cNvPr id="28" name="Straight Connector 27">
                <a:extLst>
                  <a:ext uri="{FF2B5EF4-FFF2-40B4-BE49-F238E27FC236}">
                    <a16:creationId xmlns:a16="http://schemas.microsoft.com/office/drawing/2014/main" id="{E791AF36-A848-784A-9A81-59277F52155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DBC04DA-F43F-C344-981D-CACEBABFB90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BABEF78A-48F4-204E-80F9-FC75EBD140D2}"/>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27" name="TextBox 26">
              <a:extLst>
                <a:ext uri="{FF2B5EF4-FFF2-40B4-BE49-F238E27FC236}">
                  <a16:creationId xmlns:a16="http://schemas.microsoft.com/office/drawing/2014/main" id="{116AC5B1-5C25-304E-951F-89E93B11D04C}"/>
                </a:ext>
              </a:extLst>
            </p:cNvPr>
            <p:cNvSpPr txBox="1"/>
            <p:nvPr userDrawn="1"/>
          </p:nvSpPr>
          <p:spPr>
            <a:xfrm rot="16200000">
              <a:off x="-244472" y="662666"/>
              <a:ext cx="227612" cy="8079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Q&amp;A MESSAGE</a:t>
              </a:r>
            </a:p>
          </p:txBody>
        </p:sp>
      </p:grpSp>
      <p:grpSp>
        <p:nvGrpSpPr>
          <p:cNvPr id="9" name="Group 8">
            <a:extLst>
              <a:ext uri="{FF2B5EF4-FFF2-40B4-BE49-F238E27FC236}">
                <a16:creationId xmlns:a16="http://schemas.microsoft.com/office/drawing/2014/main" id="{A9A7483A-4424-4C4C-B1F2-8E0F2C79B3A4}"/>
              </a:ext>
            </a:extLst>
          </p:cNvPr>
          <p:cNvGrpSpPr/>
          <p:nvPr userDrawn="1"/>
        </p:nvGrpSpPr>
        <p:grpSpPr>
          <a:xfrm>
            <a:off x="12532244" y="-1"/>
            <a:ext cx="3948953" cy="6858001"/>
            <a:chOff x="9399182" y="-1"/>
            <a:chExt cx="2961715" cy="6858001"/>
          </a:xfrm>
        </p:grpSpPr>
        <p:sp>
          <p:nvSpPr>
            <p:cNvPr id="13" name="Rectangle 12">
              <a:extLst>
                <a:ext uri="{FF2B5EF4-FFF2-40B4-BE49-F238E27FC236}">
                  <a16:creationId xmlns:a16="http://schemas.microsoft.com/office/drawing/2014/main" id="{9743BD3E-2C67-B54E-81F0-54DACF7DFE45}"/>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47" name="Picture 46">
              <a:extLst>
                <a:ext uri="{FF2B5EF4-FFF2-40B4-BE49-F238E27FC236}">
                  <a16:creationId xmlns:a16="http://schemas.microsoft.com/office/drawing/2014/main" id="{A9367C43-CC85-224D-AD7D-1ED5A0D9F644}"/>
                </a:ext>
              </a:extLst>
            </p:cNvPr>
            <p:cNvPicPr>
              <a:picLocks noChangeAspect="1"/>
            </p:cNvPicPr>
            <p:nvPr userDrawn="1"/>
          </p:nvPicPr>
          <p:blipFill rotWithShape="1">
            <a:blip r:embed="rId2"/>
            <a:srcRect r="31332"/>
            <a:stretch/>
          </p:blipFill>
          <p:spPr>
            <a:xfrm>
              <a:off x="9558506" y="1334591"/>
              <a:ext cx="2639325" cy="793238"/>
            </a:xfrm>
            <a:prstGeom prst="rect">
              <a:avLst/>
            </a:prstGeom>
          </p:spPr>
        </p:pic>
        <p:grpSp>
          <p:nvGrpSpPr>
            <p:cNvPr id="17" name="Group 16">
              <a:extLst>
                <a:ext uri="{FF2B5EF4-FFF2-40B4-BE49-F238E27FC236}">
                  <a16:creationId xmlns:a16="http://schemas.microsoft.com/office/drawing/2014/main" id="{2A9C7FA4-FCE6-7949-A0D7-679DD9A64FDC}"/>
                </a:ext>
              </a:extLst>
            </p:cNvPr>
            <p:cNvGrpSpPr/>
            <p:nvPr userDrawn="1"/>
          </p:nvGrpSpPr>
          <p:grpSpPr>
            <a:xfrm>
              <a:off x="9541497" y="162442"/>
              <a:ext cx="2819400" cy="814510"/>
              <a:chOff x="-3644733" y="165205"/>
              <a:chExt cx="2819400" cy="814510"/>
            </a:xfrm>
          </p:grpSpPr>
          <p:sp>
            <p:nvSpPr>
              <p:cNvPr id="53" name="Rectangle 52">
                <a:extLst>
                  <a:ext uri="{FF2B5EF4-FFF2-40B4-BE49-F238E27FC236}">
                    <a16:creationId xmlns:a16="http://schemas.microsoft.com/office/drawing/2014/main" id="{E6A4374B-28C4-A446-B944-F0B0823BD893}"/>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4" name="TextBox 53">
                <a:extLst>
                  <a:ext uri="{FF2B5EF4-FFF2-40B4-BE49-F238E27FC236}">
                    <a16:creationId xmlns:a16="http://schemas.microsoft.com/office/drawing/2014/main" id="{EE586C57-8856-BD47-9CD4-B7DE17D313F0}"/>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5" name="Picture 54">
                <a:extLst>
                  <a:ext uri="{FF2B5EF4-FFF2-40B4-BE49-F238E27FC236}">
                    <a16:creationId xmlns:a16="http://schemas.microsoft.com/office/drawing/2014/main" id="{819A74B4-84E5-5946-9114-CF2C00B8314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35" name="TextBox 34">
              <a:extLst>
                <a:ext uri="{FF2B5EF4-FFF2-40B4-BE49-F238E27FC236}">
                  <a16:creationId xmlns:a16="http://schemas.microsoft.com/office/drawing/2014/main" id="{0C99A293-5185-464D-9613-58B7520A8FFD}"/>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36" name="Straight Connector 35">
              <a:extLst>
                <a:ext uri="{FF2B5EF4-FFF2-40B4-BE49-F238E27FC236}">
                  <a16:creationId xmlns:a16="http://schemas.microsoft.com/office/drawing/2014/main" id="{1C5A7CD5-C968-D840-92D1-2E763C0E070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6" name="Date Placeholder 5">
            <a:extLst>
              <a:ext uri="{FF2B5EF4-FFF2-40B4-BE49-F238E27FC236}">
                <a16:creationId xmlns:a16="http://schemas.microsoft.com/office/drawing/2014/main" id="{2A94A909-1D52-5E46-B1A0-D0AF81D2814A}"/>
              </a:ext>
            </a:extLst>
          </p:cNvPr>
          <p:cNvSpPr>
            <a:spLocks noGrp="1"/>
          </p:cNvSpPr>
          <p:nvPr userDrawn="1">
            <p:ph type="dt" sz="half" idx="16"/>
          </p:nvPr>
        </p:nvSpPr>
        <p:spPr/>
        <p:txBody>
          <a:bodyPr/>
          <a:lstStyle/>
          <a:p>
            <a:endParaRPr lang="en-US" dirty="0"/>
          </a:p>
        </p:txBody>
      </p:sp>
      <p:sp>
        <p:nvSpPr>
          <p:cNvPr id="7" name="Footer Placeholder 6">
            <a:extLst>
              <a:ext uri="{FF2B5EF4-FFF2-40B4-BE49-F238E27FC236}">
                <a16:creationId xmlns:a16="http://schemas.microsoft.com/office/drawing/2014/main" id="{37A6EC4E-A217-D940-A712-EF8E45593574}"/>
              </a:ext>
            </a:extLst>
          </p:cNvPr>
          <p:cNvSpPr>
            <a:spLocks noGrp="1"/>
          </p:cNvSpPr>
          <p:nvPr userDrawn="1">
            <p:ph type="ftr" sz="quarter" idx="17"/>
          </p:nvPr>
        </p:nvSpPr>
        <p:spPr/>
        <p:txBody>
          <a:bodyPr/>
          <a:lstStyle/>
          <a:p>
            <a:endParaRPr lang="en-US" dirty="0"/>
          </a:p>
        </p:txBody>
      </p:sp>
      <p:sp>
        <p:nvSpPr>
          <p:cNvPr id="8" name="Slide Number Placeholder 7">
            <a:extLst>
              <a:ext uri="{FF2B5EF4-FFF2-40B4-BE49-F238E27FC236}">
                <a16:creationId xmlns:a16="http://schemas.microsoft.com/office/drawing/2014/main" id="{95FB6912-B810-8A46-94FD-A4C9F97EBB58}"/>
              </a:ext>
            </a:extLst>
          </p:cNvPr>
          <p:cNvSpPr>
            <a:spLocks noGrp="1"/>
          </p:cNvSpPr>
          <p:nvPr userDrawn="1">
            <p:ph type="sldNum" sz="quarter" idx="18"/>
          </p:nvPr>
        </p:nvSpPr>
        <p:spPr/>
        <p:txBody>
          <a:bodyPr/>
          <a:lstStyle/>
          <a:p>
            <a:pPr marL="12700"/>
            <a:fld id="{078C017C-E1B9-8443-B047-B08AAA027B45}" type="slidenum">
              <a:rPr lang="en-US" smtClean="0"/>
              <a:pPr marL="12700"/>
              <a:t>‹#›</a:t>
            </a:fld>
            <a:endParaRPr lang="en-US" dirty="0"/>
          </a:p>
        </p:txBody>
      </p:sp>
      <p:grpSp>
        <p:nvGrpSpPr>
          <p:cNvPr id="31" name="Group 30">
            <a:extLst>
              <a:ext uri="{FF2B5EF4-FFF2-40B4-BE49-F238E27FC236}">
                <a16:creationId xmlns:a16="http://schemas.microsoft.com/office/drawing/2014/main" id="{ECDB5F78-53FA-F540-9184-B4244AFBB550}"/>
              </a:ext>
            </a:extLst>
          </p:cNvPr>
          <p:cNvGrpSpPr/>
          <p:nvPr userDrawn="1"/>
        </p:nvGrpSpPr>
        <p:grpSpPr>
          <a:xfrm>
            <a:off x="574987" y="-246933"/>
            <a:ext cx="11040535" cy="7347304"/>
            <a:chOff x="431240" y="-246933"/>
            <a:chExt cx="8280401" cy="7347304"/>
          </a:xfrm>
        </p:grpSpPr>
        <p:grpSp>
          <p:nvGrpSpPr>
            <p:cNvPr id="32" name="Group 31">
              <a:extLst>
                <a:ext uri="{FF2B5EF4-FFF2-40B4-BE49-F238E27FC236}">
                  <a16:creationId xmlns:a16="http://schemas.microsoft.com/office/drawing/2014/main" id="{E94D2956-4630-B947-85C0-FA902055800D}"/>
                </a:ext>
              </a:extLst>
            </p:cNvPr>
            <p:cNvGrpSpPr/>
            <p:nvPr userDrawn="1"/>
          </p:nvGrpSpPr>
          <p:grpSpPr>
            <a:xfrm>
              <a:off x="431242" y="6864579"/>
              <a:ext cx="8280398" cy="235792"/>
              <a:chOff x="431801" y="-235792"/>
              <a:chExt cx="4400550" cy="235792"/>
            </a:xfrm>
          </p:grpSpPr>
          <p:cxnSp>
            <p:nvCxnSpPr>
              <p:cNvPr id="45" name="Straight Connector 44">
                <a:extLst>
                  <a:ext uri="{FF2B5EF4-FFF2-40B4-BE49-F238E27FC236}">
                    <a16:creationId xmlns:a16="http://schemas.microsoft.com/office/drawing/2014/main" id="{A9DCB243-7CBD-CF41-A847-4743B31F6F4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A3C3437-8E87-6441-8B0A-8F8F806A150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C6173C6B-B5E5-C049-9D82-7736499206BB}"/>
                </a:ext>
              </a:extLst>
            </p:cNvPr>
            <p:cNvGrpSpPr/>
            <p:nvPr userDrawn="1"/>
          </p:nvGrpSpPr>
          <p:grpSpPr>
            <a:xfrm>
              <a:off x="431240" y="-246933"/>
              <a:ext cx="8280401" cy="235792"/>
              <a:chOff x="431800" y="-240735"/>
              <a:chExt cx="8280401" cy="235792"/>
            </a:xfrm>
          </p:grpSpPr>
          <p:grpSp>
            <p:nvGrpSpPr>
              <p:cNvPr id="38" name="Group 37">
                <a:extLst>
                  <a:ext uri="{FF2B5EF4-FFF2-40B4-BE49-F238E27FC236}">
                    <a16:creationId xmlns:a16="http://schemas.microsoft.com/office/drawing/2014/main" id="{7DB3214B-5835-0A45-ACF6-5EA3D2A2C2A4}"/>
                  </a:ext>
                </a:extLst>
              </p:cNvPr>
              <p:cNvGrpSpPr/>
              <p:nvPr userDrawn="1"/>
            </p:nvGrpSpPr>
            <p:grpSpPr>
              <a:xfrm>
                <a:off x="431800" y="-240735"/>
                <a:ext cx="8280400" cy="235792"/>
                <a:chOff x="431800" y="-235792"/>
                <a:chExt cx="4400551" cy="235792"/>
              </a:xfrm>
            </p:grpSpPr>
            <p:cxnSp>
              <p:nvCxnSpPr>
                <p:cNvPr id="42" name="Straight Connector 41">
                  <a:extLst>
                    <a:ext uri="{FF2B5EF4-FFF2-40B4-BE49-F238E27FC236}">
                      <a16:creationId xmlns:a16="http://schemas.microsoft.com/office/drawing/2014/main" id="{9CD9029C-552E-3842-9142-2A9B992CBCD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5CB89CE-5B72-E546-9AC4-BA4ABE7B6E5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96D438F2-534B-EE4B-B585-C4CC5EDDB6F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9" name="TextBox 38">
                <a:extLst>
                  <a:ext uri="{FF2B5EF4-FFF2-40B4-BE49-F238E27FC236}">
                    <a16:creationId xmlns:a16="http://schemas.microsoft.com/office/drawing/2014/main" id="{64038C5B-89D1-BD45-9508-F03D30A080FB}"/>
                  </a:ext>
                </a:extLst>
              </p:cNvPr>
              <p:cNvSpPr txBox="1"/>
              <p:nvPr userDrawn="1"/>
            </p:nvSpPr>
            <p:spPr>
              <a:xfrm>
                <a:off x="3914336" y="-176700"/>
                <a:ext cx="1315339"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40" name="Straight Arrow Connector 39">
                <a:extLst>
                  <a:ext uri="{FF2B5EF4-FFF2-40B4-BE49-F238E27FC236}">
                    <a16:creationId xmlns:a16="http://schemas.microsoft.com/office/drawing/2014/main" id="{EF67F087-0FB9-A040-AE75-7F2F09852397}"/>
                  </a:ext>
                </a:extLst>
              </p:cNvPr>
              <p:cNvCxnSpPr>
                <a:cxnSpLocks/>
                <a:stCxn id="39" idx="1"/>
                <a:endCxn id="44" idx="2"/>
              </p:cNvCxnSpPr>
              <p:nvPr userDrawn="1"/>
            </p:nvCxnSpPr>
            <p:spPr>
              <a:xfrm flipH="1">
                <a:off x="431801" y="-122839"/>
                <a:ext cx="3482535"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CD7BC267-67E7-4F46-8C2A-B2420627EE12}"/>
                  </a:ext>
                </a:extLst>
              </p:cNvPr>
              <p:cNvCxnSpPr>
                <a:cxnSpLocks/>
                <a:stCxn id="39" idx="3"/>
                <a:endCxn id="44" idx="0"/>
              </p:cNvCxnSpPr>
              <p:nvPr userDrawn="1"/>
            </p:nvCxnSpPr>
            <p:spPr>
              <a:xfrm flipV="1">
                <a:off x="5229674" y="-122840"/>
                <a:ext cx="3482527"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058295554"/>
      </p:ext>
    </p:extLst>
  </p:cSld>
  <p:clrMapOvr>
    <a:overrideClrMapping bg1="lt1" tx1="dk1" bg2="lt2" tx2="dk2" accent1="accent1" accent2="accent2" accent3="accent3" accent4="accent4" accent5="accent5" accent6="accent6" hlink="lt1" folHlink="lt1"/>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ne Char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6" name="Chart Placeholder 2">
            <a:extLst>
              <a:ext uri="{FF2B5EF4-FFF2-40B4-BE49-F238E27FC236}">
                <a16:creationId xmlns:a16="http://schemas.microsoft.com/office/drawing/2014/main" id="{A52282EC-86DC-8D43-96A4-DCB61C454A07}"/>
              </a:ext>
            </a:extLst>
          </p:cNvPr>
          <p:cNvSpPr>
            <a:spLocks noGrp="1"/>
          </p:cNvSpPr>
          <p:nvPr>
            <p:ph type="chart" sz="quarter" idx="113"/>
          </p:nvPr>
        </p:nvSpPr>
        <p:spPr>
          <a:xfrm>
            <a:off x="575733" y="1735138"/>
            <a:ext cx="11040532" cy="4430712"/>
          </a:xfrm>
        </p:spPr>
        <p:txBody>
          <a:bodyPr/>
          <a:lstStyle>
            <a:lvl1pPr>
              <a:defRPr b="0">
                <a:solidFill>
                  <a:schemeClr val="tx1">
                    <a:lumMod val="50000"/>
                    <a:lumOff val="50000"/>
                  </a:schemeClr>
                </a:solidFill>
              </a:defRPr>
            </a:lvl1pPr>
          </a:lstStyle>
          <a:p>
            <a:r>
              <a:rPr lang="en-US"/>
              <a:t>Click icon to add chart</a:t>
            </a:r>
          </a:p>
        </p:txBody>
      </p:sp>
      <p:sp>
        <p:nvSpPr>
          <p:cNvPr id="1000" name="Footnotes Placeholder">
            <a:extLst>
              <a:ext uri="{FF2B5EF4-FFF2-40B4-BE49-F238E27FC236}">
                <a16:creationId xmlns:a16="http://schemas.microsoft.com/office/drawing/2014/main" id="{A5DCE5DD-26A8-1F44-AB0E-1108C6B2C629}"/>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11" name="Text Placeholder 6">
            <a:extLst>
              <a:ext uri="{FF2B5EF4-FFF2-40B4-BE49-F238E27FC236}">
                <a16:creationId xmlns:a16="http://schemas.microsoft.com/office/drawing/2014/main" id="{932E292F-93E5-C544-8958-CDEDEB71F002}"/>
              </a:ext>
            </a:extLst>
          </p:cNvPr>
          <p:cNvSpPr>
            <a:spLocks noGrp="1"/>
          </p:cNvSpPr>
          <p:nvPr>
            <p:ph type="body" sz="quarter" idx="108" hasCustomPrompt="1"/>
          </p:nvPr>
        </p:nvSpPr>
        <p:spPr>
          <a:xfrm>
            <a:off x="575734"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grpSp>
        <p:nvGrpSpPr>
          <p:cNvPr id="56" name="Group 55">
            <a:extLst>
              <a:ext uri="{FF2B5EF4-FFF2-40B4-BE49-F238E27FC236}">
                <a16:creationId xmlns:a16="http://schemas.microsoft.com/office/drawing/2014/main" id="{46A3C5DB-48EB-1C41-B49E-663E78CA9D9E}"/>
              </a:ext>
            </a:extLst>
          </p:cNvPr>
          <p:cNvGrpSpPr/>
          <p:nvPr userDrawn="1"/>
        </p:nvGrpSpPr>
        <p:grpSpPr>
          <a:xfrm>
            <a:off x="12532245" y="-1"/>
            <a:ext cx="2979898" cy="6989737"/>
            <a:chOff x="9399182" y="-1"/>
            <a:chExt cx="2961715" cy="6989737"/>
          </a:xfrm>
        </p:grpSpPr>
        <p:sp>
          <p:nvSpPr>
            <p:cNvPr id="13" name="Rectangle 12">
              <a:extLst>
                <a:ext uri="{FF2B5EF4-FFF2-40B4-BE49-F238E27FC236}">
                  <a16:creationId xmlns:a16="http://schemas.microsoft.com/office/drawing/2014/main" id="{0DEE0A41-E466-6241-9EE4-211BECC9E5B4}"/>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46" name="Picture 45">
              <a:extLst>
                <a:ext uri="{FF2B5EF4-FFF2-40B4-BE49-F238E27FC236}">
                  <a16:creationId xmlns:a16="http://schemas.microsoft.com/office/drawing/2014/main" id="{052E85D3-7D4D-1245-9994-C9F23EA78BC0}"/>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7" name="Group 16">
              <a:extLst>
                <a:ext uri="{FF2B5EF4-FFF2-40B4-BE49-F238E27FC236}">
                  <a16:creationId xmlns:a16="http://schemas.microsoft.com/office/drawing/2014/main" id="{3188577A-9C5E-3441-8977-05779AF7AFFB}"/>
                </a:ext>
              </a:extLst>
            </p:cNvPr>
            <p:cNvGrpSpPr/>
            <p:nvPr userDrawn="1"/>
          </p:nvGrpSpPr>
          <p:grpSpPr>
            <a:xfrm>
              <a:off x="9541497" y="162442"/>
              <a:ext cx="2819400" cy="814510"/>
              <a:chOff x="-3644733" y="165205"/>
              <a:chExt cx="2819400" cy="814510"/>
            </a:xfrm>
          </p:grpSpPr>
          <p:sp>
            <p:nvSpPr>
              <p:cNvPr id="36" name="Rectangle 35">
                <a:extLst>
                  <a:ext uri="{FF2B5EF4-FFF2-40B4-BE49-F238E27FC236}">
                    <a16:creationId xmlns:a16="http://schemas.microsoft.com/office/drawing/2014/main" id="{AD2D2C92-2EB0-D842-80AE-BDB0B6BE7B3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7" name="TextBox 36">
                <a:extLst>
                  <a:ext uri="{FF2B5EF4-FFF2-40B4-BE49-F238E27FC236}">
                    <a16:creationId xmlns:a16="http://schemas.microsoft.com/office/drawing/2014/main" id="{78C5C3D8-B1F5-7049-B564-458BB9066277}"/>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38" name="Picture 37">
                <a:extLst>
                  <a:ext uri="{FF2B5EF4-FFF2-40B4-BE49-F238E27FC236}">
                    <a16:creationId xmlns:a16="http://schemas.microsoft.com/office/drawing/2014/main" id="{823A8AA4-5D28-EE4F-A6FA-701C10701D71}"/>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2" name="Group 1">
              <a:extLst>
                <a:ext uri="{FF2B5EF4-FFF2-40B4-BE49-F238E27FC236}">
                  <a16:creationId xmlns:a16="http://schemas.microsoft.com/office/drawing/2014/main" id="{5F14184C-17A3-1E43-9FDB-63D39103AC76}"/>
                </a:ext>
              </a:extLst>
            </p:cNvPr>
            <p:cNvGrpSpPr/>
            <p:nvPr userDrawn="1"/>
          </p:nvGrpSpPr>
          <p:grpSpPr>
            <a:xfrm>
              <a:off x="9521833" y="5769065"/>
              <a:ext cx="2676002" cy="1052731"/>
              <a:chOff x="9521833" y="2036288"/>
              <a:chExt cx="2676002" cy="1052731"/>
            </a:xfrm>
          </p:grpSpPr>
          <p:sp>
            <p:nvSpPr>
              <p:cNvPr id="14" name="TextBox 13">
                <a:extLst>
                  <a:ext uri="{FF2B5EF4-FFF2-40B4-BE49-F238E27FC236}">
                    <a16:creationId xmlns:a16="http://schemas.microsoft.com/office/drawing/2014/main" id="{79AE1D20-8CAB-A84B-93C0-DD3E85791803}"/>
                  </a:ext>
                </a:extLst>
              </p:cNvPr>
              <p:cNvSpPr txBox="1"/>
              <p:nvPr userDrawn="1"/>
            </p:nvSpPr>
            <p:spPr>
              <a:xfrm>
                <a:off x="9558507" y="2036288"/>
                <a:ext cx="99666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ADD A NEW CHART</a:t>
                </a:r>
              </a:p>
            </p:txBody>
          </p:sp>
          <p:cxnSp>
            <p:nvCxnSpPr>
              <p:cNvPr id="15" name="Straight Connector 14">
                <a:extLst>
                  <a:ext uri="{FF2B5EF4-FFF2-40B4-BE49-F238E27FC236}">
                    <a16:creationId xmlns:a16="http://schemas.microsoft.com/office/drawing/2014/main" id="{DF9304E6-DDDD-074C-9CA1-3FF397E8A438}"/>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7FD474BE-600B-C34D-BDE1-0491BC172E2E}"/>
                  </a:ext>
                </a:extLst>
              </p:cNvPr>
              <p:cNvGrpSpPr/>
              <p:nvPr userDrawn="1"/>
            </p:nvGrpSpPr>
            <p:grpSpPr>
              <a:xfrm>
                <a:off x="9521833" y="2361408"/>
                <a:ext cx="2557391" cy="323165"/>
                <a:chOff x="12352022" y="513115"/>
                <a:chExt cx="2557391" cy="323165"/>
              </a:xfrm>
            </p:grpSpPr>
            <p:sp>
              <p:nvSpPr>
                <p:cNvPr id="33" name="TextBox 32">
                  <a:extLst>
                    <a:ext uri="{FF2B5EF4-FFF2-40B4-BE49-F238E27FC236}">
                      <a16:creationId xmlns:a16="http://schemas.microsoft.com/office/drawing/2014/main" id="{0C88436B-93D8-554A-B5CD-918E7F26680E}"/>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35" name="TextBox 34">
                  <a:extLst>
                    <a:ext uri="{FF2B5EF4-FFF2-40B4-BE49-F238E27FC236}">
                      <a16:creationId xmlns:a16="http://schemas.microsoft.com/office/drawing/2014/main" id="{AEF79A20-3A24-A548-BB43-C0356B3E259D}"/>
                    </a:ext>
                  </a:extLst>
                </p:cNvPr>
                <p:cNvSpPr txBox="1"/>
                <p:nvPr userDrawn="1"/>
              </p:nvSpPr>
              <p:spPr>
                <a:xfrm>
                  <a:off x="12516615" y="513115"/>
                  <a:ext cx="2392798"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Open the </a:t>
                  </a:r>
                  <a:r>
                    <a:rPr lang="en-US" sz="1050" b="1"/>
                    <a:t>VEDP Template Assets file </a:t>
                  </a:r>
                  <a:r>
                    <a:rPr lang="en-US" sz="1050"/>
                    <a:t>and copy the desired chart type into your presentation.</a:t>
                  </a:r>
                </a:p>
              </p:txBody>
            </p:sp>
          </p:grpSp>
          <p:sp>
            <p:nvSpPr>
              <p:cNvPr id="19" name="TextBox 18">
                <a:extLst>
                  <a:ext uri="{FF2B5EF4-FFF2-40B4-BE49-F238E27FC236}">
                    <a16:creationId xmlns:a16="http://schemas.microsoft.com/office/drawing/2014/main" id="{0E8E16A0-1C23-7C47-A1F5-A2C39F078AEA}"/>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These samples slide have further instructions and have been set up so you can easily edit the data.</a:t>
                </a:r>
              </a:p>
            </p:txBody>
          </p:sp>
        </p:grpSp>
        <p:sp>
          <p:nvSpPr>
            <p:cNvPr id="20" name="TextBox 19">
              <a:extLst>
                <a:ext uri="{FF2B5EF4-FFF2-40B4-BE49-F238E27FC236}">
                  <a16:creationId xmlns:a16="http://schemas.microsoft.com/office/drawing/2014/main" id="{43CAB352-C374-234F-BB73-257B0657FFA7}"/>
                </a:ext>
              </a:extLst>
            </p:cNvPr>
            <p:cNvSpPr txBox="1"/>
            <p:nvPr userDrawn="1"/>
          </p:nvSpPr>
          <p:spPr>
            <a:xfrm>
              <a:off x="9558507" y="2034287"/>
              <a:ext cx="15424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FORMAT AN EXISTING CHART</a:t>
              </a:r>
            </a:p>
          </p:txBody>
        </p:sp>
        <p:cxnSp>
          <p:nvCxnSpPr>
            <p:cNvPr id="21" name="Straight Connector 20">
              <a:extLst>
                <a:ext uri="{FF2B5EF4-FFF2-40B4-BE49-F238E27FC236}">
                  <a16:creationId xmlns:a16="http://schemas.microsoft.com/office/drawing/2014/main" id="{C19D179F-1619-3041-9EA0-F999842F6701}"/>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B288DF0-7D33-E140-8D7C-8C53D4D2F2BD}"/>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23" name="TextBox 22">
              <a:extLst>
                <a:ext uri="{FF2B5EF4-FFF2-40B4-BE49-F238E27FC236}">
                  <a16:creationId xmlns:a16="http://schemas.microsoft.com/office/drawing/2014/main" id="{43AA5595-3102-C444-9F60-386BB986D435}"/>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24" name="TextBox 23">
              <a:extLst>
                <a:ext uri="{FF2B5EF4-FFF2-40B4-BE49-F238E27FC236}">
                  <a16:creationId xmlns:a16="http://schemas.microsoft.com/office/drawing/2014/main" id="{7012B9C1-AB90-A243-A8E5-BF0E3C62F730}"/>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Select the chart placeholder and then paste your existing chart.</a:t>
              </a:r>
            </a:p>
          </p:txBody>
        </p:sp>
        <p:sp>
          <p:nvSpPr>
            <p:cNvPr id="25" name="TextBox 24">
              <a:extLst>
                <a:ext uri="{FF2B5EF4-FFF2-40B4-BE49-F238E27FC236}">
                  <a16:creationId xmlns:a16="http://schemas.microsoft.com/office/drawing/2014/main" id="{232CD633-A48D-A745-9BD0-9E3BD2BB3D7B}"/>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Right-click on the chart and choose “Change Chart Type…”</a:t>
              </a:r>
            </a:p>
          </p:txBody>
        </p:sp>
        <p:sp>
          <p:nvSpPr>
            <p:cNvPr id="26" name="TextBox 25">
              <a:extLst>
                <a:ext uri="{FF2B5EF4-FFF2-40B4-BE49-F238E27FC236}">
                  <a16:creationId xmlns:a16="http://schemas.microsoft.com/office/drawing/2014/main" id="{20654DE4-AAA0-EA42-9B5D-4772B2BF09B0}"/>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3</a:t>
              </a:r>
            </a:p>
          </p:txBody>
        </p:sp>
        <p:sp>
          <p:nvSpPr>
            <p:cNvPr id="27" name="TextBox 26">
              <a:extLst>
                <a:ext uri="{FF2B5EF4-FFF2-40B4-BE49-F238E27FC236}">
                  <a16:creationId xmlns:a16="http://schemas.microsoft.com/office/drawing/2014/main" id="{7DDF1272-B825-C44D-A05D-B7B4B9F4EE4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Choose one of the VEDP chart styles from the ‘Templates’ category.</a:t>
              </a:r>
            </a:p>
          </p:txBody>
        </p:sp>
        <p:sp>
          <p:nvSpPr>
            <p:cNvPr id="28" name="TextBox 27">
              <a:extLst>
                <a:ext uri="{FF2B5EF4-FFF2-40B4-BE49-F238E27FC236}">
                  <a16:creationId xmlns:a16="http://schemas.microsoft.com/office/drawing/2014/main" id="{C358145A-52DB-874A-A52C-73CB4F645F5D}"/>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Make sure that you have access to any linked files, or you won’t be able to apply the chart style successfully.</a:t>
              </a:r>
            </a:p>
          </p:txBody>
        </p:sp>
        <p:grpSp>
          <p:nvGrpSpPr>
            <p:cNvPr id="30" name="Group 29">
              <a:extLst>
                <a:ext uri="{FF2B5EF4-FFF2-40B4-BE49-F238E27FC236}">
                  <a16:creationId xmlns:a16="http://schemas.microsoft.com/office/drawing/2014/main" id="{96FFEFAB-2135-954C-BE19-7078E19E9F13}"/>
                </a:ext>
              </a:extLst>
            </p:cNvPr>
            <p:cNvGrpSpPr/>
            <p:nvPr userDrawn="1"/>
          </p:nvGrpSpPr>
          <p:grpSpPr>
            <a:xfrm>
              <a:off x="9558507" y="1119891"/>
              <a:ext cx="2639328" cy="202617"/>
              <a:chOff x="9303325" y="149270"/>
              <a:chExt cx="2639328" cy="202617"/>
            </a:xfrm>
          </p:grpSpPr>
          <p:sp>
            <p:nvSpPr>
              <p:cNvPr id="31" name="TextBox 30">
                <a:extLst>
                  <a:ext uri="{FF2B5EF4-FFF2-40B4-BE49-F238E27FC236}">
                    <a16:creationId xmlns:a16="http://schemas.microsoft.com/office/drawing/2014/main" id="{18B4290E-B21A-F749-A231-9A6AC889777F}"/>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32" name="Straight Connector 31">
                <a:extLst>
                  <a:ext uri="{FF2B5EF4-FFF2-40B4-BE49-F238E27FC236}">
                    <a16:creationId xmlns:a16="http://schemas.microsoft.com/office/drawing/2014/main" id="{9FB79B68-3EBE-714A-B5BA-1F4586A34CDD}"/>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F646EFCF-19A2-C542-B0AF-E4058343FBE8}"/>
                </a:ext>
              </a:extLst>
            </p:cNvPr>
            <p:cNvGrpSpPr/>
            <p:nvPr userDrawn="1"/>
          </p:nvGrpSpPr>
          <p:grpSpPr>
            <a:xfrm>
              <a:off x="9541497" y="4046193"/>
              <a:ext cx="2735151" cy="1533198"/>
              <a:chOff x="9296567" y="4910412"/>
              <a:chExt cx="2735151" cy="1533198"/>
            </a:xfrm>
          </p:grpSpPr>
          <p:sp>
            <p:nvSpPr>
              <p:cNvPr id="40" name="Rectangle 39">
                <a:extLst>
                  <a:ext uri="{FF2B5EF4-FFF2-40B4-BE49-F238E27FC236}">
                    <a16:creationId xmlns:a16="http://schemas.microsoft.com/office/drawing/2014/main" id="{A9C96D50-537F-644A-B8A7-9E284B5D2CAF}"/>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1" name="TextBox 40">
                <a:extLst>
                  <a:ext uri="{FF2B5EF4-FFF2-40B4-BE49-F238E27FC236}">
                    <a16:creationId xmlns:a16="http://schemas.microsoft.com/office/drawing/2014/main" id="{60BEC074-7574-D843-A815-FDC7A3F8DE1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Re-apply chart style</a:t>
                </a:r>
              </a:p>
            </p:txBody>
          </p:sp>
          <p:pic>
            <p:nvPicPr>
              <p:cNvPr id="42" name="Graphic 41">
                <a:extLst>
                  <a:ext uri="{FF2B5EF4-FFF2-40B4-BE49-F238E27FC236}">
                    <a16:creationId xmlns:a16="http://schemas.microsoft.com/office/drawing/2014/main" id="{6206800A-4989-A74C-8790-A0DBC0071B0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43" name="TextBox 42">
                <a:extLst>
                  <a:ext uri="{FF2B5EF4-FFF2-40B4-BE49-F238E27FC236}">
                    <a16:creationId xmlns:a16="http://schemas.microsoft.com/office/drawing/2014/main" id="{652EE101-17F5-7E45-B4FB-A67BC514186C}"/>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a:t>In case of error, return legend entries, data labels, and/or chart formatting by re-applying the current VEDP chart style template.</a:t>
                </a:r>
              </a:p>
              <a:p>
                <a:pPr lvl="1"/>
                <a:r>
                  <a:rPr lang="en-US" sz="900"/>
                  <a:t>Right-click the chart and choose</a:t>
                </a:r>
                <a:br>
                  <a:rPr lang="en-US" sz="900"/>
                </a:br>
                <a:r>
                  <a:rPr lang="en-US" sz="900"/>
                  <a:t>“Change Chart Type”</a:t>
                </a:r>
              </a:p>
              <a:p>
                <a:pPr lvl="1"/>
                <a:r>
                  <a:rPr lang="en-US" sz="900"/>
                  <a:t>Then choose the matching VEDP chart style from the ‘Templates’ category.</a:t>
                </a:r>
              </a:p>
            </p:txBody>
          </p:sp>
        </p:grpSp>
      </p:grpSp>
      <p:sp>
        <p:nvSpPr>
          <p:cNvPr id="7" name="Date Placeholder 6">
            <a:extLst>
              <a:ext uri="{FF2B5EF4-FFF2-40B4-BE49-F238E27FC236}">
                <a16:creationId xmlns:a16="http://schemas.microsoft.com/office/drawing/2014/main" id="{36C2C27D-9DE3-5A46-AF41-ABB478805204}"/>
              </a:ext>
            </a:extLst>
          </p:cNvPr>
          <p:cNvSpPr>
            <a:spLocks noGrp="1"/>
          </p:cNvSpPr>
          <p:nvPr userDrawn="1">
            <p:ph type="dt" sz="half" idx="114"/>
          </p:nvPr>
        </p:nvSpPr>
        <p:spPr/>
        <p:txBody>
          <a:bodyPr/>
          <a:lstStyle/>
          <a:p>
            <a:endParaRPr lang="en-US"/>
          </a:p>
        </p:txBody>
      </p:sp>
      <p:sp>
        <p:nvSpPr>
          <p:cNvPr id="8" name="Footer Placeholder 7">
            <a:extLst>
              <a:ext uri="{FF2B5EF4-FFF2-40B4-BE49-F238E27FC236}">
                <a16:creationId xmlns:a16="http://schemas.microsoft.com/office/drawing/2014/main" id="{D9636EAF-4BEC-1741-AAE3-F6127A0777EA}"/>
              </a:ext>
            </a:extLst>
          </p:cNvPr>
          <p:cNvSpPr>
            <a:spLocks noGrp="1"/>
          </p:cNvSpPr>
          <p:nvPr userDrawn="1">
            <p:ph type="ftr" sz="quarter" idx="115"/>
          </p:nvPr>
        </p:nvSpPr>
        <p:spPr/>
        <p:txBody>
          <a:bodyPr/>
          <a:lstStyle/>
          <a:p>
            <a:endParaRPr lang="en-US"/>
          </a:p>
        </p:txBody>
      </p:sp>
      <p:sp>
        <p:nvSpPr>
          <p:cNvPr id="12" name="Slide Number Placeholder 11">
            <a:extLst>
              <a:ext uri="{FF2B5EF4-FFF2-40B4-BE49-F238E27FC236}">
                <a16:creationId xmlns:a16="http://schemas.microsoft.com/office/drawing/2014/main" id="{8CFEAC8D-B87E-434B-B0C2-7C4783B1F6D9}"/>
              </a:ext>
            </a:extLst>
          </p:cNvPr>
          <p:cNvSpPr>
            <a:spLocks noGrp="1"/>
          </p:cNvSpPr>
          <p:nvPr userDrawn="1">
            <p:ph type="sldNum" sz="quarter" idx="116"/>
          </p:nvPr>
        </p:nvSpPr>
        <p:spPr/>
        <p:txBody>
          <a:bodyPr/>
          <a:lstStyle/>
          <a:p>
            <a:pPr marL="12700"/>
            <a:fld id="{078C017C-E1B9-8443-B047-B08AAA027B45}" type="slidenum">
              <a:rPr lang="en-US" smtClean="0"/>
              <a:pPr marL="12700"/>
              <a:t>‹#›</a:t>
            </a:fld>
            <a:endParaRPr lang="en-US"/>
          </a:p>
        </p:txBody>
      </p:sp>
    </p:spTree>
    <p:extLst>
      <p:ext uri="{BB962C8B-B14F-4D97-AF65-F5344CB8AC3E}">
        <p14:creationId xmlns:p14="http://schemas.microsoft.com/office/powerpoint/2010/main" val="76161088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hank You (Photo)">
    <p:bg>
      <p:bgPr>
        <a:solidFill>
          <a:schemeClr val="bg1"/>
        </a:solidFill>
        <a:effectLst/>
      </p:bgPr>
    </p:bg>
    <p:spTree>
      <p:nvGrpSpPr>
        <p:cNvPr id="1" name=""/>
        <p:cNvGrpSpPr/>
        <p:nvPr/>
      </p:nvGrpSpPr>
      <p:grpSpPr>
        <a:xfrm>
          <a:off x="0" y="0"/>
          <a:ext cx="0" cy="0"/>
          <a:chOff x="0" y="0"/>
          <a:chExt cx="0" cy="0"/>
        </a:xfrm>
      </p:grpSpPr>
      <p:sp>
        <p:nvSpPr>
          <p:cNvPr id="62" name="Picture Placeholder 61">
            <a:extLst>
              <a:ext uri="{FF2B5EF4-FFF2-40B4-BE49-F238E27FC236}">
                <a16:creationId xmlns:a16="http://schemas.microsoft.com/office/drawing/2014/main" id="{612C77EC-2A54-F64F-BCF8-8B49176B9502}"/>
              </a:ext>
            </a:extLst>
          </p:cNvPr>
          <p:cNvSpPr>
            <a:spLocks noGrp="1"/>
          </p:cNvSpPr>
          <p:nvPr>
            <p:ph type="pic" sz="quarter" idx="10" hasCustomPrompt="1"/>
          </p:nvPr>
        </p:nvSpPr>
        <p:spPr>
          <a:xfrm>
            <a:off x="0" y="0"/>
            <a:ext cx="12192000" cy="6858000"/>
          </a:xfrm>
          <a:custGeom>
            <a:avLst/>
            <a:gdLst>
              <a:gd name="connsiteX0" fmla="*/ 8381735 w 9144000"/>
              <a:gd name="connsiteY0" fmla="*/ 6576022 h 6858000"/>
              <a:gd name="connsiteX1" fmla="*/ 8398942 w 9144000"/>
              <a:gd name="connsiteY1" fmla="*/ 6577877 h 6858000"/>
              <a:gd name="connsiteX2" fmla="*/ 8407847 w 9144000"/>
              <a:gd name="connsiteY2" fmla="*/ 6584666 h 6858000"/>
              <a:gd name="connsiteX3" fmla="*/ 8413547 w 9144000"/>
              <a:gd name="connsiteY3" fmla="*/ 6594991 h 6858000"/>
              <a:gd name="connsiteX4" fmla="*/ 8415584 w 9144000"/>
              <a:gd name="connsiteY4" fmla="*/ 6608203 h 6858000"/>
              <a:gd name="connsiteX5" fmla="*/ 8413646 w 9144000"/>
              <a:gd name="connsiteY5" fmla="*/ 6621274 h 6858000"/>
              <a:gd name="connsiteX6" fmla="*/ 8407947 w 9144000"/>
              <a:gd name="connsiteY6" fmla="*/ 6631669 h 6858000"/>
              <a:gd name="connsiteX7" fmla="*/ 8375887 w 9144000"/>
              <a:gd name="connsiteY7" fmla="*/ 6638514 h 6858000"/>
              <a:gd name="connsiteX8" fmla="*/ 8366910 w 9144000"/>
              <a:gd name="connsiteY8" fmla="*/ 6631669 h 6858000"/>
              <a:gd name="connsiteX9" fmla="*/ 8361211 w 9144000"/>
              <a:gd name="connsiteY9" fmla="*/ 6621274 h 6858000"/>
              <a:gd name="connsiteX10" fmla="*/ 8359045 w 9144000"/>
              <a:gd name="connsiteY10" fmla="*/ 6608203 h 6858000"/>
              <a:gd name="connsiteX11" fmla="*/ 8361097 w 9144000"/>
              <a:gd name="connsiteY11" fmla="*/ 6594991 h 6858000"/>
              <a:gd name="connsiteX12" fmla="*/ 8366796 w 9144000"/>
              <a:gd name="connsiteY12" fmla="*/ 6584666 h 6858000"/>
              <a:gd name="connsiteX13" fmla="*/ 8381735 w 9144000"/>
              <a:gd name="connsiteY13" fmla="*/ 6576022 h 6858000"/>
              <a:gd name="connsiteX14" fmla="*/ 8525633 w 9144000"/>
              <a:gd name="connsiteY14" fmla="*/ 6553486 h 6858000"/>
              <a:gd name="connsiteX15" fmla="*/ 8525633 w 9144000"/>
              <a:gd name="connsiteY15" fmla="*/ 6599432 h 6858000"/>
              <a:gd name="connsiteX16" fmla="*/ 8525633 w 9144000"/>
              <a:gd name="connsiteY16" fmla="*/ 6662773 h 6858000"/>
              <a:gd name="connsiteX17" fmla="*/ 8595623 w 9144000"/>
              <a:gd name="connsiteY17" fmla="*/ 6662773 h 6858000"/>
              <a:gd name="connsiteX18" fmla="*/ 8596022 w 9144000"/>
              <a:gd name="connsiteY18" fmla="*/ 6662773 h 6858000"/>
              <a:gd name="connsiteX19" fmla="*/ 8596022 w 9144000"/>
              <a:gd name="connsiteY19" fmla="*/ 6645772 h 6858000"/>
              <a:gd name="connsiteX20" fmla="*/ 8595623 w 9144000"/>
              <a:gd name="connsiteY20" fmla="*/ 6645772 h 6858000"/>
              <a:gd name="connsiteX21" fmla="*/ 8595623 w 9144000"/>
              <a:gd name="connsiteY21" fmla="*/ 6639674 h 6858000"/>
              <a:gd name="connsiteX22" fmla="*/ 8551295 w 9144000"/>
              <a:gd name="connsiteY22" fmla="*/ 6639674 h 6858000"/>
              <a:gd name="connsiteX23" fmla="*/ 8551295 w 9144000"/>
              <a:gd name="connsiteY23" fmla="*/ 6618349 h 6858000"/>
              <a:gd name="connsiteX24" fmla="*/ 8591705 w 9144000"/>
              <a:gd name="connsiteY24" fmla="*/ 6618349 h 6858000"/>
              <a:gd name="connsiteX25" fmla="*/ 8591705 w 9144000"/>
              <a:gd name="connsiteY25" fmla="*/ 6596277 h 6858000"/>
              <a:gd name="connsiteX26" fmla="*/ 8551295 w 9144000"/>
              <a:gd name="connsiteY26" fmla="*/ 6596277 h 6858000"/>
              <a:gd name="connsiteX27" fmla="*/ 8551295 w 9144000"/>
              <a:gd name="connsiteY27" fmla="*/ 6576755 h 6858000"/>
              <a:gd name="connsiteX28" fmla="*/ 8595623 w 9144000"/>
              <a:gd name="connsiteY28" fmla="*/ 6576755 h 6858000"/>
              <a:gd name="connsiteX29" fmla="*/ 8595623 w 9144000"/>
              <a:gd name="connsiteY29" fmla="*/ 6570487 h 6858000"/>
              <a:gd name="connsiteX30" fmla="*/ 8596022 w 9144000"/>
              <a:gd name="connsiteY30" fmla="*/ 6570487 h 6858000"/>
              <a:gd name="connsiteX31" fmla="*/ 8596022 w 9144000"/>
              <a:gd name="connsiteY31" fmla="*/ 6553486 h 6858000"/>
              <a:gd name="connsiteX32" fmla="*/ 8595623 w 9144000"/>
              <a:gd name="connsiteY32" fmla="*/ 6553486 h 6858000"/>
              <a:gd name="connsiteX33" fmla="*/ 8547362 w 9144000"/>
              <a:gd name="connsiteY33" fmla="*/ 6553486 h 6858000"/>
              <a:gd name="connsiteX34" fmla="*/ 8448177 w 9144000"/>
              <a:gd name="connsiteY34" fmla="*/ 6553486 h 6858000"/>
              <a:gd name="connsiteX35" fmla="*/ 8448177 w 9144000"/>
              <a:gd name="connsiteY35" fmla="*/ 6599432 h 6858000"/>
              <a:gd name="connsiteX36" fmla="*/ 8448177 w 9144000"/>
              <a:gd name="connsiteY36" fmla="*/ 6662773 h 6858000"/>
              <a:gd name="connsiteX37" fmla="*/ 8518167 w 9144000"/>
              <a:gd name="connsiteY37" fmla="*/ 6662773 h 6858000"/>
              <a:gd name="connsiteX38" fmla="*/ 8518552 w 9144000"/>
              <a:gd name="connsiteY38" fmla="*/ 6662773 h 6858000"/>
              <a:gd name="connsiteX39" fmla="*/ 8518552 w 9144000"/>
              <a:gd name="connsiteY39" fmla="*/ 6645772 h 6858000"/>
              <a:gd name="connsiteX40" fmla="*/ 8518167 w 9144000"/>
              <a:gd name="connsiteY40" fmla="*/ 6645772 h 6858000"/>
              <a:gd name="connsiteX41" fmla="*/ 8518167 w 9144000"/>
              <a:gd name="connsiteY41" fmla="*/ 6639674 h 6858000"/>
              <a:gd name="connsiteX42" fmla="*/ 8473825 w 9144000"/>
              <a:gd name="connsiteY42" fmla="*/ 6639674 h 6858000"/>
              <a:gd name="connsiteX43" fmla="*/ 8473825 w 9144000"/>
              <a:gd name="connsiteY43" fmla="*/ 6618349 h 6858000"/>
              <a:gd name="connsiteX44" fmla="*/ 8514235 w 9144000"/>
              <a:gd name="connsiteY44" fmla="*/ 6618349 h 6858000"/>
              <a:gd name="connsiteX45" fmla="*/ 8514235 w 9144000"/>
              <a:gd name="connsiteY45" fmla="*/ 6596277 h 6858000"/>
              <a:gd name="connsiteX46" fmla="*/ 8473825 w 9144000"/>
              <a:gd name="connsiteY46" fmla="*/ 6596277 h 6858000"/>
              <a:gd name="connsiteX47" fmla="*/ 8473825 w 9144000"/>
              <a:gd name="connsiteY47" fmla="*/ 6576755 h 6858000"/>
              <a:gd name="connsiteX48" fmla="*/ 8518167 w 9144000"/>
              <a:gd name="connsiteY48" fmla="*/ 6576755 h 6858000"/>
              <a:gd name="connsiteX49" fmla="*/ 8518167 w 9144000"/>
              <a:gd name="connsiteY49" fmla="*/ 6570487 h 6858000"/>
              <a:gd name="connsiteX50" fmla="*/ 8518552 w 9144000"/>
              <a:gd name="connsiteY50" fmla="*/ 6570487 h 6858000"/>
              <a:gd name="connsiteX51" fmla="*/ 8518552 w 9144000"/>
              <a:gd name="connsiteY51" fmla="*/ 6553486 h 6858000"/>
              <a:gd name="connsiteX52" fmla="*/ 8518167 w 9144000"/>
              <a:gd name="connsiteY52" fmla="*/ 6553486 h 6858000"/>
              <a:gd name="connsiteX53" fmla="*/ 8469892 w 9144000"/>
              <a:gd name="connsiteY53" fmla="*/ 6553486 h 6858000"/>
              <a:gd name="connsiteX54" fmla="*/ 8387913 w 9144000"/>
              <a:gd name="connsiteY54" fmla="*/ 6553453 h 6858000"/>
              <a:gd name="connsiteX55" fmla="*/ 8365286 w 9144000"/>
              <a:gd name="connsiteY55" fmla="*/ 6557679 h 6858000"/>
              <a:gd name="connsiteX56" fmla="*/ 8357150 w 9144000"/>
              <a:gd name="connsiteY56" fmla="*/ 6561806 h 6858000"/>
              <a:gd name="connsiteX57" fmla="*/ 8332784 w 9144000"/>
              <a:gd name="connsiteY57" fmla="*/ 6613372 h 6858000"/>
              <a:gd name="connsiteX58" fmla="*/ 8336389 w 9144000"/>
              <a:gd name="connsiteY58" fmla="*/ 6629852 h 6858000"/>
              <a:gd name="connsiteX59" fmla="*/ 8364431 w 9144000"/>
              <a:gd name="connsiteY59" fmla="*/ 6658585 h 6858000"/>
              <a:gd name="connsiteX60" fmla="*/ 8386916 w 9144000"/>
              <a:gd name="connsiteY60" fmla="*/ 6662811 h 6858000"/>
              <a:gd name="connsiteX61" fmla="*/ 8409486 w 9144000"/>
              <a:gd name="connsiteY61" fmla="*/ 6658585 h 6858000"/>
              <a:gd name="connsiteX62" fmla="*/ 8426926 w 9144000"/>
              <a:gd name="connsiteY62" fmla="*/ 6647106 h 6858000"/>
              <a:gd name="connsiteX63" fmla="*/ 8438240 w 9144000"/>
              <a:gd name="connsiteY63" fmla="*/ 6629852 h 6858000"/>
              <a:gd name="connsiteX64" fmla="*/ 8442258 w 9144000"/>
              <a:gd name="connsiteY64" fmla="*/ 6608203 h 6858000"/>
              <a:gd name="connsiteX65" fmla="*/ 8438397 w 9144000"/>
              <a:gd name="connsiteY65" fmla="*/ 6586469 h 6858000"/>
              <a:gd name="connsiteX66" fmla="*/ 8427439 w 9144000"/>
              <a:gd name="connsiteY66" fmla="*/ 6569158 h 6858000"/>
              <a:gd name="connsiteX67" fmla="*/ 8410341 w 9144000"/>
              <a:gd name="connsiteY67" fmla="*/ 6557679 h 6858000"/>
              <a:gd name="connsiteX68" fmla="*/ 8387913 w 9144000"/>
              <a:gd name="connsiteY68" fmla="*/ 6553453 h 6858000"/>
              <a:gd name="connsiteX69" fmla="*/ 8245203 w 9144000"/>
              <a:gd name="connsiteY69" fmla="*/ 6553106 h 6858000"/>
              <a:gd name="connsiteX70" fmla="*/ 8261546 w 9144000"/>
              <a:gd name="connsiteY70" fmla="*/ 6587178 h 6858000"/>
              <a:gd name="connsiteX71" fmla="*/ 8288505 w 9144000"/>
              <a:gd name="connsiteY71" fmla="*/ 6587178 h 6858000"/>
              <a:gd name="connsiteX72" fmla="*/ 8274156 w 9144000"/>
              <a:gd name="connsiteY72" fmla="*/ 6553106 h 6858000"/>
              <a:gd name="connsiteX73" fmla="*/ 8325053 w 9144000"/>
              <a:gd name="connsiteY73" fmla="*/ 6553092 h 6858000"/>
              <a:gd name="connsiteX74" fmla="*/ 8299363 w 9144000"/>
              <a:gd name="connsiteY74" fmla="*/ 6612222 h 6858000"/>
              <a:gd name="connsiteX75" fmla="*/ 8292395 w 9144000"/>
              <a:gd name="connsiteY75" fmla="*/ 6595883 h 6858000"/>
              <a:gd name="connsiteX76" fmla="*/ 8265650 w 9144000"/>
              <a:gd name="connsiteY76" fmla="*/ 6595883 h 6858000"/>
              <a:gd name="connsiteX77" fmla="*/ 8297582 w 9144000"/>
              <a:gd name="connsiteY77" fmla="*/ 6662548 h 6858000"/>
              <a:gd name="connsiteX78" fmla="*/ 8300545 w 9144000"/>
              <a:gd name="connsiteY78" fmla="*/ 6662548 h 6858000"/>
              <a:gd name="connsiteX79" fmla="*/ 8352283 w 9144000"/>
              <a:gd name="connsiteY79" fmla="*/ 6553092 h 6858000"/>
              <a:gd name="connsiteX80" fmla="*/ 8704282 w 9144000"/>
              <a:gd name="connsiteY80" fmla="*/ 6515554 h 6858000"/>
              <a:gd name="connsiteX81" fmla="*/ 8704282 w 9144000"/>
              <a:gd name="connsiteY81" fmla="*/ 6690482 h 6858000"/>
              <a:gd name="connsiteX82" fmla="*/ 8723671 w 9144000"/>
              <a:gd name="connsiteY82" fmla="*/ 6690482 h 6858000"/>
              <a:gd name="connsiteX83" fmla="*/ 8723671 w 9144000"/>
              <a:gd name="connsiteY83" fmla="*/ 6515554 h 6858000"/>
              <a:gd name="connsiteX84" fmla="*/ 0 w 9144000"/>
              <a:gd name="connsiteY84" fmla="*/ 0 h 6858000"/>
              <a:gd name="connsiteX85" fmla="*/ 9144000 w 9144000"/>
              <a:gd name="connsiteY85" fmla="*/ 0 h 6858000"/>
              <a:gd name="connsiteX86" fmla="*/ 9144000 w 9144000"/>
              <a:gd name="connsiteY86" fmla="*/ 6214681 h 6858000"/>
              <a:gd name="connsiteX87" fmla="*/ 9144000 w 9144000"/>
              <a:gd name="connsiteY87" fmla="*/ 6397151 h 6858000"/>
              <a:gd name="connsiteX88" fmla="*/ 9144000 w 9144000"/>
              <a:gd name="connsiteY88" fmla="*/ 6401792 h 6858000"/>
              <a:gd name="connsiteX89" fmla="*/ 9144000 w 9144000"/>
              <a:gd name="connsiteY89" fmla="*/ 6434962 h 6858000"/>
              <a:gd name="connsiteX90" fmla="*/ 9144000 w 9144000"/>
              <a:gd name="connsiteY90" fmla="*/ 6858000 h 6858000"/>
              <a:gd name="connsiteX91" fmla="*/ 8995529 w 9144000"/>
              <a:gd name="connsiteY91" fmla="*/ 6858000 h 6858000"/>
              <a:gd name="connsiteX92" fmla="*/ 7924718 w 9144000"/>
              <a:gd name="connsiteY92" fmla="*/ 6858000 h 6858000"/>
              <a:gd name="connsiteX93" fmla="*/ 0 w 9144000"/>
              <a:gd name="connsiteY93" fmla="*/ 6858000 h 6858000"/>
              <a:gd name="connsiteX94" fmla="*/ 0 w 9144000"/>
              <a:gd name="connsiteY94" fmla="*/ 6434962 h 6858000"/>
              <a:gd name="connsiteX95" fmla="*/ 0 w 9144000"/>
              <a:gd name="connsiteY95" fmla="*/ 6401792 h 6858000"/>
              <a:gd name="connsiteX96" fmla="*/ 0 w 9144000"/>
              <a:gd name="connsiteY96" fmla="*/ 6397151 h 6858000"/>
              <a:gd name="connsiteX97" fmla="*/ 0 w 9144000"/>
              <a:gd name="connsiteY97" fmla="*/ 62146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144000" h="6858000">
                <a:moveTo>
                  <a:pt x="8381735" y="6576022"/>
                </a:moveTo>
                <a:cubicBezTo>
                  <a:pt x="8387385" y="6574829"/>
                  <a:pt x="8393413" y="6575385"/>
                  <a:pt x="8398942" y="6577877"/>
                </a:cubicBezTo>
                <a:cubicBezTo>
                  <a:pt x="8402361" y="6579495"/>
                  <a:pt x="8405396" y="6581808"/>
                  <a:pt x="8407847" y="6584666"/>
                </a:cubicBezTo>
                <a:cubicBezTo>
                  <a:pt x="8410387" y="6587723"/>
                  <a:pt x="8412320" y="6591226"/>
                  <a:pt x="8413547" y="6594991"/>
                </a:cubicBezTo>
                <a:cubicBezTo>
                  <a:pt x="8414952" y="6599255"/>
                  <a:pt x="8415640" y="6603718"/>
                  <a:pt x="8415584" y="6608203"/>
                </a:cubicBezTo>
                <a:cubicBezTo>
                  <a:pt x="8415665" y="6612635"/>
                  <a:pt x="8415011" y="6617051"/>
                  <a:pt x="8413646" y="6621274"/>
                </a:cubicBezTo>
                <a:cubicBezTo>
                  <a:pt x="8412411" y="6625056"/>
                  <a:pt x="8410478" y="6628580"/>
                  <a:pt x="8407947" y="6631669"/>
                </a:cubicBezTo>
                <a:cubicBezTo>
                  <a:pt x="8399972" y="6640715"/>
                  <a:pt x="8386928" y="6643500"/>
                  <a:pt x="8375887" y="6638514"/>
                </a:cubicBezTo>
                <a:cubicBezTo>
                  <a:pt x="8372423" y="6636911"/>
                  <a:pt x="8369358" y="6634574"/>
                  <a:pt x="8366910" y="6631669"/>
                </a:cubicBezTo>
                <a:cubicBezTo>
                  <a:pt x="8364379" y="6628580"/>
                  <a:pt x="8362446" y="6625056"/>
                  <a:pt x="8361211" y="6621274"/>
                </a:cubicBezTo>
                <a:cubicBezTo>
                  <a:pt x="8359769" y="6617063"/>
                  <a:pt x="8359038" y="6612647"/>
                  <a:pt x="8359045" y="6608203"/>
                </a:cubicBezTo>
                <a:cubicBezTo>
                  <a:pt x="8358993" y="6603717"/>
                  <a:pt x="8359686" y="6599254"/>
                  <a:pt x="8361097" y="6594991"/>
                </a:cubicBezTo>
                <a:cubicBezTo>
                  <a:pt x="8362323" y="6591226"/>
                  <a:pt x="8364257" y="6587723"/>
                  <a:pt x="8366796" y="6584666"/>
                </a:cubicBezTo>
                <a:cubicBezTo>
                  <a:pt x="8370813" y="6580158"/>
                  <a:pt x="8376085" y="6577215"/>
                  <a:pt x="8381735" y="6576022"/>
                </a:cubicBezTo>
                <a:close/>
                <a:moveTo>
                  <a:pt x="8525633" y="6553486"/>
                </a:moveTo>
                <a:lnTo>
                  <a:pt x="8525633" y="6599432"/>
                </a:lnTo>
                <a:lnTo>
                  <a:pt x="8525633" y="6662773"/>
                </a:lnTo>
                <a:lnTo>
                  <a:pt x="8595623" y="6662773"/>
                </a:lnTo>
                <a:lnTo>
                  <a:pt x="8596022" y="6662773"/>
                </a:lnTo>
                <a:lnTo>
                  <a:pt x="8596022" y="6645772"/>
                </a:lnTo>
                <a:lnTo>
                  <a:pt x="8595623" y="6645772"/>
                </a:lnTo>
                <a:lnTo>
                  <a:pt x="8595623" y="6639674"/>
                </a:lnTo>
                <a:lnTo>
                  <a:pt x="8551295" y="6639674"/>
                </a:lnTo>
                <a:lnTo>
                  <a:pt x="8551295" y="6618349"/>
                </a:lnTo>
                <a:lnTo>
                  <a:pt x="8591705" y="6618349"/>
                </a:lnTo>
                <a:lnTo>
                  <a:pt x="8591705" y="6596277"/>
                </a:lnTo>
                <a:lnTo>
                  <a:pt x="8551295" y="6596277"/>
                </a:lnTo>
                <a:lnTo>
                  <a:pt x="8551295" y="6576755"/>
                </a:lnTo>
                <a:lnTo>
                  <a:pt x="8595623" y="6576755"/>
                </a:lnTo>
                <a:lnTo>
                  <a:pt x="8595623" y="6570487"/>
                </a:lnTo>
                <a:lnTo>
                  <a:pt x="8596022" y="6570487"/>
                </a:lnTo>
                <a:lnTo>
                  <a:pt x="8596022" y="6553486"/>
                </a:lnTo>
                <a:lnTo>
                  <a:pt x="8595623" y="6553486"/>
                </a:lnTo>
                <a:lnTo>
                  <a:pt x="8547362" y="6553486"/>
                </a:lnTo>
                <a:close/>
                <a:moveTo>
                  <a:pt x="8448177" y="6553486"/>
                </a:moveTo>
                <a:lnTo>
                  <a:pt x="8448177" y="6599432"/>
                </a:lnTo>
                <a:lnTo>
                  <a:pt x="8448177" y="6662773"/>
                </a:lnTo>
                <a:lnTo>
                  <a:pt x="8518167" y="6662773"/>
                </a:lnTo>
                <a:lnTo>
                  <a:pt x="8518552" y="6662773"/>
                </a:lnTo>
                <a:lnTo>
                  <a:pt x="8518552" y="6645772"/>
                </a:lnTo>
                <a:lnTo>
                  <a:pt x="8518167" y="6645772"/>
                </a:lnTo>
                <a:lnTo>
                  <a:pt x="8518167" y="6639674"/>
                </a:lnTo>
                <a:lnTo>
                  <a:pt x="8473825" y="6639674"/>
                </a:lnTo>
                <a:lnTo>
                  <a:pt x="8473825" y="6618349"/>
                </a:lnTo>
                <a:lnTo>
                  <a:pt x="8514235" y="6618349"/>
                </a:lnTo>
                <a:lnTo>
                  <a:pt x="8514235" y="6596277"/>
                </a:lnTo>
                <a:lnTo>
                  <a:pt x="8473825" y="6596277"/>
                </a:lnTo>
                <a:lnTo>
                  <a:pt x="8473825" y="6576755"/>
                </a:lnTo>
                <a:lnTo>
                  <a:pt x="8518167" y="6576755"/>
                </a:lnTo>
                <a:lnTo>
                  <a:pt x="8518167" y="6570487"/>
                </a:lnTo>
                <a:lnTo>
                  <a:pt x="8518552" y="6570487"/>
                </a:lnTo>
                <a:lnTo>
                  <a:pt x="8518552" y="6553486"/>
                </a:lnTo>
                <a:lnTo>
                  <a:pt x="8518167" y="6553486"/>
                </a:lnTo>
                <a:lnTo>
                  <a:pt x="8469892" y="6553486"/>
                </a:lnTo>
                <a:close/>
                <a:moveTo>
                  <a:pt x="8387913" y="6553453"/>
                </a:moveTo>
                <a:cubicBezTo>
                  <a:pt x="8380162" y="6553369"/>
                  <a:pt x="8372471" y="6554805"/>
                  <a:pt x="8365286" y="6557679"/>
                </a:cubicBezTo>
                <a:cubicBezTo>
                  <a:pt x="8362463" y="6558830"/>
                  <a:pt x="8359742" y="6560211"/>
                  <a:pt x="8357150" y="6561806"/>
                </a:cubicBezTo>
                <a:lnTo>
                  <a:pt x="8332784" y="6613372"/>
                </a:lnTo>
                <a:cubicBezTo>
                  <a:pt x="8333178" y="6619008"/>
                  <a:pt x="8334392" y="6624558"/>
                  <a:pt x="8336389" y="6629852"/>
                </a:cubicBezTo>
                <a:cubicBezTo>
                  <a:pt x="8341193" y="6642926"/>
                  <a:pt x="8351385" y="6653370"/>
                  <a:pt x="8364431" y="6658585"/>
                </a:cubicBezTo>
                <a:cubicBezTo>
                  <a:pt x="8371564" y="6661469"/>
                  <a:pt x="8379210" y="6662906"/>
                  <a:pt x="8386916" y="6662811"/>
                </a:cubicBezTo>
                <a:cubicBezTo>
                  <a:pt x="8394648" y="6662898"/>
                  <a:pt x="8402321" y="6661462"/>
                  <a:pt x="8409486" y="6658585"/>
                </a:cubicBezTo>
                <a:cubicBezTo>
                  <a:pt x="8416013" y="6655943"/>
                  <a:pt x="8421943" y="6652041"/>
                  <a:pt x="8426926" y="6647106"/>
                </a:cubicBezTo>
                <a:cubicBezTo>
                  <a:pt x="8431850" y="6642179"/>
                  <a:pt x="8435700" y="6636306"/>
                  <a:pt x="8438240" y="6629852"/>
                </a:cubicBezTo>
                <a:cubicBezTo>
                  <a:pt x="8440974" y="6622958"/>
                  <a:pt x="8442338" y="6615607"/>
                  <a:pt x="8442258" y="6608203"/>
                </a:cubicBezTo>
                <a:cubicBezTo>
                  <a:pt x="8442328" y="6600785"/>
                  <a:pt x="8441019" y="6593419"/>
                  <a:pt x="8438397" y="6586469"/>
                </a:cubicBezTo>
                <a:cubicBezTo>
                  <a:pt x="8435967" y="6580025"/>
                  <a:pt x="8432239" y="6574136"/>
                  <a:pt x="8427439" y="6569158"/>
                </a:cubicBezTo>
                <a:cubicBezTo>
                  <a:pt x="8422597" y="6564212"/>
                  <a:pt x="8416777" y="6560305"/>
                  <a:pt x="8410341" y="6557679"/>
                </a:cubicBezTo>
                <a:cubicBezTo>
                  <a:pt x="8403230" y="6554789"/>
                  <a:pt x="8395601" y="6553352"/>
                  <a:pt x="8387913" y="6553453"/>
                </a:cubicBezTo>
                <a:close/>
                <a:moveTo>
                  <a:pt x="8245203" y="6553106"/>
                </a:moveTo>
                <a:lnTo>
                  <a:pt x="8261546" y="6587178"/>
                </a:lnTo>
                <a:lnTo>
                  <a:pt x="8288505" y="6587178"/>
                </a:lnTo>
                <a:lnTo>
                  <a:pt x="8274156" y="6553106"/>
                </a:lnTo>
                <a:close/>
                <a:moveTo>
                  <a:pt x="8325053" y="6553092"/>
                </a:moveTo>
                <a:lnTo>
                  <a:pt x="8299363" y="6612222"/>
                </a:lnTo>
                <a:lnTo>
                  <a:pt x="8292395" y="6595883"/>
                </a:lnTo>
                <a:lnTo>
                  <a:pt x="8265650" y="6595883"/>
                </a:lnTo>
                <a:lnTo>
                  <a:pt x="8297582" y="6662548"/>
                </a:lnTo>
                <a:lnTo>
                  <a:pt x="8300545" y="6662548"/>
                </a:lnTo>
                <a:lnTo>
                  <a:pt x="8352283" y="6553092"/>
                </a:lnTo>
                <a:close/>
                <a:moveTo>
                  <a:pt x="8704282" y="6515554"/>
                </a:moveTo>
                <a:lnTo>
                  <a:pt x="8704282" y="6690482"/>
                </a:lnTo>
                <a:lnTo>
                  <a:pt x="8723671" y="6690482"/>
                </a:lnTo>
                <a:lnTo>
                  <a:pt x="8723671" y="6515554"/>
                </a:lnTo>
                <a:close/>
                <a:moveTo>
                  <a:pt x="0" y="0"/>
                </a:moveTo>
                <a:lnTo>
                  <a:pt x="9144000" y="0"/>
                </a:lnTo>
                <a:lnTo>
                  <a:pt x="9144000" y="6214681"/>
                </a:lnTo>
                <a:lnTo>
                  <a:pt x="9144000" y="6397151"/>
                </a:lnTo>
                <a:lnTo>
                  <a:pt x="9144000" y="6401792"/>
                </a:lnTo>
                <a:lnTo>
                  <a:pt x="9144000" y="6434962"/>
                </a:lnTo>
                <a:lnTo>
                  <a:pt x="9144000" y="6858000"/>
                </a:lnTo>
                <a:lnTo>
                  <a:pt x="8995529" y="6858000"/>
                </a:lnTo>
                <a:lnTo>
                  <a:pt x="7924718" y="6858000"/>
                </a:lnTo>
                <a:lnTo>
                  <a:pt x="0" y="6858000"/>
                </a:lnTo>
                <a:lnTo>
                  <a:pt x="0" y="6434962"/>
                </a:lnTo>
                <a:lnTo>
                  <a:pt x="0" y="6401792"/>
                </a:lnTo>
                <a:lnTo>
                  <a:pt x="0" y="6397151"/>
                </a:lnTo>
                <a:lnTo>
                  <a:pt x="0" y="6214681"/>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 Drag image onto slide to add photo </a:t>
            </a:r>
          </a:p>
        </p:txBody>
      </p:sp>
      <p:sp>
        <p:nvSpPr>
          <p:cNvPr id="24" name="Rectangle 23">
            <a:extLst>
              <a:ext uri="{FF2B5EF4-FFF2-40B4-BE49-F238E27FC236}">
                <a16:creationId xmlns:a16="http://schemas.microsoft.com/office/drawing/2014/main" id="{8F61A072-3C5F-4846-BB8E-52BBAAD71B0D}"/>
              </a:ext>
            </a:extLst>
          </p:cNvPr>
          <p:cNvSpPr/>
          <p:nvPr userDrawn="1"/>
        </p:nvSpPr>
        <p:spPr>
          <a:xfrm>
            <a:off x="12532243" y="-1"/>
            <a:ext cx="3731535" cy="786089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73" name="Picture 72">
            <a:extLst>
              <a:ext uri="{FF2B5EF4-FFF2-40B4-BE49-F238E27FC236}">
                <a16:creationId xmlns:a16="http://schemas.microsoft.com/office/drawing/2014/main" id="{9623AF5A-508B-0F44-9682-E5B1C5647AF4}"/>
              </a:ext>
            </a:extLst>
          </p:cNvPr>
          <p:cNvPicPr>
            <a:picLocks noChangeAspect="1"/>
          </p:cNvPicPr>
          <p:nvPr userDrawn="1"/>
        </p:nvPicPr>
        <p:blipFill rotWithShape="1">
          <a:blip r:embed="rId2"/>
          <a:srcRect r="44021" b="6017"/>
          <a:stretch/>
        </p:blipFill>
        <p:spPr>
          <a:xfrm>
            <a:off x="12744675" y="1323798"/>
            <a:ext cx="3510051" cy="532435"/>
          </a:xfrm>
          <a:prstGeom prst="rect">
            <a:avLst/>
          </a:prstGeom>
        </p:spPr>
      </p:pic>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2" y="1"/>
            <a:ext cx="9622695"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gradFill>
            <a:gsLst>
              <a:gs pos="13000">
                <a:schemeClr val="accent1"/>
              </a:gs>
              <a:gs pos="97000">
                <a:schemeClr val="accent1">
                  <a:alpha val="80000"/>
                </a:schemeClr>
              </a:gs>
            </a:gsLst>
            <a:lin ang="5400000" scaled="0"/>
          </a:gradFill>
          <a:ln>
            <a:solidFill>
              <a:srgbClr val="003865">
                <a:shade val="50000"/>
                <a:alpha val="0"/>
              </a:srgbClr>
            </a:solidFill>
          </a:ln>
        </p:spPr>
        <p:txBody>
          <a:bodyPr wrap="square" lIns="432000" tIns="3600000" rIns="2160000" bIns="648000" anchor="t">
            <a:noAutofit/>
          </a:bodyPr>
          <a:lstStyle>
            <a:lvl1pPr marL="20638" indent="0">
              <a:spcAft>
                <a:spcPts val="300"/>
              </a:spcAft>
              <a:buNone/>
              <a:tabLst/>
              <a:defRPr sz="14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dirty="0"/>
              <a:t>Click to add contact information</a:t>
            </a:r>
          </a:p>
          <a:p>
            <a:pPr lvl="1"/>
            <a:r>
              <a:rPr lang="en-US" dirty="0"/>
              <a:t>Second level</a:t>
            </a:r>
          </a:p>
        </p:txBody>
      </p:sp>
      <p:sp>
        <p:nvSpPr>
          <p:cNvPr id="2" name="Title 1">
            <a:extLst>
              <a:ext uri="{FF2B5EF4-FFF2-40B4-BE49-F238E27FC236}">
                <a16:creationId xmlns:a16="http://schemas.microsoft.com/office/drawing/2014/main" id="{AE92DE0F-EE53-C14F-99E3-F9D9748A8383}"/>
              </a:ext>
            </a:extLst>
          </p:cNvPr>
          <p:cNvSpPr>
            <a:spLocks noGrp="1"/>
          </p:cNvSpPr>
          <p:nvPr>
            <p:ph type="title" hasCustomPrompt="1"/>
          </p:nvPr>
        </p:nvSpPr>
        <p:spPr>
          <a:xfrm>
            <a:off x="575734" y="2402732"/>
            <a:ext cx="6177993" cy="922907"/>
          </a:xfrm>
        </p:spPr>
        <p:txBody>
          <a:bodyPr/>
          <a:lstStyle>
            <a:lvl1pPr>
              <a:defRPr sz="3200">
                <a:solidFill>
                  <a:schemeClr val="bg2"/>
                </a:solidFill>
              </a:defRPr>
            </a:lvl1pPr>
          </a:lstStyle>
          <a:p>
            <a:r>
              <a:rPr lang="en-US" dirty="0"/>
              <a:t>Click to add</a:t>
            </a:r>
            <a:br>
              <a:rPr lang="en-US" dirty="0"/>
            </a:br>
            <a:r>
              <a:rPr lang="en-US" dirty="0"/>
              <a:t>thank-you message</a:t>
            </a:r>
          </a:p>
        </p:txBody>
      </p:sp>
      <p:grpSp>
        <p:nvGrpSpPr>
          <p:cNvPr id="7" name="Group 6">
            <a:extLst>
              <a:ext uri="{FF2B5EF4-FFF2-40B4-BE49-F238E27FC236}">
                <a16:creationId xmlns:a16="http://schemas.microsoft.com/office/drawing/2014/main" id="{B0A164B3-8FCE-4E4B-B360-04ECA3CD2AA8}"/>
              </a:ext>
            </a:extLst>
          </p:cNvPr>
          <p:cNvGrpSpPr/>
          <p:nvPr userDrawn="1"/>
        </p:nvGrpSpPr>
        <p:grpSpPr>
          <a:xfrm>
            <a:off x="-342618" y="2477066"/>
            <a:ext cx="335281" cy="787628"/>
            <a:chOff x="-256404" y="360363"/>
            <a:chExt cx="251461" cy="692152"/>
          </a:xfrm>
        </p:grpSpPr>
        <p:grpSp>
          <p:nvGrpSpPr>
            <p:cNvPr id="8" name="Group 7">
              <a:extLst>
                <a:ext uri="{FF2B5EF4-FFF2-40B4-BE49-F238E27FC236}">
                  <a16:creationId xmlns:a16="http://schemas.microsoft.com/office/drawing/2014/main" id="{B41D2554-9517-BF41-8E4D-516D3FB68F51}"/>
                </a:ext>
              </a:extLst>
            </p:cNvPr>
            <p:cNvGrpSpPr/>
            <p:nvPr userDrawn="1"/>
          </p:nvGrpSpPr>
          <p:grpSpPr>
            <a:xfrm rot="16200000">
              <a:off x="-476749" y="580708"/>
              <a:ext cx="692152" cy="251461"/>
              <a:chOff x="431800" y="-235792"/>
              <a:chExt cx="4400551" cy="235792"/>
            </a:xfrm>
          </p:grpSpPr>
          <p:cxnSp>
            <p:nvCxnSpPr>
              <p:cNvPr id="10" name="Straight Connector 9">
                <a:extLst>
                  <a:ext uri="{FF2B5EF4-FFF2-40B4-BE49-F238E27FC236}">
                    <a16:creationId xmlns:a16="http://schemas.microsoft.com/office/drawing/2014/main" id="{663ADAD1-481A-7B4C-986E-CFA8555641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A3487CA-6D0B-C049-B9A4-75466E8DD3B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EB925DF6-3FFE-BD40-9EE2-29A73ECA1CE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9" name="TextBox 8">
              <a:extLst>
                <a:ext uri="{FF2B5EF4-FFF2-40B4-BE49-F238E27FC236}">
                  <a16:creationId xmlns:a16="http://schemas.microsoft.com/office/drawing/2014/main" id="{6D5BF6DD-76B4-0145-A962-2C82A8F2CC6B}"/>
                </a:ext>
              </a:extLst>
            </p:cNvPr>
            <p:cNvSpPr txBox="1"/>
            <p:nvPr userDrawn="1"/>
          </p:nvSpPr>
          <p:spPr>
            <a:xfrm rot="16200000">
              <a:off x="-359580" y="622270"/>
              <a:ext cx="457823" cy="161583"/>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50A982D0-E4B8-1041-813F-BDDC3436A88D}"/>
              </a:ext>
            </a:extLst>
          </p:cNvPr>
          <p:cNvGrpSpPr/>
          <p:nvPr userDrawn="1"/>
        </p:nvGrpSpPr>
        <p:grpSpPr>
          <a:xfrm>
            <a:off x="-342618" y="3622630"/>
            <a:ext cx="335281" cy="1365066"/>
            <a:chOff x="-256404" y="360363"/>
            <a:chExt cx="251461" cy="692152"/>
          </a:xfrm>
        </p:grpSpPr>
        <p:grpSp>
          <p:nvGrpSpPr>
            <p:cNvPr id="17" name="Group 16">
              <a:extLst>
                <a:ext uri="{FF2B5EF4-FFF2-40B4-BE49-F238E27FC236}">
                  <a16:creationId xmlns:a16="http://schemas.microsoft.com/office/drawing/2014/main" id="{C83CFF79-5962-9D49-8E42-F2AF4C267204}"/>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A6F525C6-8B46-4140-AF00-48FB794ECBC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04655F-D15F-D843-AA38-CAA6FDF115A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43ACDE28-DF49-C14A-B556-C3FBEB96DDE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18" name="TextBox 17">
              <a:extLst>
                <a:ext uri="{FF2B5EF4-FFF2-40B4-BE49-F238E27FC236}">
                  <a16:creationId xmlns:a16="http://schemas.microsoft.com/office/drawing/2014/main" id="{509205E5-0F35-EB40-8B2F-8E547892AACD}"/>
                </a:ext>
              </a:extLst>
            </p:cNvPr>
            <p:cNvSpPr txBox="1"/>
            <p:nvPr userDrawn="1"/>
          </p:nvSpPr>
          <p:spPr>
            <a:xfrm rot="16200000">
              <a:off x="-300948" y="662666"/>
              <a:ext cx="340562" cy="8079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59" name="Rectangle 58">
            <a:extLst>
              <a:ext uri="{FF2B5EF4-FFF2-40B4-BE49-F238E27FC236}">
                <a16:creationId xmlns:a16="http://schemas.microsoft.com/office/drawing/2014/main" id="{74FE977B-E645-754F-A6D9-0F8ACDA35EAF}"/>
              </a:ext>
            </a:extLst>
          </p:cNvPr>
          <p:cNvSpPr/>
          <p:nvPr userDrawn="1"/>
        </p:nvSpPr>
        <p:spPr>
          <a:xfrm>
            <a:off x="12721996" y="162442"/>
            <a:ext cx="37592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0" name="TextBox 59">
            <a:extLst>
              <a:ext uri="{FF2B5EF4-FFF2-40B4-BE49-F238E27FC236}">
                <a16:creationId xmlns:a16="http://schemas.microsoft.com/office/drawing/2014/main" id="{BFC01FD0-DC6E-0747-B9A3-3D0A61805785}"/>
              </a:ext>
            </a:extLst>
          </p:cNvPr>
          <p:cNvSpPr txBox="1"/>
          <p:nvPr userDrawn="1"/>
        </p:nvSpPr>
        <p:spPr>
          <a:xfrm>
            <a:off x="13529413" y="306442"/>
            <a:ext cx="2839451"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1" name="Picture 60">
            <a:extLst>
              <a:ext uri="{FF2B5EF4-FFF2-40B4-BE49-F238E27FC236}">
                <a16:creationId xmlns:a16="http://schemas.microsoft.com/office/drawing/2014/main" id="{1ADEDEE9-2E86-2D43-BC1C-F833B71D59CB}"/>
              </a:ext>
            </a:extLst>
          </p:cNvPr>
          <p:cNvPicPr>
            <a:picLocks noChangeAspect="1"/>
          </p:cNvPicPr>
          <p:nvPr userDrawn="1"/>
        </p:nvPicPr>
        <p:blipFill rotWithShape="1">
          <a:blip r:embed="rId3"/>
          <a:srcRect l="8882" t="5165" r="-1"/>
          <a:stretch/>
        </p:blipFill>
        <p:spPr>
          <a:xfrm>
            <a:off x="12926585" y="411251"/>
            <a:ext cx="432023" cy="289055"/>
          </a:xfrm>
          <a:prstGeom prst="roundRect">
            <a:avLst/>
          </a:prstGeom>
        </p:spPr>
      </p:pic>
      <p:grpSp>
        <p:nvGrpSpPr>
          <p:cNvPr id="22" name="Group 21">
            <a:extLst>
              <a:ext uri="{FF2B5EF4-FFF2-40B4-BE49-F238E27FC236}">
                <a16:creationId xmlns:a16="http://schemas.microsoft.com/office/drawing/2014/main" id="{4F5FC086-2AFA-E34A-9BC9-834E9C2AD811}"/>
              </a:ext>
            </a:extLst>
          </p:cNvPr>
          <p:cNvGrpSpPr/>
          <p:nvPr userDrawn="1"/>
        </p:nvGrpSpPr>
        <p:grpSpPr>
          <a:xfrm>
            <a:off x="12695778" y="1994857"/>
            <a:ext cx="3673087" cy="6013825"/>
            <a:chOff x="9521833" y="2167456"/>
            <a:chExt cx="2754815" cy="6013825"/>
          </a:xfrm>
        </p:grpSpPr>
        <p:sp>
          <p:nvSpPr>
            <p:cNvPr id="27" name="TextBox 26">
              <a:extLst>
                <a:ext uri="{FF2B5EF4-FFF2-40B4-BE49-F238E27FC236}">
                  <a16:creationId xmlns:a16="http://schemas.microsoft.com/office/drawing/2014/main" id="{DFE94FA6-7F73-404E-B7F6-E23829C5FAF7}"/>
                </a:ext>
              </a:extLst>
            </p:cNvPr>
            <p:cNvSpPr txBox="1"/>
            <p:nvPr userDrawn="1"/>
          </p:nvSpPr>
          <p:spPr>
            <a:xfrm>
              <a:off x="9558507" y="2167456"/>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28" name="Straight Connector 27">
              <a:extLst>
                <a:ext uri="{FF2B5EF4-FFF2-40B4-BE49-F238E27FC236}">
                  <a16:creationId xmlns:a16="http://schemas.microsoft.com/office/drawing/2014/main" id="{CFBCA6E4-9782-E348-A2BA-54F7934E4B21}"/>
                </a:ext>
              </a:extLst>
            </p:cNvPr>
            <p:cNvCxnSpPr>
              <a:cxnSpLocks/>
            </p:cNvCxnSpPr>
            <p:nvPr userDrawn="1"/>
          </p:nvCxnSpPr>
          <p:spPr>
            <a:xfrm>
              <a:off x="9558507" y="2370073"/>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1BD7423-242E-5345-8960-AE7228257A9D}"/>
                </a:ext>
              </a:extLst>
            </p:cNvPr>
            <p:cNvSpPr txBox="1"/>
            <p:nvPr userDrawn="1"/>
          </p:nvSpPr>
          <p:spPr>
            <a:xfrm>
              <a:off x="9686426" y="3228383"/>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sp>
          <p:nvSpPr>
            <p:cNvPr id="53" name="Rectangle 52">
              <a:extLst>
                <a:ext uri="{FF2B5EF4-FFF2-40B4-BE49-F238E27FC236}">
                  <a16:creationId xmlns:a16="http://schemas.microsoft.com/office/drawing/2014/main" id="{13084C70-8D46-D64B-9F1E-ECB869353637}"/>
                </a:ext>
              </a:extLst>
            </p:cNvPr>
            <p:cNvSpPr/>
            <p:nvPr userDrawn="1"/>
          </p:nvSpPr>
          <p:spPr>
            <a:xfrm>
              <a:off x="9541497" y="6769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4" name="TextBox 53">
              <a:extLst>
                <a:ext uri="{FF2B5EF4-FFF2-40B4-BE49-F238E27FC236}">
                  <a16:creationId xmlns:a16="http://schemas.microsoft.com/office/drawing/2014/main" id="{501420C3-DFA0-9C4F-813C-BAFA8958E874}"/>
                </a:ext>
              </a:extLst>
            </p:cNvPr>
            <p:cNvSpPr txBox="1"/>
            <p:nvPr userDrawn="1"/>
          </p:nvSpPr>
          <p:spPr>
            <a:xfrm>
              <a:off x="9907688" y="6898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5" name="Graphic 54">
              <a:extLst>
                <a:ext uri="{FF2B5EF4-FFF2-40B4-BE49-F238E27FC236}">
                  <a16:creationId xmlns:a16="http://schemas.microsoft.com/office/drawing/2014/main" id="{CB867BF1-BBC5-8C4A-97CA-FD5D5D78260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6909049"/>
              <a:ext cx="155227" cy="155227"/>
            </a:xfrm>
            <a:prstGeom prst="rect">
              <a:avLst/>
            </a:prstGeom>
          </p:spPr>
        </p:pic>
        <p:sp>
          <p:nvSpPr>
            <p:cNvPr id="56" name="TextBox 55">
              <a:extLst>
                <a:ext uri="{FF2B5EF4-FFF2-40B4-BE49-F238E27FC236}">
                  <a16:creationId xmlns:a16="http://schemas.microsoft.com/office/drawing/2014/main" id="{E62E6250-142A-854D-8FFE-79C80019AAB8}"/>
                </a:ext>
              </a:extLst>
            </p:cNvPr>
            <p:cNvSpPr txBox="1"/>
            <p:nvPr userDrawn="1"/>
          </p:nvSpPr>
          <p:spPr>
            <a:xfrm>
              <a:off x="9716735" y="7478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7" name="TextBox 56">
              <a:extLst>
                <a:ext uri="{FF2B5EF4-FFF2-40B4-BE49-F238E27FC236}">
                  <a16:creationId xmlns:a16="http://schemas.microsoft.com/office/drawing/2014/main" id="{08381C9B-F145-0B48-ADFA-FE8B8E0A8A82}"/>
                </a:ext>
              </a:extLst>
            </p:cNvPr>
            <p:cNvSpPr txBox="1"/>
            <p:nvPr userDrawn="1"/>
          </p:nvSpPr>
          <p:spPr>
            <a:xfrm>
              <a:off x="9716735" y="7159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8" name="TextBox 57">
              <a:extLst>
                <a:ext uri="{FF2B5EF4-FFF2-40B4-BE49-F238E27FC236}">
                  <a16:creationId xmlns:a16="http://schemas.microsoft.com/office/drawing/2014/main" id="{F22092C6-EF53-B243-83B3-2B8877623AFD}"/>
                </a:ext>
              </a:extLst>
            </p:cNvPr>
            <p:cNvSpPr txBox="1"/>
            <p:nvPr userDrawn="1"/>
          </p:nvSpPr>
          <p:spPr>
            <a:xfrm>
              <a:off x="9716735" y="7928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46" name="Rectangle 45">
              <a:extLst>
                <a:ext uri="{FF2B5EF4-FFF2-40B4-BE49-F238E27FC236}">
                  <a16:creationId xmlns:a16="http://schemas.microsoft.com/office/drawing/2014/main" id="{26FED399-29B3-9447-940E-56B9040B4EF7}"/>
                </a:ext>
              </a:extLst>
            </p:cNvPr>
            <p:cNvSpPr/>
            <p:nvPr userDrawn="1"/>
          </p:nvSpPr>
          <p:spPr>
            <a:xfrm>
              <a:off x="9541497" y="5413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7" name="TextBox 46">
              <a:extLst>
                <a:ext uri="{FF2B5EF4-FFF2-40B4-BE49-F238E27FC236}">
                  <a16:creationId xmlns:a16="http://schemas.microsoft.com/office/drawing/2014/main" id="{15CE3E14-463F-4D4E-B0C6-D4F7A0935AFF}"/>
                </a:ext>
              </a:extLst>
            </p:cNvPr>
            <p:cNvSpPr txBox="1"/>
            <p:nvPr userDrawn="1"/>
          </p:nvSpPr>
          <p:spPr>
            <a:xfrm>
              <a:off x="9907688" y="5542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8" name="Graphic 47">
              <a:extLst>
                <a:ext uri="{FF2B5EF4-FFF2-40B4-BE49-F238E27FC236}">
                  <a16:creationId xmlns:a16="http://schemas.microsoft.com/office/drawing/2014/main" id="{BC8A9006-4EDB-7C4F-9624-E02C261E560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552392"/>
              <a:ext cx="155227" cy="155227"/>
            </a:xfrm>
            <a:prstGeom prst="rect">
              <a:avLst/>
            </a:prstGeom>
          </p:spPr>
        </p:pic>
        <p:sp>
          <p:nvSpPr>
            <p:cNvPr id="49" name="TextBox 48">
              <a:extLst>
                <a:ext uri="{FF2B5EF4-FFF2-40B4-BE49-F238E27FC236}">
                  <a16:creationId xmlns:a16="http://schemas.microsoft.com/office/drawing/2014/main" id="{F28125A0-17EA-6B41-8117-DCA0C5236435}"/>
                </a:ext>
              </a:extLst>
            </p:cNvPr>
            <p:cNvSpPr txBox="1"/>
            <p:nvPr userDrawn="1"/>
          </p:nvSpPr>
          <p:spPr>
            <a:xfrm>
              <a:off x="9701720" y="5806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0" name="Picture 49">
              <a:extLst>
                <a:ext uri="{FF2B5EF4-FFF2-40B4-BE49-F238E27FC236}">
                  <a16:creationId xmlns:a16="http://schemas.microsoft.com/office/drawing/2014/main" id="{C5041B41-AD98-EE4B-8F39-82AFCFAEC610}"/>
                </a:ext>
              </a:extLst>
            </p:cNvPr>
            <p:cNvPicPr>
              <a:picLocks noChangeAspect="1"/>
            </p:cNvPicPr>
            <p:nvPr userDrawn="1"/>
          </p:nvPicPr>
          <p:blipFill rotWithShape="1">
            <a:blip r:embed="rId6"/>
            <a:srcRect l="33684" t="12097" r="43371" b="20368"/>
            <a:stretch/>
          </p:blipFill>
          <p:spPr>
            <a:xfrm>
              <a:off x="11498723" y="5890726"/>
              <a:ext cx="136897" cy="213643"/>
            </a:xfrm>
            <a:prstGeom prst="rect">
              <a:avLst/>
            </a:prstGeom>
            <a:ln w="19050">
              <a:solidFill>
                <a:schemeClr val="accent3">
                  <a:lumMod val="60000"/>
                  <a:lumOff val="40000"/>
                </a:schemeClr>
              </a:solidFill>
            </a:ln>
          </p:spPr>
        </p:pic>
        <p:sp>
          <p:nvSpPr>
            <p:cNvPr id="43" name="TextBox 42">
              <a:extLst>
                <a:ext uri="{FF2B5EF4-FFF2-40B4-BE49-F238E27FC236}">
                  <a16:creationId xmlns:a16="http://schemas.microsoft.com/office/drawing/2014/main" id="{C8DAA1F3-3919-A74B-B632-FF6C6D301C4C}"/>
                </a:ext>
              </a:extLst>
            </p:cNvPr>
            <p:cNvSpPr txBox="1">
              <a:spLocks noChangeAspect="1"/>
            </p:cNvSpPr>
            <p:nvPr/>
          </p:nvSpPr>
          <p:spPr>
            <a:xfrm>
              <a:off x="9521833" y="2517603"/>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4" name="TextBox 43">
              <a:extLst>
                <a:ext uri="{FF2B5EF4-FFF2-40B4-BE49-F238E27FC236}">
                  <a16:creationId xmlns:a16="http://schemas.microsoft.com/office/drawing/2014/main" id="{82652DDD-CB8F-E945-8AF3-2BB91733F597}"/>
                </a:ext>
              </a:extLst>
            </p:cNvPr>
            <p:cNvSpPr txBox="1">
              <a:spLocks noChangeAspect="1"/>
            </p:cNvSpPr>
            <p:nvPr/>
          </p:nvSpPr>
          <p:spPr>
            <a:xfrm>
              <a:off x="9521833" y="301315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5" name="TextBox 44">
              <a:extLst>
                <a:ext uri="{FF2B5EF4-FFF2-40B4-BE49-F238E27FC236}">
                  <a16:creationId xmlns:a16="http://schemas.microsoft.com/office/drawing/2014/main" id="{091C757D-B387-E847-9E94-2F6EEF57801C}"/>
                </a:ext>
              </a:extLst>
            </p:cNvPr>
            <p:cNvSpPr txBox="1"/>
            <p:nvPr userDrawn="1"/>
          </p:nvSpPr>
          <p:spPr>
            <a:xfrm>
              <a:off x="9686426" y="2492576"/>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sp>
          <p:nvSpPr>
            <p:cNvPr id="35" name="TextBox 34">
              <a:extLst>
                <a:ext uri="{FF2B5EF4-FFF2-40B4-BE49-F238E27FC236}">
                  <a16:creationId xmlns:a16="http://schemas.microsoft.com/office/drawing/2014/main" id="{CAFE63F6-9FBD-C64E-80C3-50B9F353BF5D}"/>
                </a:ext>
              </a:extLst>
            </p:cNvPr>
            <p:cNvSpPr txBox="1"/>
            <p:nvPr userDrawn="1"/>
          </p:nvSpPr>
          <p:spPr>
            <a:xfrm>
              <a:off x="9674267" y="3511688"/>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6" name="TextBox 35">
              <a:extLst>
                <a:ext uri="{FF2B5EF4-FFF2-40B4-BE49-F238E27FC236}">
                  <a16:creationId xmlns:a16="http://schemas.microsoft.com/office/drawing/2014/main" id="{AA7141EF-2646-B14F-ABCC-C67B27BD3A7C}"/>
                </a:ext>
              </a:extLst>
            </p:cNvPr>
            <p:cNvSpPr txBox="1"/>
            <p:nvPr userDrawn="1"/>
          </p:nvSpPr>
          <p:spPr>
            <a:xfrm>
              <a:off x="9686426" y="3926945"/>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7" name="TextBox 36">
              <a:extLst>
                <a:ext uri="{FF2B5EF4-FFF2-40B4-BE49-F238E27FC236}">
                  <a16:creationId xmlns:a16="http://schemas.microsoft.com/office/drawing/2014/main" id="{11D9FCFA-F40E-B24E-8540-B475629EECD1}"/>
                </a:ext>
              </a:extLst>
            </p:cNvPr>
            <p:cNvSpPr txBox="1"/>
            <p:nvPr userDrawn="1"/>
          </p:nvSpPr>
          <p:spPr>
            <a:xfrm>
              <a:off x="9686426" y="4647035"/>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38" name="TextBox 37">
              <a:extLst>
                <a:ext uri="{FF2B5EF4-FFF2-40B4-BE49-F238E27FC236}">
                  <a16:creationId xmlns:a16="http://schemas.microsoft.com/office/drawing/2014/main" id="{7B36E0C2-0DDC-0E43-A8B5-AAD3722ABC98}"/>
                </a:ext>
              </a:extLst>
            </p:cNvPr>
            <p:cNvSpPr txBox="1"/>
            <p:nvPr userDrawn="1"/>
          </p:nvSpPr>
          <p:spPr>
            <a:xfrm>
              <a:off x="9674267" y="5077598"/>
              <a:ext cx="2374733"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41" name="TextBox 40">
            <a:extLst>
              <a:ext uri="{FF2B5EF4-FFF2-40B4-BE49-F238E27FC236}">
                <a16:creationId xmlns:a16="http://schemas.microsoft.com/office/drawing/2014/main" id="{A5BBEC5F-5FC4-4543-B661-598C68695314}"/>
              </a:ext>
            </a:extLst>
          </p:cNvPr>
          <p:cNvSpPr txBox="1"/>
          <p:nvPr userDrawn="1"/>
        </p:nvSpPr>
        <p:spPr>
          <a:xfrm>
            <a:off x="12744676" y="1119892"/>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42" name="Straight Connector 41">
            <a:extLst>
              <a:ext uri="{FF2B5EF4-FFF2-40B4-BE49-F238E27FC236}">
                <a16:creationId xmlns:a16="http://schemas.microsoft.com/office/drawing/2014/main" id="{28C6DE0C-61AB-CD48-9657-673BA80A6635}"/>
              </a:ext>
            </a:extLst>
          </p:cNvPr>
          <p:cNvCxnSpPr>
            <a:cxnSpLocks/>
          </p:cNvCxnSpPr>
          <p:nvPr userDrawn="1"/>
        </p:nvCxnSpPr>
        <p:spPr>
          <a:xfrm>
            <a:off x="12744676" y="1322508"/>
            <a:ext cx="3519104"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5" name="Text Placeholder 21">
            <a:extLst>
              <a:ext uri="{FF2B5EF4-FFF2-40B4-BE49-F238E27FC236}">
                <a16:creationId xmlns:a16="http://schemas.microsoft.com/office/drawing/2014/main" id="{41291117-3B8F-E84F-819C-E9D1B31461BA}"/>
              </a:ext>
            </a:extLst>
          </p:cNvPr>
          <p:cNvSpPr>
            <a:spLocks noGrp="1"/>
          </p:cNvSpPr>
          <p:nvPr userDrawn="1">
            <p:ph type="body" sz="quarter" idx="14" hasCustomPrompt="1"/>
          </p:nvPr>
        </p:nvSpPr>
        <p:spPr>
          <a:xfrm>
            <a:off x="9812449" y="6200776"/>
            <a:ext cx="1791763"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3" name="Date Placeholder 2">
            <a:extLst>
              <a:ext uri="{FF2B5EF4-FFF2-40B4-BE49-F238E27FC236}">
                <a16:creationId xmlns:a16="http://schemas.microsoft.com/office/drawing/2014/main" id="{1E2FA3C1-DFDE-954E-A045-DA2C23D87C79}"/>
              </a:ext>
            </a:extLst>
          </p:cNvPr>
          <p:cNvSpPr>
            <a:spLocks noGrp="1"/>
          </p:cNvSpPr>
          <p:nvPr userDrawn="1">
            <p:ph type="dt" sz="half" idx="16"/>
          </p:nvPr>
        </p:nvSpPr>
        <p:spPr/>
        <p:txBody>
          <a:bodyPr/>
          <a:lstStyle/>
          <a:p>
            <a:endParaRPr lang="en-US" dirty="0"/>
          </a:p>
        </p:txBody>
      </p:sp>
      <p:sp>
        <p:nvSpPr>
          <p:cNvPr id="5" name="Footer Placeholder 4">
            <a:extLst>
              <a:ext uri="{FF2B5EF4-FFF2-40B4-BE49-F238E27FC236}">
                <a16:creationId xmlns:a16="http://schemas.microsoft.com/office/drawing/2014/main" id="{8E3C21A6-2F34-CB41-9CB8-465C5A165E2E}"/>
              </a:ext>
            </a:extLst>
          </p:cNvPr>
          <p:cNvSpPr>
            <a:spLocks noGrp="1"/>
          </p:cNvSpPr>
          <p:nvPr userDrawn="1">
            <p:ph type="ftr" sz="quarter" idx="17"/>
          </p:nvPr>
        </p:nvSpPr>
        <p:spPr/>
        <p:txBody>
          <a:bodyPr/>
          <a:lstStyle/>
          <a:p>
            <a:endParaRPr lang="en-US" dirty="0"/>
          </a:p>
        </p:txBody>
      </p:sp>
      <p:sp>
        <p:nvSpPr>
          <p:cNvPr id="6" name="Slide Number Placeholder 5">
            <a:extLst>
              <a:ext uri="{FF2B5EF4-FFF2-40B4-BE49-F238E27FC236}">
                <a16:creationId xmlns:a16="http://schemas.microsoft.com/office/drawing/2014/main" id="{345A57F9-6F4F-954D-883C-298340BAC4E8}"/>
              </a:ext>
            </a:extLst>
          </p:cNvPr>
          <p:cNvSpPr>
            <a:spLocks noGrp="1"/>
          </p:cNvSpPr>
          <p:nvPr userDrawn="1">
            <p:ph type="sldNum" sz="quarter" idx="18"/>
          </p:nvPr>
        </p:nvSpPr>
        <p:spPr>
          <a:noFill/>
        </p:spPr>
        <p:txBody>
          <a:bodyPr/>
          <a:lstStyle>
            <a:lvl1pPr>
              <a:defRPr>
                <a:solidFill>
                  <a:schemeClr val="bg1"/>
                </a:solidFill>
              </a:defRPr>
            </a:lvl1pPr>
          </a:lstStyle>
          <a:p>
            <a:pPr marL="12700"/>
            <a:fld id="{078C017C-E1B9-8443-B047-B08AAA027B45}" type="slidenum">
              <a:rPr lang="en-US" smtClean="0"/>
              <a:pPr marL="12700"/>
              <a:t>‹#›</a:t>
            </a:fld>
            <a:endParaRPr lang="en-US" dirty="0"/>
          </a:p>
        </p:txBody>
      </p:sp>
      <p:grpSp>
        <p:nvGrpSpPr>
          <p:cNvPr id="77" name="Group 76">
            <a:extLst>
              <a:ext uri="{FF2B5EF4-FFF2-40B4-BE49-F238E27FC236}">
                <a16:creationId xmlns:a16="http://schemas.microsoft.com/office/drawing/2014/main" id="{BB7448AF-7E4C-3B4B-8EEC-CADF56A2032C}"/>
              </a:ext>
            </a:extLst>
          </p:cNvPr>
          <p:cNvGrpSpPr/>
          <p:nvPr userDrawn="1"/>
        </p:nvGrpSpPr>
        <p:grpSpPr>
          <a:xfrm>
            <a:off x="574987" y="-246933"/>
            <a:ext cx="11040535" cy="7347304"/>
            <a:chOff x="431240" y="-246933"/>
            <a:chExt cx="8280401" cy="7347304"/>
          </a:xfrm>
        </p:grpSpPr>
        <p:grpSp>
          <p:nvGrpSpPr>
            <p:cNvPr id="78" name="Group 77">
              <a:extLst>
                <a:ext uri="{FF2B5EF4-FFF2-40B4-BE49-F238E27FC236}">
                  <a16:creationId xmlns:a16="http://schemas.microsoft.com/office/drawing/2014/main" id="{672BAF4C-241C-FC45-8467-60B10AF7AB65}"/>
                </a:ext>
              </a:extLst>
            </p:cNvPr>
            <p:cNvGrpSpPr/>
            <p:nvPr userDrawn="1"/>
          </p:nvGrpSpPr>
          <p:grpSpPr>
            <a:xfrm>
              <a:off x="431242" y="6864579"/>
              <a:ext cx="8280398" cy="235792"/>
              <a:chOff x="431801" y="-235792"/>
              <a:chExt cx="4400550" cy="235792"/>
            </a:xfrm>
          </p:grpSpPr>
          <p:cxnSp>
            <p:nvCxnSpPr>
              <p:cNvPr id="87" name="Straight Connector 86">
                <a:extLst>
                  <a:ext uri="{FF2B5EF4-FFF2-40B4-BE49-F238E27FC236}">
                    <a16:creationId xmlns:a16="http://schemas.microsoft.com/office/drawing/2014/main" id="{590F8A25-E020-6846-8351-4AC93F1283B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5BB4FF16-C4BE-2F41-97E4-CA7412FE1A7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1FBF7B4D-D315-D841-998E-600E7FD39B85}"/>
                </a:ext>
              </a:extLst>
            </p:cNvPr>
            <p:cNvGrpSpPr/>
            <p:nvPr userDrawn="1"/>
          </p:nvGrpSpPr>
          <p:grpSpPr>
            <a:xfrm>
              <a:off x="431240" y="-246933"/>
              <a:ext cx="8280401" cy="235792"/>
              <a:chOff x="431800" y="-240735"/>
              <a:chExt cx="8280401" cy="235792"/>
            </a:xfrm>
          </p:grpSpPr>
          <p:grpSp>
            <p:nvGrpSpPr>
              <p:cNvPr id="80" name="Group 79">
                <a:extLst>
                  <a:ext uri="{FF2B5EF4-FFF2-40B4-BE49-F238E27FC236}">
                    <a16:creationId xmlns:a16="http://schemas.microsoft.com/office/drawing/2014/main" id="{262CB220-7BBD-9A40-8EFE-DBF481D41325}"/>
                  </a:ext>
                </a:extLst>
              </p:cNvPr>
              <p:cNvGrpSpPr/>
              <p:nvPr userDrawn="1"/>
            </p:nvGrpSpPr>
            <p:grpSpPr>
              <a:xfrm>
                <a:off x="431800" y="-240735"/>
                <a:ext cx="8280400" cy="235792"/>
                <a:chOff x="431800" y="-235792"/>
                <a:chExt cx="4400551" cy="235792"/>
              </a:xfrm>
            </p:grpSpPr>
            <p:cxnSp>
              <p:nvCxnSpPr>
                <p:cNvPr id="84" name="Straight Connector 83">
                  <a:extLst>
                    <a:ext uri="{FF2B5EF4-FFF2-40B4-BE49-F238E27FC236}">
                      <a16:creationId xmlns:a16="http://schemas.microsoft.com/office/drawing/2014/main" id="{4C0212DE-4F3A-064A-8852-84F9520CE40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54F88236-9314-6245-BA34-4C419A15253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208F0B2C-2ECF-FF4E-9454-5EE223675D0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81" name="TextBox 80">
                <a:extLst>
                  <a:ext uri="{FF2B5EF4-FFF2-40B4-BE49-F238E27FC236}">
                    <a16:creationId xmlns:a16="http://schemas.microsoft.com/office/drawing/2014/main" id="{52854B52-8256-764E-870F-8B12DFC75805}"/>
                  </a:ext>
                </a:extLst>
              </p:cNvPr>
              <p:cNvSpPr txBox="1"/>
              <p:nvPr userDrawn="1"/>
            </p:nvSpPr>
            <p:spPr>
              <a:xfrm>
                <a:off x="3914336" y="-176700"/>
                <a:ext cx="1315339"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82" name="Straight Arrow Connector 81">
                <a:extLst>
                  <a:ext uri="{FF2B5EF4-FFF2-40B4-BE49-F238E27FC236}">
                    <a16:creationId xmlns:a16="http://schemas.microsoft.com/office/drawing/2014/main" id="{EE3A4062-FF2D-804A-88FA-53139017D530}"/>
                  </a:ext>
                </a:extLst>
              </p:cNvPr>
              <p:cNvCxnSpPr>
                <a:cxnSpLocks/>
                <a:stCxn id="81" idx="1"/>
                <a:endCxn id="86" idx="2"/>
              </p:cNvCxnSpPr>
              <p:nvPr userDrawn="1"/>
            </p:nvCxnSpPr>
            <p:spPr>
              <a:xfrm flipH="1">
                <a:off x="431801" y="-122839"/>
                <a:ext cx="3482535"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89961C7F-EE2F-4844-874C-FABF729B3E38}"/>
                  </a:ext>
                </a:extLst>
              </p:cNvPr>
              <p:cNvCxnSpPr>
                <a:cxnSpLocks/>
                <a:stCxn id="81" idx="3"/>
                <a:endCxn id="86" idx="0"/>
              </p:cNvCxnSpPr>
              <p:nvPr userDrawn="1"/>
            </p:nvCxnSpPr>
            <p:spPr>
              <a:xfrm flipV="1">
                <a:off x="5229674" y="-122840"/>
                <a:ext cx="3482527"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281889420"/>
      </p:ext>
    </p:extLst>
  </p:cSld>
  <p:clrMapOvr>
    <a:overrideClrMapping bg1="lt1" tx1="dk1" bg2="lt2" tx2="dk2" accent1="accent1" accent2="accent2" accent3="accent3" accent4="accent4" accent5="accent5" accent6="accent6" hlink="lt1" folHlink="lt1"/>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hank You (Headshot)">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733D6C8-2947-664C-94C0-9AD79C24D8BC}"/>
              </a:ext>
            </a:extLst>
          </p:cNvPr>
          <p:cNvSpPr/>
          <p:nvPr userDrawn="1"/>
        </p:nvSpPr>
        <p:spPr>
          <a:xfrm flipH="1">
            <a:off x="-1" y="2402809"/>
            <a:ext cx="12192000" cy="3294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1800"/>
          </a:p>
        </p:txBody>
      </p:sp>
      <p:sp>
        <p:nvSpPr>
          <p:cNvPr id="21" name="Picture Placeholder 20">
            <a:extLst>
              <a:ext uri="{FF2B5EF4-FFF2-40B4-BE49-F238E27FC236}">
                <a16:creationId xmlns:a16="http://schemas.microsoft.com/office/drawing/2014/main" id="{0B98A494-7A59-1347-AC1A-9CEFC6F3BA30}"/>
              </a:ext>
            </a:extLst>
          </p:cNvPr>
          <p:cNvSpPr>
            <a:spLocks noGrp="1"/>
          </p:cNvSpPr>
          <p:nvPr>
            <p:ph type="pic" sz="quarter" idx="16" hasCustomPrompt="1"/>
          </p:nvPr>
        </p:nvSpPr>
        <p:spPr>
          <a:xfrm>
            <a:off x="6474629" y="2402809"/>
            <a:ext cx="5717371" cy="3294098"/>
          </a:xfrm>
          <a:custGeom>
            <a:avLst/>
            <a:gdLst>
              <a:gd name="connsiteX0" fmla="*/ 0 w 4288028"/>
              <a:gd name="connsiteY0" fmla="*/ 0 h 3294098"/>
              <a:gd name="connsiteX1" fmla="*/ 4288028 w 4288028"/>
              <a:gd name="connsiteY1" fmla="*/ 0 h 3294098"/>
              <a:gd name="connsiteX2" fmla="*/ 4288028 w 4288028"/>
              <a:gd name="connsiteY2" fmla="*/ 3294098 h 3294098"/>
              <a:gd name="connsiteX3" fmla="*/ 1563214 w 4288028"/>
              <a:gd name="connsiteY3" fmla="*/ 3294098 h 3294098"/>
            </a:gdLst>
            <a:ahLst/>
            <a:cxnLst>
              <a:cxn ang="0">
                <a:pos x="connsiteX0" y="connsiteY0"/>
              </a:cxn>
              <a:cxn ang="0">
                <a:pos x="connsiteX1" y="connsiteY1"/>
              </a:cxn>
              <a:cxn ang="0">
                <a:pos x="connsiteX2" y="connsiteY2"/>
              </a:cxn>
              <a:cxn ang="0">
                <a:pos x="connsiteX3" y="connsiteY3"/>
              </a:cxn>
            </a:cxnLst>
            <a:rect l="l" t="t" r="r" b="b"/>
            <a:pathLst>
              <a:path w="4288028" h="3294098">
                <a:moveTo>
                  <a:pt x="0" y="0"/>
                </a:moveTo>
                <a:lnTo>
                  <a:pt x="4288028" y="0"/>
                </a:lnTo>
                <a:lnTo>
                  <a:pt x="4288028" y="3294098"/>
                </a:lnTo>
                <a:lnTo>
                  <a:pt x="1563214" y="3294098"/>
                </a:lnTo>
                <a:close/>
              </a:path>
            </a:pathLst>
          </a:custGeom>
          <a:solidFill>
            <a:schemeClr val="accent2"/>
          </a:solidFill>
        </p:spPr>
        <p:txBody>
          <a:bodyPr wrap="square" rIns="432000" anchor="ctr">
            <a:noAutofit/>
          </a:bodyPr>
          <a:lstStyle>
            <a:lvl1pPr marL="0" indent="0" algn="r">
              <a:buNone/>
              <a:defRPr b="0">
                <a:solidFill>
                  <a:schemeClr val="bg1"/>
                </a:solidFill>
              </a:defRPr>
            </a:lvl1pPr>
          </a:lstStyle>
          <a:p>
            <a:r>
              <a:rPr lang="en-US" dirty="0"/>
              <a:t>Click icon to add photo or headshot</a:t>
            </a:r>
          </a:p>
        </p:txBody>
      </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575734" y="1219067"/>
            <a:ext cx="11040533" cy="914400"/>
          </a:xfrm>
        </p:spPr>
        <p:txBody>
          <a:bodyPr/>
          <a:lstStyle>
            <a:lvl1pPr>
              <a:defRPr sz="3200"/>
            </a:lvl1pPr>
          </a:lstStyle>
          <a:p>
            <a:r>
              <a:rPr lang="en-US" dirty="0"/>
              <a:t>Click to add</a:t>
            </a:r>
            <a:br>
              <a:rPr lang="en-US" dirty="0"/>
            </a:br>
            <a:r>
              <a:rPr lang="en-US" dirty="0"/>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575733" y="2714222"/>
            <a:ext cx="5520267" cy="2671270"/>
          </a:xfrm>
          <a:prstGeom prst="rect">
            <a:avLst/>
          </a:prstGeom>
          <a:noFill/>
          <a:ln>
            <a:noFill/>
          </a:ln>
        </p:spPr>
        <p:txBody>
          <a:bodyPr wrap="square" lIns="0" tIns="0" rIns="0" bIns="0" anchor="ctr">
            <a:noAutofit/>
          </a:bodyPr>
          <a:lstStyle>
            <a:lvl1pPr marL="20638" indent="0">
              <a:spcAft>
                <a:spcPts val="300"/>
              </a:spcAft>
              <a:buFont typeface="Arial" panose="020B0604020202020204" pitchFamily="34" charset="0"/>
              <a:buNone/>
              <a:tabLst/>
              <a:defRPr sz="1400" b="1">
                <a:solidFill>
                  <a:schemeClr val="bg1"/>
                </a:solidFill>
              </a:defRPr>
            </a:lvl1pPr>
            <a:lvl2pPr marL="20638" indent="0">
              <a:spcAft>
                <a:spcPts val="200"/>
              </a:spcAft>
              <a:buFont typeface="Arial" panose="020B0604020202020204" pitchFamily="34" charset="0"/>
              <a:buNone/>
              <a:tabLst/>
              <a:defRPr sz="1400">
                <a:solidFill>
                  <a:schemeClr val="bg1"/>
                </a:solidFill>
              </a:defRPr>
            </a:lvl2pPr>
            <a:lvl3pPr marL="20638" indent="0">
              <a:spcAft>
                <a:spcPts val="200"/>
              </a:spcAft>
              <a:buFont typeface="Arial" panose="020B0604020202020204" pitchFamily="34" charset="0"/>
              <a:buNone/>
              <a:tabLst/>
              <a:defRPr sz="1400">
                <a:solidFill>
                  <a:schemeClr val="bg1"/>
                </a:solidFill>
              </a:defRPr>
            </a:lvl3pPr>
            <a:lvl4pPr marL="20638" indent="0">
              <a:spcAft>
                <a:spcPts val="200"/>
              </a:spcAft>
              <a:buFont typeface="Arial" panose="020B0604020202020204" pitchFamily="34" charset="0"/>
              <a:buNone/>
              <a:tabLst/>
              <a:defRPr sz="1400">
                <a:solidFill>
                  <a:schemeClr val="bg1"/>
                </a:solidFill>
              </a:defRPr>
            </a:lvl4pPr>
            <a:lvl5pPr marL="20638" indent="0">
              <a:spcAft>
                <a:spcPts val="200"/>
              </a:spcAft>
              <a:buFont typeface="Arial" panose="020B0604020202020204" pitchFamily="34" charset="0"/>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dirty="0"/>
              <a:t>Click to add contact information</a:t>
            </a:r>
          </a:p>
          <a:p>
            <a:pPr lvl="1"/>
            <a:r>
              <a:rPr lang="en-US" dirty="0"/>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2"/>
            <a:ext cx="9041763"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1800"/>
          </a:p>
        </p:txBody>
      </p:sp>
      <p:grpSp>
        <p:nvGrpSpPr>
          <p:cNvPr id="50" name="Group 49">
            <a:extLst>
              <a:ext uri="{FF2B5EF4-FFF2-40B4-BE49-F238E27FC236}">
                <a16:creationId xmlns:a16="http://schemas.microsoft.com/office/drawing/2014/main" id="{8154AF59-E4FF-3346-B926-57EDAB1FE062}"/>
              </a:ext>
            </a:extLst>
          </p:cNvPr>
          <p:cNvGrpSpPr/>
          <p:nvPr userDrawn="1"/>
        </p:nvGrpSpPr>
        <p:grpSpPr>
          <a:xfrm>
            <a:off x="-342618" y="1261817"/>
            <a:ext cx="335281" cy="787628"/>
            <a:chOff x="-256404" y="360363"/>
            <a:chExt cx="251461" cy="692152"/>
          </a:xfrm>
        </p:grpSpPr>
        <p:grpSp>
          <p:nvGrpSpPr>
            <p:cNvPr id="51" name="Group 50">
              <a:extLst>
                <a:ext uri="{FF2B5EF4-FFF2-40B4-BE49-F238E27FC236}">
                  <a16:creationId xmlns:a16="http://schemas.microsoft.com/office/drawing/2014/main" id="{36AB50BF-4718-484C-B6EA-0C330459021B}"/>
                </a:ext>
              </a:extLst>
            </p:cNvPr>
            <p:cNvGrpSpPr/>
            <p:nvPr userDrawn="1"/>
          </p:nvGrpSpPr>
          <p:grpSpPr>
            <a:xfrm rot="16200000">
              <a:off x="-476749" y="580708"/>
              <a:ext cx="692152" cy="251461"/>
              <a:chOff x="431800" y="-235792"/>
              <a:chExt cx="4400551" cy="235792"/>
            </a:xfrm>
          </p:grpSpPr>
          <p:cxnSp>
            <p:nvCxnSpPr>
              <p:cNvPr id="53" name="Straight Connector 52">
                <a:extLst>
                  <a:ext uri="{FF2B5EF4-FFF2-40B4-BE49-F238E27FC236}">
                    <a16:creationId xmlns:a16="http://schemas.microsoft.com/office/drawing/2014/main" id="{A30C18D2-1D99-164F-A515-FE124A48FC0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10DDE84-4C05-1A4A-A2D8-AAE8FB3D342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0FEB97B8-81FD-4541-B92C-ADB8AD94CD4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52" name="TextBox 51">
              <a:extLst>
                <a:ext uri="{FF2B5EF4-FFF2-40B4-BE49-F238E27FC236}">
                  <a16:creationId xmlns:a16="http://schemas.microsoft.com/office/drawing/2014/main" id="{5D9FF21D-3A71-2548-A8D3-8888EABDC88B}"/>
                </a:ext>
              </a:extLst>
            </p:cNvPr>
            <p:cNvSpPr txBox="1"/>
            <p:nvPr userDrawn="1"/>
          </p:nvSpPr>
          <p:spPr>
            <a:xfrm rot="16200000">
              <a:off x="-359580" y="622270"/>
              <a:ext cx="457823" cy="161583"/>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56" name="Group 55">
            <a:extLst>
              <a:ext uri="{FF2B5EF4-FFF2-40B4-BE49-F238E27FC236}">
                <a16:creationId xmlns:a16="http://schemas.microsoft.com/office/drawing/2014/main" id="{85D3DB86-D979-BC43-82F9-D7DB16BFB915}"/>
              </a:ext>
            </a:extLst>
          </p:cNvPr>
          <p:cNvGrpSpPr/>
          <p:nvPr userDrawn="1"/>
        </p:nvGrpSpPr>
        <p:grpSpPr>
          <a:xfrm>
            <a:off x="-342618" y="3367324"/>
            <a:ext cx="335281" cy="1365066"/>
            <a:chOff x="-256404" y="360363"/>
            <a:chExt cx="251461" cy="692152"/>
          </a:xfrm>
        </p:grpSpPr>
        <p:grpSp>
          <p:nvGrpSpPr>
            <p:cNvPr id="57" name="Group 56">
              <a:extLst>
                <a:ext uri="{FF2B5EF4-FFF2-40B4-BE49-F238E27FC236}">
                  <a16:creationId xmlns:a16="http://schemas.microsoft.com/office/drawing/2014/main" id="{BBE9AB7B-CC36-1C48-8850-B428D53FD54E}"/>
                </a:ext>
              </a:extLst>
            </p:cNvPr>
            <p:cNvGrpSpPr/>
            <p:nvPr userDrawn="1"/>
          </p:nvGrpSpPr>
          <p:grpSpPr>
            <a:xfrm rot="16200000">
              <a:off x="-476749" y="580708"/>
              <a:ext cx="692152" cy="251461"/>
              <a:chOff x="431800" y="-235792"/>
              <a:chExt cx="4400551" cy="235792"/>
            </a:xfrm>
          </p:grpSpPr>
          <p:cxnSp>
            <p:nvCxnSpPr>
              <p:cNvPr id="59" name="Straight Connector 58">
                <a:extLst>
                  <a:ext uri="{FF2B5EF4-FFF2-40B4-BE49-F238E27FC236}">
                    <a16:creationId xmlns:a16="http://schemas.microsoft.com/office/drawing/2014/main" id="{383BC659-DE1A-AD46-BABB-4216D5152A6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6C4EDB7-BE73-C648-8454-EDBF3A3BCEC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98F7CC41-3485-F345-AD6D-DA420283A29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58" name="TextBox 57">
              <a:extLst>
                <a:ext uri="{FF2B5EF4-FFF2-40B4-BE49-F238E27FC236}">
                  <a16:creationId xmlns:a16="http://schemas.microsoft.com/office/drawing/2014/main" id="{8CDD96D5-24AE-C84E-9626-2669E4455CE7}"/>
                </a:ext>
              </a:extLst>
            </p:cNvPr>
            <p:cNvSpPr txBox="1"/>
            <p:nvPr userDrawn="1"/>
          </p:nvSpPr>
          <p:spPr>
            <a:xfrm rot="16200000">
              <a:off x="-300948" y="662666"/>
              <a:ext cx="340562" cy="8079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2" name="Group 1">
            <a:extLst>
              <a:ext uri="{FF2B5EF4-FFF2-40B4-BE49-F238E27FC236}">
                <a16:creationId xmlns:a16="http://schemas.microsoft.com/office/drawing/2014/main" id="{B3E31308-5073-4344-9CE0-58B65E2EFAD8}"/>
              </a:ext>
            </a:extLst>
          </p:cNvPr>
          <p:cNvGrpSpPr/>
          <p:nvPr userDrawn="1"/>
        </p:nvGrpSpPr>
        <p:grpSpPr>
          <a:xfrm>
            <a:off x="12532244" y="-1"/>
            <a:ext cx="3948953" cy="9888233"/>
            <a:chOff x="9399182" y="-1"/>
            <a:chExt cx="2961715" cy="9888233"/>
          </a:xfrm>
        </p:grpSpPr>
        <p:sp>
          <p:nvSpPr>
            <p:cNvPr id="24" name="Rectangle 23">
              <a:extLst>
                <a:ext uri="{FF2B5EF4-FFF2-40B4-BE49-F238E27FC236}">
                  <a16:creationId xmlns:a16="http://schemas.microsoft.com/office/drawing/2014/main" id="{4E76269E-8C78-D343-B169-EBF41DC6C7A1}"/>
                </a:ext>
              </a:extLst>
            </p:cNvPr>
            <p:cNvSpPr/>
            <p:nvPr userDrawn="1"/>
          </p:nvSpPr>
          <p:spPr>
            <a:xfrm>
              <a:off x="9399182" y="-1"/>
              <a:ext cx="2798651" cy="974868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90" name="Picture 89">
              <a:extLst>
                <a:ext uri="{FF2B5EF4-FFF2-40B4-BE49-F238E27FC236}">
                  <a16:creationId xmlns:a16="http://schemas.microsoft.com/office/drawing/2014/main" id="{F246FA3C-064F-9848-8568-CFCFAD40560E}"/>
                </a:ext>
              </a:extLst>
            </p:cNvPr>
            <p:cNvPicPr>
              <a:picLocks noChangeAspect="1"/>
            </p:cNvPicPr>
            <p:nvPr userDrawn="1"/>
          </p:nvPicPr>
          <p:blipFill rotWithShape="1">
            <a:blip r:embed="rId2"/>
            <a:srcRect r="44021" b="6017"/>
            <a:stretch/>
          </p:blipFill>
          <p:spPr>
            <a:xfrm>
              <a:off x="9558506" y="1323797"/>
              <a:ext cx="2632538" cy="532435"/>
            </a:xfrm>
            <a:prstGeom prst="rect">
              <a:avLst/>
            </a:prstGeom>
          </p:spPr>
        </p:pic>
        <p:sp>
          <p:nvSpPr>
            <p:cNvPr id="25" name="TextBox 24">
              <a:extLst>
                <a:ext uri="{FF2B5EF4-FFF2-40B4-BE49-F238E27FC236}">
                  <a16:creationId xmlns:a16="http://schemas.microsoft.com/office/drawing/2014/main" id="{1671C85D-BA5D-4D49-929C-B172CAD4A8DC}"/>
                </a:ext>
              </a:extLst>
            </p:cNvPr>
            <p:cNvSpPr txBox="1"/>
            <p:nvPr userDrawn="1"/>
          </p:nvSpPr>
          <p:spPr>
            <a:xfrm>
              <a:off x="9558507" y="3874407"/>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26" name="Straight Connector 25">
              <a:extLst>
                <a:ext uri="{FF2B5EF4-FFF2-40B4-BE49-F238E27FC236}">
                  <a16:creationId xmlns:a16="http://schemas.microsoft.com/office/drawing/2014/main" id="{FF6343EF-AD02-7847-99E6-3F12C4DE8DD6}"/>
                </a:ext>
              </a:extLst>
            </p:cNvPr>
            <p:cNvCxnSpPr>
              <a:cxnSpLocks/>
            </p:cNvCxnSpPr>
            <p:nvPr userDrawn="1"/>
          </p:nvCxnSpPr>
          <p:spPr>
            <a:xfrm>
              <a:off x="9558507" y="407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89BD887-3769-7E4A-84E6-A89C01DFBF0B}"/>
                </a:ext>
              </a:extLst>
            </p:cNvPr>
            <p:cNvSpPr txBox="1"/>
            <p:nvPr userDrawn="1"/>
          </p:nvSpPr>
          <p:spPr>
            <a:xfrm>
              <a:off x="9686426" y="4935334"/>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grpSp>
          <p:nvGrpSpPr>
            <p:cNvPr id="28" name="Group 27">
              <a:extLst>
                <a:ext uri="{FF2B5EF4-FFF2-40B4-BE49-F238E27FC236}">
                  <a16:creationId xmlns:a16="http://schemas.microsoft.com/office/drawing/2014/main" id="{3BB7DFA5-86A8-2241-81D4-51CD6B2BCFFE}"/>
                </a:ext>
              </a:extLst>
            </p:cNvPr>
            <p:cNvGrpSpPr/>
            <p:nvPr userDrawn="1"/>
          </p:nvGrpSpPr>
          <p:grpSpPr>
            <a:xfrm>
              <a:off x="9541497" y="162442"/>
              <a:ext cx="2819400" cy="814510"/>
              <a:chOff x="-3644733" y="165205"/>
              <a:chExt cx="2819400" cy="814510"/>
            </a:xfrm>
          </p:grpSpPr>
          <p:sp>
            <p:nvSpPr>
              <p:cNvPr id="68" name="Rectangle 67">
                <a:extLst>
                  <a:ext uri="{FF2B5EF4-FFF2-40B4-BE49-F238E27FC236}">
                    <a16:creationId xmlns:a16="http://schemas.microsoft.com/office/drawing/2014/main" id="{9FA83002-5E66-5C4C-9655-0BA18B87C2B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9" name="TextBox 68">
                <a:extLst>
                  <a:ext uri="{FF2B5EF4-FFF2-40B4-BE49-F238E27FC236}">
                    <a16:creationId xmlns:a16="http://schemas.microsoft.com/office/drawing/2014/main" id="{5E1F513F-7453-184B-BF9C-0FE3D213F37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0" name="Picture 69">
                <a:extLst>
                  <a:ext uri="{FF2B5EF4-FFF2-40B4-BE49-F238E27FC236}">
                    <a16:creationId xmlns:a16="http://schemas.microsoft.com/office/drawing/2014/main" id="{DA1384A2-99EA-8F47-831A-0F69FD1BD1E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48" name="Group 47">
              <a:extLst>
                <a:ext uri="{FF2B5EF4-FFF2-40B4-BE49-F238E27FC236}">
                  <a16:creationId xmlns:a16="http://schemas.microsoft.com/office/drawing/2014/main" id="{936DB6E4-613B-B043-BEEC-D9B02A473D15}"/>
                </a:ext>
              </a:extLst>
            </p:cNvPr>
            <p:cNvGrpSpPr/>
            <p:nvPr userDrawn="1"/>
          </p:nvGrpSpPr>
          <p:grpSpPr>
            <a:xfrm>
              <a:off x="9541497" y="8476917"/>
              <a:ext cx="2735151" cy="1411315"/>
              <a:chOff x="9296567" y="4910411"/>
              <a:chExt cx="2735151" cy="1411315"/>
            </a:xfrm>
          </p:grpSpPr>
          <p:sp>
            <p:nvSpPr>
              <p:cNvPr id="62" name="Rectangle 61">
                <a:extLst>
                  <a:ext uri="{FF2B5EF4-FFF2-40B4-BE49-F238E27FC236}">
                    <a16:creationId xmlns:a16="http://schemas.microsoft.com/office/drawing/2014/main" id="{B4B99D08-66F1-204B-AE0E-AE40EE746E6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3" name="TextBox 62">
                <a:extLst>
                  <a:ext uri="{FF2B5EF4-FFF2-40B4-BE49-F238E27FC236}">
                    <a16:creationId xmlns:a16="http://schemas.microsoft.com/office/drawing/2014/main" id="{D89DB38A-645F-144A-95C6-B29245BB782C}"/>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4" name="Graphic 63">
                <a:extLst>
                  <a:ext uri="{FF2B5EF4-FFF2-40B4-BE49-F238E27FC236}">
                    <a16:creationId xmlns:a16="http://schemas.microsoft.com/office/drawing/2014/main" id="{5844EBB1-69EC-374A-973E-FDB923CB63D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65" name="TextBox 64">
                <a:extLst>
                  <a:ext uri="{FF2B5EF4-FFF2-40B4-BE49-F238E27FC236}">
                    <a16:creationId xmlns:a16="http://schemas.microsoft.com/office/drawing/2014/main" id="{2A7D2CE2-0888-254D-8182-E8B9B984C27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6" name="TextBox 65">
                <a:extLst>
                  <a:ext uri="{FF2B5EF4-FFF2-40B4-BE49-F238E27FC236}">
                    <a16:creationId xmlns:a16="http://schemas.microsoft.com/office/drawing/2014/main" id="{4BEAE704-A4F2-8846-BBA0-A78F408CC4F6}"/>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7" name="TextBox 66">
                <a:extLst>
                  <a:ext uri="{FF2B5EF4-FFF2-40B4-BE49-F238E27FC236}">
                    <a16:creationId xmlns:a16="http://schemas.microsoft.com/office/drawing/2014/main" id="{E827C2E6-4B03-3E40-A5C3-2897F09BF8B9}"/>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30" name="Group 29">
              <a:extLst>
                <a:ext uri="{FF2B5EF4-FFF2-40B4-BE49-F238E27FC236}">
                  <a16:creationId xmlns:a16="http://schemas.microsoft.com/office/drawing/2014/main" id="{85BD4996-1151-B14E-92B4-B6EB0B20C0D1}"/>
                </a:ext>
              </a:extLst>
            </p:cNvPr>
            <p:cNvGrpSpPr/>
            <p:nvPr userDrawn="1"/>
          </p:nvGrpSpPr>
          <p:grpSpPr>
            <a:xfrm>
              <a:off x="9541497" y="7120261"/>
              <a:ext cx="2735151" cy="1280928"/>
              <a:chOff x="9286315" y="6976989"/>
              <a:chExt cx="2735151" cy="1280928"/>
            </a:xfrm>
          </p:grpSpPr>
          <p:sp>
            <p:nvSpPr>
              <p:cNvPr id="43" name="Rectangle 42">
                <a:extLst>
                  <a:ext uri="{FF2B5EF4-FFF2-40B4-BE49-F238E27FC236}">
                    <a16:creationId xmlns:a16="http://schemas.microsoft.com/office/drawing/2014/main" id="{500FE895-1720-AB4B-9E0F-91C2C382303D}"/>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4" name="TextBox 43">
                <a:extLst>
                  <a:ext uri="{FF2B5EF4-FFF2-40B4-BE49-F238E27FC236}">
                    <a16:creationId xmlns:a16="http://schemas.microsoft.com/office/drawing/2014/main" id="{1B155C23-A6FC-4149-BF55-6313E95865F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5" name="Graphic 44">
                <a:extLst>
                  <a:ext uri="{FF2B5EF4-FFF2-40B4-BE49-F238E27FC236}">
                    <a16:creationId xmlns:a16="http://schemas.microsoft.com/office/drawing/2014/main" id="{D666C49D-563C-9144-B854-B5D8FFA16E3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46" name="TextBox 45">
                <a:extLst>
                  <a:ext uri="{FF2B5EF4-FFF2-40B4-BE49-F238E27FC236}">
                    <a16:creationId xmlns:a16="http://schemas.microsoft.com/office/drawing/2014/main" id="{3CBE64FA-7748-1349-89EC-902B4A25BD0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7" name="Picture 46">
                <a:extLst>
                  <a:ext uri="{FF2B5EF4-FFF2-40B4-BE49-F238E27FC236}">
                    <a16:creationId xmlns:a16="http://schemas.microsoft.com/office/drawing/2014/main" id="{EBED6E0D-C534-0B4E-9ADA-CEEA5779E7B1}"/>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1" name="Group 30">
              <a:extLst>
                <a:ext uri="{FF2B5EF4-FFF2-40B4-BE49-F238E27FC236}">
                  <a16:creationId xmlns:a16="http://schemas.microsoft.com/office/drawing/2014/main" id="{1ADEF5FC-92F8-0E47-9385-A4F9D9B30AF8}"/>
                </a:ext>
              </a:extLst>
            </p:cNvPr>
            <p:cNvGrpSpPr/>
            <p:nvPr userDrawn="1"/>
          </p:nvGrpSpPr>
          <p:grpSpPr>
            <a:xfrm>
              <a:off x="9521833" y="4199527"/>
              <a:ext cx="2617883" cy="651460"/>
              <a:chOff x="12352022" y="513115"/>
              <a:chExt cx="2617883" cy="651460"/>
            </a:xfrm>
          </p:grpSpPr>
          <p:sp>
            <p:nvSpPr>
              <p:cNvPr id="40" name="TextBox 39">
                <a:extLst>
                  <a:ext uri="{FF2B5EF4-FFF2-40B4-BE49-F238E27FC236}">
                    <a16:creationId xmlns:a16="http://schemas.microsoft.com/office/drawing/2014/main" id="{67B0499E-8D11-9D4A-A286-DEBDE9610976}"/>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1" name="TextBox 40">
                <a:extLst>
                  <a:ext uri="{FF2B5EF4-FFF2-40B4-BE49-F238E27FC236}">
                    <a16:creationId xmlns:a16="http://schemas.microsoft.com/office/drawing/2014/main" id="{D0D2B337-235A-7742-931F-C88DF26DF94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2" name="TextBox 41">
                <a:extLst>
                  <a:ext uri="{FF2B5EF4-FFF2-40B4-BE49-F238E27FC236}">
                    <a16:creationId xmlns:a16="http://schemas.microsoft.com/office/drawing/2014/main" id="{C57FC906-94A4-9340-B80B-5A4321C7FD9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32" name="TextBox 31">
              <a:extLst>
                <a:ext uri="{FF2B5EF4-FFF2-40B4-BE49-F238E27FC236}">
                  <a16:creationId xmlns:a16="http://schemas.microsoft.com/office/drawing/2014/main" id="{33DD3CB3-E4D8-D945-AB52-C6152FB5CEEE}"/>
                </a:ext>
              </a:extLst>
            </p:cNvPr>
            <p:cNvSpPr txBox="1"/>
            <p:nvPr userDrawn="1"/>
          </p:nvSpPr>
          <p:spPr>
            <a:xfrm>
              <a:off x="9674267" y="5218639"/>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3" name="TextBox 32">
              <a:extLst>
                <a:ext uri="{FF2B5EF4-FFF2-40B4-BE49-F238E27FC236}">
                  <a16:creationId xmlns:a16="http://schemas.microsoft.com/office/drawing/2014/main" id="{F2294DF0-4D25-5543-B7E9-64BC32586F13}"/>
                </a:ext>
              </a:extLst>
            </p:cNvPr>
            <p:cNvSpPr txBox="1"/>
            <p:nvPr userDrawn="1"/>
          </p:nvSpPr>
          <p:spPr>
            <a:xfrm>
              <a:off x="9686426" y="5633896"/>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4" name="TextBox 33">
              <a:extLst>
                <a:ext uri="{FF2B5EF4-FFF2-40B4-BE49-F238E27FC236}">
                  <a16:creationId xmlns:a16="http://schemas.microsoft.com/office/drawing/2014/main" id="{E7593A18-4AA6-1740-8742-F41540517E1F}"/>
                </a:ext>
              </a:extLst>
            </p:cNvPr>
            <p:cNvSpPr txBox="1"/>
            <p:nvPr userDrawn="1"/>
          </p:nvSpPr>
          <p:spPr>
            <a:xfrm>
              <a:off x="9686426" y="6353986"/>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35" name="TextBox 34">
              <a:extLst>
                <a:ext uri="{FF2B5EF4-FFF2-40B4-BE49-F238E27FC236}">
                  <a16:creationId xmlns:a16="http://schemas.microsoft.com/office/drawing/2014/main" id="{956F856D-C4D3-334A-B1FE-BDBA5CA3B0E1}"/>
                </a:ext>
              </a:extLst>
            </p:cNvPr>
            <p:cNvSpPr txBox="1"/>
            <p:nvPr userDrawn="1"/>
          </p:nvSpPr>
          <p:spPr>
            <a:xfrm>
              <a:off x="9674267" y="6784549"/>
              <a:ext cx="2374733"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38" name="TextBox 37">
              <a:extLst>
                <a:ext uri="{FF2B5EF4-FFF2-40B4-BE49-F238E27FC236}">
                  <a16:creationId xmlns:a16="http://schemas.microsoft.com/office/drawing/2014/main" id="{AB0AAF54-7965-B142-B874-EE47EADD6C0A}"/>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39" name="Straight Connector 38">
              <a:extLst>
                <a:ext uri="{FF2B5EF4-FFF2-40B4-BE49-F238E27FC236}">
                  <a16:creationId xmlns:a16="http://schemas.microsoft.com/office/drawing/2014/main" id="{9DED1D72-DEB5-E94A-A957-290E83552A0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B557C09-E337-D24A-941E-6A7414CBA1D8}"/>
                </a:ext>
              </a:extLst>
            </p:cNvPr>
            <p:cNvGrpSpPr/>
            <p:nvPr userDrawn="1"/>
          </p:nvGrpSpPr>
          <p:grpSpPr>
            <a:xfrm>
              <a:off x="9541497" y="1993090"/>
              <a:ext cx="2735151" cy="1739504"/>
              <a:chOff x="9541497" y="2125825"/>
              <a:chExt cx="2735151" cy="1739504"/>
            </a:xfrm>
          </p:grpSpPr>
          <p:sp>
            <p:nvSpPr>
              <p:cNvPr id="72" name="Rectangle 71">
                <a:extLst>
                  <a:ext uri="{FF2B5EF4-FFF2-40B4-BE49-F238E27FC236}">
                    <a16:creationId xmlns:a16="http://schemas.microsoft.com/office/drawing/2014/main" id="{3EFFB818-B95A-9A4F-AA82-9F4D5FF20275}"/>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3" name="TextBox 72">
                <a:extLst>
                  <a:ext uri="{FF2B5EF4-FFF2-40B4-BE49-F238E27FC236}">
                    <a16:creationId xmlns:a16="http://schemas.microsoft.com/office/drawing/2014/main" id="{DEC5F26B-4D18-5442-B88B-C1A3C02042FF}"/>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74" name="Graphic 73">
                <a:extLst>
                  <a:ext uri="{FF2B5EF4-FFF2-40B4-BE49-F238E27FC236}">
                    <a16:creationId xmlns:a16="http://schemas.microsoft.com/office/drawing/2014/main" id="{474F1871-E7AA-694F-A055-112CE85079D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264907"/>
                <a:ext cx="155227" cy="155227"/>
              </a:xfrm>
              <a:prstGeom prst="rect">
                <a:avLst/>
              </a:prstGeom>
            </p:spPr>
          </p:pic>
          <p:sp>
            <p:nvSpPr>
              <p:cNvPr id="75" name="TextBox 74">
                <a:extLst>
                  <a:ext uri="{FF2B5EF4-FFF2-40B4-BE49-F238E27FC236}">
                    <a16:creationId xmlns:a16="http://schemas.microsoft.com/office/drawing/2014/main" id="{E5FA5F2C-CB33-3742-94F7-FCC2AF53A1E3}"/>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78" name="TextBox 77">
                <a:extLst>
                  <a:ext uri="{FF2B5EF4-FFF2-40B4-BE49-F238E27FC236}">
                    <a16:creationId xmlns:a16="http://schemas.microsoft.com/office/drawing/2014/main" id="{2E1A285B-D1A8-7542-B57C-1FB7F1DE582E}"/>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79" name="TextBox 78">
                <a:extLst>
                  <a:ext uri="{FF2B5EF4-FFF2-40B4-BE49-F238E27FC236}">
                    <a16:creationId xmlns:a16="http://schemas.microsoft.com/office/drawing/2014/main" id="{9A7FC49C-9563-8045-A659-511775C12BE2}"/>
                  </a:ext>
                </a:extLst>
              </p:cNvPr>
              <p:cNvSpPr txBox="1"/>
              <p:nvPr userDrawn="1"/>
            </p:nvSpPr>
            <p:spPr>
              <a:xfrm>
                <a:off x="9830981" y="3162742"/>
                <a:ext cx="2374733" cy="107722"/>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80" name="TextBox 79">
                <a:extLst>
                  <a:ext uri="{FF2B5EF4-FFF2-40B4-BE49-F238E27FC236}">
                    <a16:creationId xmlns:a16="http://schemas.microsoft.com/office/drawing/2014/main" id="{CD793767-48F5-464F-88A1-9CCB91E4C405}"/>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3" name="Picture 2">
                <a:extLst>
                  <a:ext uri="{FF2B5EF4-FFF2-40B4-BE49-F238E27FC236}">
                    <a16:creationId xmlns:a16="http://schemas.microsoft.com/office/drawing/2014/main" id="{101078BD-505E-0F4C-AD76-8DD34B7498CB}"/>
                  </a:ext>
                </a:extLst>
              </p:cNvPr>
              <p:cNvPicPr>
                <a:picLocks noChangeAspect="1"/>
              </p:cNvPicPr>
              <p:nvPr userDrawn="1"/>
            </p:nvPicPr>
            <p:blipFill rotWithShape="1">
              <a:blip r:embed="rId7"/>
              <a:srcRect l="4852" t="17138" r="10283" b="11792"/>
              <a:stretch/>
            </p:blipFill>
            <p:spPr>
              <a:xfrm>
                <a:off x="10676602" y="3604038"/>
                <a:ext cx="478277" cy="101726"/>
              </a:xfrm>
              <a:prstGeom prst="rect">
                <a:avLst/>
              </a:prstGeom>
              <a:ln>
                <a:solidFill>
                  <a:schemeClr val="accent3">
                    <a:lumMod val="60000"/>
                    <a:lumOff val="40000"/>
                  </a:schemeClr>
                </a:solidFill>
              </a:ln>
            </p:spPr>
          </p:pic>
        </p:grpSp>
      </p:grpSp>
      <p:grpSp>
        <p:nvGrpSpPr>
          <p:cNvPr id="71" name="Group 70">
            <a:extLst>
              <a:ext uri="{FF2B5EF4-FFF2-40B4-BE49-F238E27FC236}">
                <a16:creationId xmlns:a16="http://schemas.microsoft.com/office/drawing/2014/main" id="{7C71C768-6B06-514A-9B09-14236993DABA}"/>
              </a:ext>
            </a:extLst>
          </p:cNvPr>
          <p:cNvGrpSpPr/>
          <p:nvPr userDrawn="1"/>
        </p:nvGrpSpPr>
        <p:grpSpPr>
          <a:xfrm>
            <a:off x="574987" y="-246933"/>
            <a:ext cx="11040535" cy="7347304"/>
            <a:chOff x="431240" y="-246933"/>
            <a:chExt cx="8280401" cy="7347304"/>
          </a:xfrm>
        </p:grpSpPr>
        <p:grpSp>
          <p:nvGrpSpPr>
            <p:cNvPr id="76" name="Group 75">
              <a:extLst>
                <a:ext uri="{FF2B5EF4-FFF2-40B4-BE49-F238E27FC236}">
                  <a16:creationId xmlns:a16="http://schemas.microsoft.com/office/drawing/2014/main" id="{9B95636A-1056-924A-97B4-C3A6F8C3B1B4}"/>
                </a:ext>
              </a:extLst>
            </p:cNvPr>
            <p:cNvGrpSpPr/>
            <p:nvPr userDrawn="1"/>
          </p:nvGrpSpPr>
          <p:grpSpPr>
            <a:xfrm>
              <a:off x="431242" y="6864579"/>
              <a:ext cx="8280398" cy="235792"/>
              <a:chOff x="431801" y="-235792"/>
              <a:chExt cx="4400550" cy="235792"/>
            </a:xfrm>
          </p:grpSpPr>
          <p:cxnSp>
            <p:nvCxnSpPr>
              <p:cNvPr id="88" name="Straight Connector 87">
                <a:extLst>
                  <a:ext uri="{FF2B5EF4-FFF2-40B4-BE49-F238E27FC236}">
                    <a16:creationId xmlns:a16="http://schemas.microsoft.com/office/drawing/2014/main" id="{A3BD970C-9E24-EF4F-8A3A-73AB3554235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05D3E976-ACCC-3442-8667-B012B51D2E6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0A1A29BA-21FE-BF4F-A419-8BEDC8913E4C}"/>
                </a:ext>
              </a:extLst>
            </p:cNvPr>
            <p:cNvGrpSpPr/>
            <p:nvPr userDrawn="1"/>
          </p:nvGrpSpPr>
          <p:grpSpPr>
            <a:xfrm>
              <a:off x="431240" y="-246933"/>
              <a:ext cx="8280401" cy="235792"/>
              <a:chOff x="431800" y="-240735"/>
              <a:chExt cx="8280401" cy="235792"/>
            </a:xfrm>
          </p:grpSpPr>
          <p:grpSp>
            <p:nvGrpSpPr>
              <p:cNvPr id="81" name="Group 80">
                <a:extLst>
                  <a:ext uri="{FF2B5EF4-FFF2-40B4-BE49-F238E27FC236}">
                    <a16:creationId xmlns:a16="http://schemas.microsoft.com/office/drawing/2014/main" id="{07CF734D-3FF9-4E47-A5C5-1D33DD70F237}"/>
                  </a:ext>
                </a:extLst>
              </p:cNvPr>
              <p:cNvGrpSpPr/>
              <p:nvPr userDrawn="1"/>
            </p:nvGrpSpPr>
            <p:grpSpPr>
              <a:xfrm>
                <a:off x="431800" y="-240735"/>
                <a:ext cx="8280400" cy="235792"/>
                <a:chOff x="431800" y="-235792"/>
                <a:chExt cx="4400551" cy="235792"/>
              </a:xfrm>
            </p:grpSpPr>
            <p:cxnSp>
              <p:nvCxnSpPr>
                <p:cNvPr id="85" name="Straight Connector 84">
                  <a:extLst>
                    <a:ext uri="{FF2B5EF4-FFF2-40B4-BE49-F238E27FC236}">
                      <a16:creationId xmlns:a16="http://schemas.microsoft.com/office/drawing/2014/main" id="{A3D8645B-FB11-AF4F-A236-5EEAA664B35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3479ADB-FA23-394E-8391-00230A9B7BB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5CE960C4-BA95-7E46-819D-BD872CA8C5E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82" name="TextBox 81">
                <a:extLst>
                  <a:ext uri="{FF2B5EF4-FFF2-40B4-BE49-F238E27FC236}">
                    <a16:creationId xmlns:a16="http://schemas.microsoft.com/office/drawing/2014/main" id="{D1DED7A1-A6E1-1B4A-B40C-99489D2EB2D3}"/>
                  </a:ext>
                </a:extLst>
              </p:cNvPr>
              <p:cNvSpPr txBox="1"/>
              <p:nvPr userDrawn="1"/>
            </p:nvSpPr>
            <p:spPr>
              <a:xfrm>
                <a:off x="3914336" y="-176700"/>
                <a:ext cx="1315339"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83" name="Straight Arrow Connector 82">
                <a:extLst>
                  <a:ext uri="{FF2B5EF4-FFF2-40B4-BE49-F238E27FC236}">
                    <a16:creationId xmlns:a16="http://schemas.microsoft.com/office/drawing/2014/main" id="{EA4680D5-EBE2-9445-9E04-4B3E32771EF3}"/>
                  </a:ext>
                </a:extLst>
              </p:cNvPr>
              <p:cNvCxnSpPr>
                <a:cxnSpLocks/>
                <a:stCxn id="82" idx="1"/>
                <a:endCxn id="87" idx="2"/>
              </p:cNvCxnSpPr>
              <p:nvPr userDrawn="1"/>
            </p:nvCxnSpPr>
            <p:spPr>
              <a:xfrm flipH="1">
                <a:off x="431801" y="-122839"/>
                <a:ext cx="3482535"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1C4946BD-BA2D-B243-9830-431EA0108821}"/>
                  </a:ext>
                </a:extLst>
              </p:cNvPr>
              <p:cNvCxnSpPr>
                <a:cxnSpLocks/>
                <a:stCxn id="82" idx="3"/>
                <a:endCxn id="87" idx="0"/>
              </p:cNvCxnSpPr>
              <p:nvPr userDrawn="1"/>
            </p:nvCxnSpPr>
            <p:spPr>
              <a:xfrm flipV="1">
                <a:off x="5229674" y="-122840"/>
                <a:ext cx="3482527"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pic>
        <p:nvPicPr>
          <p:cNvPr id="91" name="Picture 90">
            <a:extLst>
              <a:ext uri="{FF2B5EF4-FFF2-40B4-BE49-F238E27FC236}">
                <a16:creationId xmlns:a16="http://schemas.microsoft.com/office/drawing/2014/main" id="{7A3CC9EA-91E6-CC48-98F7-A3B3DA6A399F}"/>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102926" y="6070430"/>
            <a:ext cx="2132663" cy="329184"/>
          </a:xfrm>
          <a:prstGeom prst="rect">
            <a:avLst/>
          </a:prstGeom>
        </p:spPr>
      </p:pic>
    </p:spTree>
    <p:extLst>
      <p:ext uri="{BB962C8B-B14F-4D97-AF65-F5344CB8AC3E}">
        <p14:creationId xmlns:p14="http://schemas.microsoft.com/office/powerpoint/2010/main" val="3857332553"/>
      </p:ext>
    </p:extLst>
  </p:cSld>
  <p:clrMapOvr>
    <a:overrideClrMapping bg1="lt1" tx1="dk1" bg2="lt2" tx2="dk2" accent1="accent1" accent2="accent2" accent3="accent3" accent4="accent4" accent5="accent5" accent6="accent6" hlink="lt1" folHlink="lt1"/>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hank You (2 Headshot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575734" y="2402732"/>
            <a:ext cx="11040533" cy="922907"/>
          </a:xfrm>
        </p:spPr>
        <p:txBody>
          <a:bodyPr/>
          <a:lstStyle>
            <a:lvl1pPr>
              <a:defRPr sz="3200"/>
            </a:lvl1pPr>
          </a:lstStyle>
          <a:p>
            <a:r>
              <a:rPr lang="en-US" dirty="0"/>
              <a:t>Click to add </a:t>
            </a:r>
            <a:br>
              <a:rPr lang="en-US" dirty="0"/>
            </a:br>
            <a:r>
              <a:rPr lang="en-US" dirty="0"/>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2862470" y="3604149"/>
            <a:ext cx="3068615"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dirty="0"/>
              <a:t>Click to add contact information</a:t>
            </a:r>
          </a:p>
          <a:p>
            <a:pPr lvl="1"/>
            <a:r>
              <a:rPr lang="en-US" dirty="0"/>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2"/>
            <a:ext cx="9041763"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1800"/>
          </a:p>
        </p:txBody>
      </p:sp>
      <p:grpSp>
        <p:nvGrpSpPr>
          <p:cNvPr id="7" name="Group 6">
            <a:extLst>
              <a:ext uri="{FF2B5EF4-FFF2-40B4-BE49-F238E27FC236}">
                <a16:creationId xmlns:a16="http://schemas.microsoft.com/office/drawing/2014/main" id="{329E5FF7-98BC-884F-840D-5E423F4AF849}"/>
              </a:ext>
            </a:extLst>
          </p:cNvPr>
          <p:cNvGrpSpPr/>
          <p:nvPr userDrawn="1"/>
        </p:nvGrpSpPr>
        <p:grpSpPr>
          <a:xfrm>
            <a:off x="-342618" y="2477066"/>
            <a:ext cx="33528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59580" y="622270"/>
              <a:ext cx="457823" cy="161583"/>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D8244616-2BA8-434E-A138-B2D5956D9EE1}"/>
              </a:ext>
            </a:extLst>
          </p:cNvPr>
          <p:cNvGrpSpPr/>
          <p:nvPr userDrawn="1"/>
        </p:nvGrpSpPr>
        <p:grpSpPr>
          <a:xfrm>
            <a:off x="-342618" y="3622630"/>
            <a:ext cx="335281" cy="1506813"/>
            <a:chOff x="-256404" y="360363"/>
            <a:chExt cx="251461" cy="692152"/>
          </a:xfrm>
        </p:grpSpPr>
        <p:grpSp>
          <p:nvGrpSpPr>
            <p:cNvPr id="17" name="Group 16">
              <a:extLst>
                <a:ext uri="{FF2B5EF4-FFF2-40B4-BE49-F238E27FC236}">
                  <a16:creationId xmlns:a16="http://schemas.microsoft.com/office/drawing/2014/main" id="{709CBFCC-B5CB-D24E-8728-2AAEE959FF6E}"/>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977E976A-5E64-D14B-BA4C-4F26EF696B7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0263B3-BEFA-F84D-A346-488994B5061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D5E94FD-3E4F-7A4D-8F85-338D20425FB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18" name="TextBox 17">
              <a:extLst>
                <a:ext uri="{FF2B5EF4-FFF2-40B4-BE49-F238E27FC236}">
                  <a16:creationId xmlns:a16="http://schemas.microsoft.com/office/drawing/2014/main" id="{1C137DA0-E7A0-8348-964C-0094E9A21AD9}"/>
                </a:ext>
              </a:extLst>
            </p:cNvPr>
            <p:cNvSpPr txBox="1"/>
            <p:nvPr userDrawn="1"/>
          </p:nvSpPr>
          <p:spPr>
            <a:xfrm rot="16200000">
              <a:off x="-284929" y="662666"/>
              <a:ext cx="308525" cy="8079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3" name="Picture Placeholder 2">
            <a:extLst>
              <a:ext uri="{FF2B5EF4-FFF2-40B4-BE49-F238E27FC236}">
                <a16:creationId xmlns:a16="http://schemas.microsoft.com/office/drawing/2014/main" id="{3953A8BD-C2FA-AE49-99CC-15B59CE56A15}"/>
              </a:ext>
            </a:extLst>
          </p:cNvPr>
          <p:cNvSpPr>
            <a:spLocks noGrp="1"/>
          </p:cNvSpPr>
          <p:nvPr>
            <p:ph type="pic" sz="quarter" idx="16" hasCustomPrompt="1"/>
          </p:nvPr>
        </p:nvSpPr>
        <p:spPr>
          <a:xfrm>
            <a:off x="575733" y="3603625"/>
            <a:ext cx="205740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22" name="Text Placeholder 7">
            <a:extLst>
              <a:ext uri="{FF2B5EF4-FFF2-40B4-BE49-F238E27FC236}">
                <a16:creationId xmlns:a16="http://schemas.microsoft.com/office/drawing/2014/main" id="{1B6BB86B-8CCA-614F-97F8-932E6DC1B83C}"/>
              </a:ext>
            </a:extLst>
          </p:cNvPr>
          <p:cNvSpPr>
            <a:spLocks noGrp="1"/>
          </p:cNvSpPr>
          <p:nvPr>
            <p:ph type="body" sz="quarter" idx="17" hasCustomPrompt="1"/>
          </p:nvPr>
        </p:nvSpPr>
        <p:spPr>
          <a:xfrm>
            <a:off x="8547653" y="3604149"/>
            <a:ext cx="3068615"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dirty="0"/>
              <a:t>Click to add contact information</a:t>
            </a:r>
          </a:p>
          <a:p>
            <a:pPr lvl="1"/>
            <a:r>
              <a:rPr lang="en-US" dirty="0"/>
              <a:t>Second level</a:t>
            </a:r>
          </a:p>
        </p:txBody>
      </p:sp>
      <p:sp>
        <p:nvSpPr>
          <p:cNvPr id="23" name="Picture Placeholder 2">
            <a:extLst>
              <a:ext uri="{FF2B5EF4-FFF2-40B4-BE49-F238E27FC236}">
                <a16:creationId xmlns:a16="http://schemas.microsoft.com/office/drawing/2014/main" id="{E582B670-FA91-C849-BD22-A066A6FE9B53}"/>
              </a:ext>
            </a:extLst>
          </p:cNvPr>
          <p:cNvSpPr>
            <a:spLocks noGrp="1"/>
          </p:cNvSpPr>
          <p:nvPr>
            <p:ph type="pic" sz="quarter" idx="18" hasCustomPrompt="1"/>
          </p:nvPr>
        </p:nvSpPr>
        <p:spPr>
          <a:xfrm>
            <a:off x="6260916" y="3603625"/>
            <a:ext cx="205740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2" name="Group 1">
            <a:extLst>
              <a:ext uri="{FF2B5EF4-FFF2-40B4-BE49-F238E27FC236}">
                <a16:creationId xmlns:a16="http://schemas.microsoft.com/office/drawing/2014/main" id="{C8C5271A-0BDF-8A4B-A174-563C1037B2D5}"/>
              </a:ext>
            </a:extLst>
          </p:cNvPr>
          <p:cNvGrpSpPr/>
          <p:nvPr userDrawn="1"/>
        </p:nvGrpSpPr>
        <p:grpSpPr>
          <a:xfrm>
            <a:off x="12532244" y="-1"/>
            <a:ext cx="3948953" cy="8383282"/>
            <a:chOff x="9399182" y="-1"/>
            <a:chExt cx="2961715" cy="8383282"/>
          </a:xfrm>
        </p:grpSpPr>
        <p:sp>
          <p:nvSpPr>
            <p:cNvPr id="25" name="Rectangle 24">
              <a:extLst>
                <a:ext uri="{FF2B5EF4-FFF2-40B4-BE49-F238E27FC236}">
                  <a16:creationId xmlns:a16="http://schemas.microsoft.com/office/drawing/2014/main" id="{545B4392-38F5-6C41-A941-E1CDFEF149BA}"/>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81" name="Picture 80">
              <a:extLst>
                <a:ext uri="{FF2B5EF4-FFF2-40B4-BE49-F238E27FC236}">
                  <a16:creationId xmlns:a16="http://schemas.microsoft.com/office/drawing/2014/main" id="{9505F31A-B1BD-6B43-93A4-B74F320C4E6C}"/>
                </a:ext>
              </a:extLst>
            </p:cNvPr>
            <p:cNvPicPr>
              <a:picLocks noChangeAspect="1"/>
            </p:cNvPicPr>
            <p:nvPr userDrawn="1"/>
          </p:nvPicPr>
          <p:blipFill rotWithShape="1">
            <a:blip r:embed="rId2"/>
            <a:srcRect r="44907"/>
            <a:stretch/>
          </p:blipFill>
          <p:spPr>
            <a:xfrm>
              <a:off x="9558505" y="1326787"/>
              <a:ext cx="2639326" cy="517021"/>
            </a:xfrm>
            <a:prstGeom prst="rect">
              <a:avLst/>
            </a:prstGeom>
          </p:spPr>
        </p:pic>
        <p:sp>
          <p:nvSpPr>
            <p:cNvPr id="26" name="TextBox 25">
              <a:extLst>
                <a:ext uri="{FF2B5EF4-FFF2-40B4-BE49-F238E27FC236}">
                  <a16:creationId xmlns:a16="http://schemas.microsoft.com/office/drawing/2014/main" id="{5258D4B1-E9C2-FB40-A4A9-66BEE0EF3965}"/>
                </a:ext>
              </a:extLst>
            </p:cNvPr>
            <p:cNvSpPr txBox="1"/>
            <p:nvPr userDrawn="1"/>
          </p:nvSpPr>
          <p:spPr>
            <a:xfrm>
              <a:off x="9558507" y="3863269"/>
              <a:ext cx="161943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IPS FOR ADDING HEADSHOTS</a:t>
              </a:r>
            </a:p>
          </p:txBody>
        </p:sp>
        <p:cxnSp>
          <p:nvCxnSpPr>
            <p:cNvPr id="27" name="Straight Connector 26">
              <a:extLst>
                <a:ext uri="{FF2B5EF4-FFF2-40B4-BE49-F238E27FC236}">
                  <a16:creationId xmlns:a16="http://schemas.microsoft.com/office/drawing/2014/main" id="{661008D7-F48E-CB4E-99B2-9CD9ECF9FBD6}"/>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EEB03B23-ECF8-7E4C-9DD0-D5EB04C22CCD}"/>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7" name="TextBox 66">
              <a:extLst>
                <a:ext uri="{FF2B5EF4-FFF2-40B4-BE49-F238E27FC236}">
                  <a16:creationId xmlns:a16="http://schemas.microsoft.com/office/drawing/2014/main" id="{D36E3FB2-9D3F-F345-8ABF-49772659DC3C}"/>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8" name="Picture 67">
              <a:extLst>
                <a:ext uri="{FF2B5EF4-FFF2-40B4-BE49-F238E27FC236}">
                  <a16:creationId xmlns:a16="http://schemas.microsoft.com/office/drawing/2014/main" id="{A2E380DD-5DBC-7B40-941B-9B833C5A4891}"/>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60" name="Rectangle 59">
              <a:extLst>
                <a:ext uri="{FF2B5EF4-FFF2-40B4-BE49-F238E27FC236}">
                  <a16:creationId xmlns:a16="http://schemas.microsoft.com/office/drawing/2014/main" id="{F9D5BAED-BA0A-B647-B7F6-5D6021FACCCF}"/>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1" name="TextBox 60">
              <a:extLst>
                <a:ext uri="{FF2B5EF4-FFF2-40B4-BE49-F238E27FC236}">
                  <a16:creationId xmlns:a16="http://schemas.microsoft.com/office/drawing/2014/main" id="{0526BF7F-3849-4849-8E5B-701D9AA18384}"/>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2" name="Graphic 61">
              <a:extLst>
                <a:ext uri="{FF2B5EF4-FFF2-40B4-BE49-F238E27FC236}">
                  <a16:creationId xmlns:a16="http://schemas.microsoft.com/office/drawing/2014/main" id="{A349D8B4-550A-014D-9076-DDDB3624A37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111049"/>
              <a:ext cx="155227" cy="155227"/>
            </a:xfrm>
            <a:prstGeom prst="rect">
              <a:avLst/>
            </a:prstGeom>
          </p:spPr>
        </p:pic>
        <p:sp>
          <p:nvSpPr>
            <p:cNvPr id="63" name="TextBox 62">
              <a:extLst>
                <a:ext uri="{FF2B5EF4-FFF2-40B4-BE49-F238E27FC236}">
                  <a16:creationId xmlns:a16="http://schemas.microsoft.com/office/drawing/2014/main" id="{EE86AFA1-0C01-1D45-B393-A7B36DC10AE4}"/>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4" name="TextBox 63">
              <a:extLst>
                <a:ext uri="{FF2B5EF4-FFF2-40B4-BE49-F238E27FC236}">
                  <a16:creationId xmlns:a16="http://schemas.microsoft.com/office/drawing/2014/main" id="{B69B0D5D-8E81-F645-BCC8-64447E84902A}"/>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5" name="TextBox 64">
              <a:extLst>
                <a:ext uri="{FF2B5EF4-FFF2-40B4-BE49-F238E27FC236}">
                  <a16:creationId xmlns:a16="http://schemas.microsoft.com/office/drawing/2014/main" id="{EFADA951-D7D8-B14D-82B0-66F3604EF11D}"/>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53" name="Rectangle 52">
              <a:extLst>
                <a:ext uri="{FF2B5EF4-FFF2-40B4-BE49-F238E27FC236}">
                  <a16:creationId xmlns:a16="http://schemas.microsoft.com/office/drawing/2014/main" id="{1C6A9EE0-3F9B-9141-804D-7B7B3100D2F8}"/>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54" name="TextBox 53">
              <a:extLst>
                <a:ext uri="{FF2B5EF4-FFF2-40B4-BE49-F238E27FC236}">
                  <a16:creationId xmlns:a16="http://schemas.microsoft.com/office/drawing/2014/main" id="{F6EBC34F-18CE-E54E-9812-7C5701913234}"/>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55" name="Graphic 54">
              <a:extLst>
                <a:ext uri="{FF2B5EF4-FFF2-40B4-BE49-F238E27FC236}">
                  <a16:creationId xmlns:a16="http://schemas.microsoft.com/office/drawing/2014/main" id="{911FC2BF-E4F0-7447-8543-FE7B8063A27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754392"/>
              <a:ext cx="155227" cy="155227"/>
            </a:xfrm>
            <a:prstGeom prst="rect">
              <a:avLst/>
            </a:prstGeom>
          </p:spPr>
        </p:pic>
        <p:sp>
          <p:nvSpPr>
            <p:cNvPr id="56" name="TextBox 55">
              <a:extLst>
                <a:ext uri="{FF2B5EF4-FFF2-40B4-BE49-F238E27FC236}">
                  <a16:creationId xmlns:a16="http://schemas.microsoft.com/office/drawing/2014/main" id="{7A713D6E-1306-BD46-9022-2EEA5CF4E52C}"/>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7" name="Picture 56">
              <a:extLst>
                <a:ext uri="{FF2B5EF4-FFF2-40B4-BE49-F238E27FC236}">
                  <a16:creationId xmlns:a16="http://schemas.microsoft.com/office/drawing/2014/main" id="{D30E2C41-A0A4-C34F-BD05-3F5C3C56ACC3}"/>
                </a:ext>
              </a:extLst>
            </p:cNvPr>
            <p:cNvPicPr>
              <a:picLocks noChangeAspect="1"/>
            </p:cNvPicPr>
            <p:nvPr userDrawn="1"/>
          </p:nvPicPr>
          <p:blipFill rotWithShape="1">
            <a:blip r:embed="rId6"/>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50" name="TextBox 49">
              <a:extLst>
                <a:ext uri="{FF2B5EF4-FFF2-40B4-BE49-F238E27FC236}">
                  <a16:creationId xmlns:a16="http://schemas.microsoft.com/office/drawing/2014/main" id="{6FE6E364-A45B-B842-AD58-20FEF7E057A3}"/>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1" name="TextBox 50">
              <a:extLst>
                <a:ext uri="{FF2B5EF4-FFF2-40B4-BE49-F238E27FC236}">
                  <a16:creationId xmlns:a16="http://schemas.microsoft.com/office/drawing/2014/main" id="{9B2852C9-AD22-FD42-B207-3FA60EC80EE1}"/>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2" name="TextBox 51">
              <a:extLst>
                <a:ext uri="{FF2B5EF4-FFF2-40B4-BE49-F238E27FC236}">
                  <a16:creationId xmlns:a16="http://schemas.microsoft.com/office/drawing/2014/main" id="{2B3D3979-13E7-BE49-84DE-225A4B2C314C}"/>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Add the photos to the placeholders.</a:t>
              </a:r>
            </a:p>
          </p:txBody>
        </p:sp>
        <p:sp>
          <p:nvSpPr>
            <p:cNvPr id="69" name="TextBox 68">
              <a:extLst>
                <a:ext uri="{FF2B5EF4-FFF2-40B4-BE49-F238E27FC236}">
                  <a16:creationId xmlns:a16="http://schemas.microsoft.com/office/drawing/2014/main" id="{D96C0231-DDB2-674E-BA33-8934B6975490}"/>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Crop the headshots so that they match:</a:t>
              </a:r>
            </a:p>
            <a:p>
              <a:pPr lvl="1"/>
              <a:r>
                <a:rPr lang="en-US" sz="900"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sz="900" dirty="0"/>
                <a:t>The entire head is visible</a:t>
              </a:r>
            </a:p>
            <a:p>
              <a:pPr lvl="1"/>
              <a:r>
                <a:rPr lang="en-US" sz="900" dirty="0"/>
                <a:t>Shoulders are visible</a:t>
              </a:r>
            </a:p>
          </p:txBody>
        </p:sp>
        <p:sp>
          <p:nvSpPr>
            <p:cNvPr id="40" name="Rectangle 39">
              <a:extLst>
                <a:ext uri="{FF2B5EF4-FFF2-40B4-BE49-F238E27FC236}">
                  <a16:creationId xmlns:a16="http://schemas.microsoft.com/office/drawing/2014/main" id="{34261B0B-0443-2947-86D5-57D446CA022B}"/>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1" name="TextBox 40">
              <a:extLst>
                <a:ext uri="{FF2B5EF4-FFF2-40B4-BE49-F238E27FC236}">
                  <a16:creationId xmlns:a16="http://schemas.microsoft.com/office/drawing/2014/main" id="{99B54DFE-A2F3-C645-9D97-EECBE782E039}"/>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42" name="Graphic 41">
              <a:extLst>
                <a:ext uri="{FF2B5EF4-FFF2-40B4-BE49-F238E27FC236}">
                  <a16:creationId xmlns:a16="http://schemas.microsoft.com/office/drawing/2014/main" id="{78A98A1A-F2C6-8B4A-B922-D0F44DD6FD1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121034"/>
              <a:ext cx="155227" cy="155227"/>
            </a:xfrm>
            <a:prstGeom prst="rect">
              <a:avLst/>
            </a:prstGeom>
          </p:spPr>
        </p:pic>
        <p:sp>
          <p:nvSpPr>
            <p:cNvPr id="43" name="TextBox 42">
              <a:extLst>
                <a:ext uri="{FF2B5EF4-FFF2-40B4-BE49-F238E27FC236}">
                  <a16:creationId xmlns:a16="http://schemas.microsoft.com/office/drawing/2014/main" id="{C1821284-7515-6645-AD56-2112AB09410E}"/>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44" name="TextBox 43">
              <a:extLst>
                <a:ext uri="{FF2B5EF4-FFF2-40B4-BE49-F238E27FC236}">
                  <a16:creationId xmlns:a16="http://schemas.microsoft.com/office/drawing/2014/main" id="{73339CCA-9476-8145-AA5E-4BF66FED48CC}"/>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45" name="TextBox 44">
              <a:extLst>
                <a:ext uri="{FF2B5EF4-FFF2-40B4-BE49-F238E27FC236}">
                  <a16:creationId xmlns:a16="http://schemas.microsoft.com/office/drawing/2014/main" id="{D59F6E3B-D6C3-5046-821A-B0958EABAE66}"/>
                </a:ext>
              </a:extLst>
            </p:cNvPr>
            <p:cNvSpPr txBox="1"/>
            <p:nvPr userDrawn="1"/>
          </p:nvSpPr>
          <p:spPr>
            <a:xfrm>
              <a:off x="9830981" y="3018869"/>
              <a:ext cx="2374733" cy="107722"/>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46" name="TextBox 45">
              <a:extLst>
                <a:ext uri="{FF2B5EF4-FFF2-40B4-BE49-F238E27FC236}">
                  <a16:creationId xmlns:a16="http://schemas.microsoft.com/office/drawing/2014/main" id="{BB5D2460-8792-4C47-8772-D09B0975E99A}"/>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47" name="Picture 46">
              <a:extLst>
                <a:ext uri="{FF2B5EF4-FFF2-40B4-BE49-F238E27FC236}">
                  <a16:creationId xmlns:a16="http://schemas.microsoft.com/office/drawing/2014/main" id="{2024B849-BE34-3D47-836E-F64027EBFFBD}"/>
                </a:ext>
              </a:extLst>
            </p:cNvPr>
            <p:cNvPicPr>
              <a:picLocks noChangeAspect="1"/>
            </p:cNvPicPr>
            <p:nvPr userDrawn="1"/>
          </p:nvPicPr>
          <p:blipFill rotWithShape="1">
            <a:blip r:embed="rId7"/>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5" name="Picture 4">
              <a:extLst>
                <a:ext uri="{FF2B5EF4-FFF2-40B4-BE49-F238E27FC236}">
                  <a16:creationId xmlns:a16="http://schemas.microsoft.com/office/drawing/2014/main" id="{52FE0A6A-07E7-D846-9A21-107CEEAD3B6F}"/>
                </a:ext>
              </a:extLst>
            </p:cNvPr>
            <p:cNvPicPr>
              <a:picLocks noChangeAspect="1"/>
            </p:cNvPicPr>
            <p:nvPr userDrawn="1"/>
          </p:nvPicPr>
          <p:blipFill>
            <a:blip r:embed="rId8"/>
            <a:stretch>
              <a:fillRect/>
            </a:stretch>
          </p:blipFill>
          <p:spPr>
            <a:xfrm>
              <a:off x="11251841" y="4562988"/>
              <a:ext cx="849028" cy="849028"/>
            </a:xfrm>
            <a:prstGeom prst="rect">
              <a:avLst/>
            </a:prstGeom>
          </p:spPr>
        </p:pic>
        <p:sp>
          <p:nvSpPr>
            <p:cNvPr id="48" name="TextBox 47">
              <a:extLst>
                <a:ext uri="{FF2B5EF4-FFF2-40B4-BE49-F238E27FC236}">
                  <a16:creationId xmlns:a16="http://schemas.microsoft.com/office/drawing/2014/main" id="{4348059E-F311-3E49-929C-68406361B611}"/>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49" name="Straight Connector 48">
              <a:extLst>
                <a:ext uri="{FF2B5EF4-FFF2-40B4-BE49-F238E27FC236}">
                  <a16:creationId xmlns:a16="http://schemas.microsoft.com/office/drawing/2014/main" id="{6D32AA4D-A813-B740-8E61-D74D604CEE5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9230EF6E-C845-D64E-BC72-F37EFCE9B7D8}"/>
              </a:ext>
            </a:extLst>
          </p:cNvPr>
          <p:cNvGrpSpPr/>
          <p:nvPr userDrawn="1"/>
        </p:nvGrpSpPr>
        <p:grpSpPr>
          <a:xfrm>
            <a:off x="574987" y="-246933"/>
            <a:ext cx="11040535" cy="7347304"/>
            <a:chOff x="431240" y="-246933"/>
            <a:chExt cx="8280401" cy="7347304"/>
          </a:xfrm>
        </p:grpSpPr>
        <p:grpSp>
          <p:nvGrpSpPr>
            <p:cNvPr id="85" name="Group 84">
              <a:extLst>
                <a:ext uri="{FF2B5EF4-FFF2-40B4-BE49-F238E27FC236}">
                  <a16:creationId xmlns:a16="http://schemas.microsoft.com/office/drawing/2014/main" id="{7B5DBABC-D043-5F48-AA9E-590EFDB7EE71}"/>
                </a:ext>
              </a:extLst>
            </p:cNvPr>
            <p:cNvGrpSpPr/>
            <p:nvPr userDrawn="1"/>
          </p:nvGrpSpPr>
          <p:grpSpPr>
            <a:xfrm>
              <a:off x="431242" y="6864579"/>
              <a:ext cx="8280398" cy="235792"/>
              <a:chOff x="431801" y="-235792"/>
              <a:chExt cx="4400550" cy="235792"/>
            </a:xfrm>
          </p:grpSpPr>
          <p:cxnSp>
            <p:nvCxnSpPr>
              <p:cNvPr id="94" name="Straight Connector 93">
                <a:extLst>
                  <a:ext uri="{FF2B5EF4-FFF2-40B4-BE49-F238E27FC236}">
                    <a16:creationId xmlns:a16="http://schemas.microsoft.com/office/drawing/2014/main" id="{A5D4D379-3F76-B448-9498-84AB6A27E01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DEF8E035-72A9-FE47-AC59-8D6A909E08E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6" name="Group 85">
              <a:extLst>
                <a:ext uri="{FF2B5EF4-FFF2-40B4-BE49-F238E27FC236}">
                  <a16:creationId xmlns:a16="http://schemas.microsoft.com/office/drawing/2014/main" id="{3486BB88-F072-2D44-AF2B-06DF2812AAA9}"/>
                </a:ext>
              </a:extLst>
            </p:cNvPr>
            <p:cNvGrpSpPr/>
            <p:nvPr userDrawn="1"/>
          </p:nvGrpSpPr>
          <p:grpSpPr>
            <a:xfrm>
              <a:off x="431240" y="-246933"/>
              <a:ext cx="8280401" cy="235792"/>
              <a:chOff x="431800" y="-240735"/>
              <a:chExt cx="8280401" cy="235792"/>
            </a:xfrm>
          </p:grpSpPr>
          <p:grpSp>
            <p:nvGrpSpPr>
              <p:cNvPr id="87" name="Group 86">
                <a:extLst>
                  <a:ext uri="{FF2B5EF4-FFF2-40B4-BE49-F238E27FC236}">
                    <a16:creationId xmlns:a16="http://schemas.microsoft.com/office/drawing/2014/main" id="{51F1AA18-8D70-B74C-9039-62189A303501}"/>
                  </a:ext>
                </a:extLst>
              </p:cNvPr>
              <p:cNvGrpSpPr/>
              <p:nvPr userDrawn="1"/>
            </p:nvGrpSpPr>
            <p:grpSpPr>
              <a:xfrm>
                <a:off x="431800" y="-240735"/>
                <a:ext cx="8280400" cy="235792"/>
                <a:chOff x="431800" y="-235792"/>
                <a:chExt cx="4400551" cy="235792"/>
              </a:xfrm>
            </p:grpSpPr>
            <p:cxnSp>
              <p:nvCxnSpPr>
                <p:cNvPr id="91" name="Straight Connector 90">
                  <a:extLst>
                    <a:ext uri="{FF2B5EF4-FFF2-40B4-BE49-F238E27FC236}">
                      <a16:creationId xmlns:a16="http://schemas.microsoft.com/office/drawing/2014/main" id="{55FEC584-665C-7545-84C6-2D2E1D2C018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C5C3A87-06AD-2C4F-9DC4-6000A647C55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281582EA-F393-1147-828A-D50AB16A990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88" name="TextBox 87">
                <a:extLst>
                  <a:ext uri="{FF2B5EF4-FFF2-40B4-BE49-F238E27FC236}">
                    <a16:creationId xmlns:a16="http://schemas.microsoft.com/office/drawing/2014/main" id="{BACC31F5-D05D-4A41-B49F-42A54E4620F2}"/>
                  </a:ext>
                </a:extLst>
              </p:cNvPr>
              <p:cNvSpPr txBox="1"/>
              <p:nvPr userDrawn="1"/>
            </p:nvSpPr>
            <p:spPr>
              <a:xfrm>
                <a:off x="3914336" y="-176700"/>
                <a:ext cx="1315339"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89" name="Straight Arrow Connector 88">
                <a:extLst>
                  <a:ext uri="{FF2B5EF4-FFF2-40B4-BE49-F238E27FC236}">
                    <a16:creationId xmlns:a16="http://schemas.microsoft.com/office/drawing/2014/main" id="{405C5C4B-BD92-D543-9EAC-B93AFF2A9CB7}"/>
                  </a:ext>
                </a:extLst>
              </p:cNvPr>
              <p:cNvCxnSpPr>
                <a:cxnSpLocks/>
                <a:stCxn id="88" idx="1"/>
                <a:endCxn id="93" idx="2"/>
              </p:cNvCxnSpPr>
              <p:nvPr userDrawn="1"/>
            </p:nvCxnSpPr>
            <p:spPr>
              <a:xfrm flipH="1">
                <a:off x="431801" y="-122839"/>
                <a:ext cx="3482535"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CA96D44-28E2-B847-9649-7F42CD53BA49}"/>
                  </a:ext>
                </a:extLst>
              </p:cNvPr>
              <p:cNvCxnSpPr>
                <a:cxnSpLocks/>
                <a:stCxn id="88" idx="3"/>
                <a:endCxn id="93" idx="0"/>
              </p:cNvCxnSpPr>
              <p:nvPr userDrawn="1"/>
            </p:nvCxnSpPr>
            <p:spPr>
              <a:xfrm flipV="1">
                <a:off x="5229674" y="-122840"/>
                <a:ext cx="3482527"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pic>
        <p:nvPicPr>
          <p:cNvPr id="70" name="Picture 69">
            <a:extLst>
              <a:ext uri="{FF2B5EF4-FFF2-40B4-BE49-F238E27FC236}">
                <a16:creationId xmlns:a16="http://schemas.microsoft.com/office/drawing/2014/main" id="{E80CBB95-58F7-334A-AAED-55EE796BE9B6}"/>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9102926" y="6070430"/>
            <a:ext cx="2132663" cy="329184"/>
          </a:xfrm>
          <a:prstGeom prst="rect">
            <a:avLst/>
          </a:prstGeom>
        </p:spPr>
      </p:pic>
    </p:spTree>
    <p:extLst>
      <p:ext uri="{BB962C8B-B14F-4D97-AF65-F5344CB8AC3E}">
        <p14:creationId xmlns:p14="http://schemas.microsoft.com/office/powerpoint/2010/main" val="158345354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am Members (6 Headshots)">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32" name="Date Placeholder 31">
            <a:extLst>
              <a:ext uri="{FF2B5EF4-FFF2-40B4-BE49-F238E27FC236}">
                <a16:creationId xmlns:a16="http://schemas.microsoft.com/office/drawing/2014/main" id="{063A222F-451A-4B49-AAE6-41BBAA48AC75}"/>
              </a:ext>
            </a:extLst>
          </p:cNvPr>
          <p:cNvSpPr>
            <a:spLocks noGrp="1"/>
          </p:cNvSpPr>
          <p:nvPr>
            <p:ph type="dt" sz="half" idx="105"/>
          </p:nvPr>
        </p:nvSpPr>
        <p:spPr/>
        <p:txBody>
          <a:bodyPr/>
          <a:lstStyle/>
          <a:p>
            <a:endParaRPr lang="en-US" dirty="0"/>
          </a:p>
        </p:txBody>
      </p:sp>
      <p:sp>
        <p:nvSpPr>
          <p:cNvPr id="33" name="Footer Placeholder 32">
            <a:extLst>
              <a:ext uri="{FF2B5EF4-FFF2-40B4-BE49-F238E27FC236}">
                <a16:creationId xmlns:a16="http://schemas.microsoft.com/office/drawing/2014/main" id="{7182972C-B32C-5242-9660-1F857E08362B}"/>
              </a:ext>
            </a:extLst>
          </p:cNvPr>
          <p:cNvSpPr>
            <a:spLocks noGrp="1"/>
          </p:cNvSpPr>
          <p:nvPr>
            <p:ph type="ftr" sz="quarter" idx="106"/>
          </p:nvPr>
        </p:nvSpPr>
        <p:spPr/>
        <p:txBody>
          <a:bodyPr/>
          <a:lstStyle/>
          <a:p>
            <a:endParaRPr lang="en-US" dirty="0"/>
          </a:p>
        </p:txBody>
      </p:sp>
      <p:sp>
        <p:nvSpPr>
          <p:cNvPr id="39" name="Slide Number Placeholder 38">
            <a:extLst>
              <a:ext uri="{FF2B5EF4-FFF2-40B4-BE49-F238E27FC236}">
                <a16:creationId xmlns:a16="http://schemas.microsoft.com/office/drawing/2014/main" id="{702F905D-B5C6-604B-A8D6-931CBE08DB32}"/>
              </a:ext>
            </a:extLst>
          </p:cNvPr>
          <p:cNvSpPr>
            <a:spLocks noGrp="1"/>
          </p:cNvSpPr>
          <p:nvPr>
            <p:ph type="sldNum" sz="quarter" idx="107"/>
          </p:nvPr>
        </p:nvSpPr>
        <p:spPr/>
        <p:txBody>
          <a:bodyPr/>
          <a:lstStyle/>
          <a:p>
            <a:pPr marL="12700"/>
            <a:fld id="{078C017C-E1B9-8443-B047-B08AAA027B45}" type="slidenum">
              <a:rPr lang="en-US" smtClean="0"/>
              <a:pPr marL="12700"/>
              <a:t>‹#›</a:t>
            </a:fld>
            <a:endParaRPr lang="en-US" dirty="0"/>
          </a:p>
        </p:txBody>
      </p:sp>
      <p:sp>
        <p:nvSpPr>
          <p:cNvPr id="51"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2862470" y="1233489"/>
            <a:ext cx="3068615"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dirty="0"/>
              <a:t>Click to add contact information</a:t>
            </a:r>
          </a:p>
          <a:p>
            <a:pPr lvl="1"/>
            <a:r>
              <a:rPr lang="en-US" dirty="0"/>
              <a:t>Second level</a:t>
            </a:r>
          </a:p>
        </p:txBody>
      </p:sp>
      <p:sp>
        <p:nvSpPr>
          <p:cNvPr id="52" name="Picture Placeholder 2">
            <a:extLst>
              <a:ext uri="{FF2B5EF4-FFF2-40B4-BE49-F238E27FC236}">
                <a16:creationId xmlns:a16="http://schemas.microsoft.com/office/drawing/2014/main" id="{3953A8BD-C2FA-AE49-99CC-15B59CE56A15}"/>
              </a:ext>
            </a:extLst>
          </p:cNvPr>
          <p:cNvSpPr>
            <a:spLocks noGrp="1"/>
          </p:cNvSpPr>
          <p:nvPr>
            <p:ph type="pic" sz="quarter" idx="16" hasCustomPrompt="1"/>
          </p:nvPr>
        </p:nvSpPr>
        <p:spPr>
          <a:xfrm>
            <a:off x="575733" y="1232965"/>
            <a:ext cx="205740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3" name="Text Placeholder 7">
            <a:extLst>
              <a:ext uri="{FF2B5EF4-FFF2-40B4-BE49-F238E27FC236}">
                <a16:creationId xmlns:a16="http://schemas.microsoft.com/office/drawing/2014/main" id="{1B6BB86B-8CCA-614F-97F8-932E6DC1B83C}"/>
              </a:ext>
            </a:extLst>
          </p:cNvPr>
          <p:cNvSpPr>
            <a:spLocks noGrp="1"/>
          </p:cNvSpPr>
          <p:nvPr>
            <p:ph type="body" sz="quarter" idx="17" hasCustomPrompt="1"/>
          </p:nvPr>
        </p:nvSpPr>
        <p:spPr>
          <a:xfrm>
            <a:off x="8547653" y="1233489"/>
            <a:ext cx="3068615"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dirty="0"/>
              <a:t>Click to add contact information</a:t>
            </a:r>
          </a:p>
          <a:p>
            <a:pPr lvl="1"/>
            <a:r>
              <a:rPr lang="en-US" dirty="0"/>
              <a:t>Second level</a:t>
            </a:r>
          </a:p>
        </p:txBody>
      </p:sp>
      <p:sp>
        <p:nvSpPr>
          <p:cNvPr id="54" name="Picture Placeholder 2">
            <a:extLst>
              <a:ext uri="{FF2B5EF4-FFF2-40B4-BE49-F238E27FC236}">
                <a16:creationId xmlns:a16="http://schemas.microsoft.com/office/drawing/2014/main" id="{E582B670-FA91-C849-BD22-A066A6FE9B53}"/>
              </a:ext>
            </a:extLst>
          </p:cNvPr>
          <p:cNvSpPr>
            <a:spLocks noGrp="1"/>
          </p:cNvSpPr>
          <p:nvPr>
            <p:ph type="pic" sz="quarter" idx="18" hasCustomPrompt="1"/>
          </p:nvPr>
        </p:nvSpPr>
        <p:spPr>
          <a:xfrm>
            <a:off x="6260916" y="1232965"/>
            <a:ext cx="205740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5" name="Text Placeholder 7">
            <a:extLst>
              <a:ext uri="{FF2B5EF4-FFF2-40B4-BE49-F238E27FC236}">
                <a16:creationId xmlns:a16="http://schemas.microsoft.com/office/drawing/2014/main" id="{022CA3D9-DBCD-8543-9EF3-77B6B03F5142}"/>
              </a:ext>
            </a:extLst>
          </p:cNvPr>
          <p:cNvSpPr>
            <a:spLocks noGrp="1"/>
          </p:cNvSpPr>
          <p:nvPr>
            <p:ph type="body" sz="quarter" idx="1001" hasCustomPrompt="1"/>
          </p:nvPr>
        </p:nvSpPr>
        <p:spPr>
          <a:xfrm>
            <a:off x="2862470" y="4607602"/>
            <a:ext cx="3068615"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dirty="0"/>
              <a:t>Click to add contact information</a:t>
            </a:r>
          </a:p>
          <a:p>
            <a:pPr lvl="1"/>
            <a:r>
              <a:rPr lang="en-US" dirty="0"/>
              <a:t>Second level</a:t>
            </a:r>
          </a:p>
        </p:txBody>
      </p:sp>
      <p:sp>
        <p:nvSpPr>
          <p:cNvPr id="56" name="Picture Placeholder 2">
            <a:extLst>
              <a:ext uri="{FF2B5EF4-FFF2-40B4-BE49-F238E27FC236}">
                <a16:creationId xmlns:a16="http://schemas.microsoft.com/office/drawing/2014/main" id="{3953A8BD-C2FA-AE49-99CC-15B59CE56A15}"/>
              </a:ext>
            </a:extLst>
          </p:cNvPr>
          <p:cNvSpPr>
            <a:spLocks noGrp="1"/>
          </p:cNvSpPr>
          <p:nvPr>
            <p:ph type="pic" sz="quarter" idx="1002" hasCustomPrompt="1"/>
          </p:nvPr>
        </p:nvSpPr>
        <p:spPr>
          <a:xfrm>
            <a:off x="575733" y="4607078"/>
            <a:ext cx="205740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7" name="Text Placeholder 7">
            <a:extLst>
              <a:ext uri="{FF2B5EF4-FFF2-40B4-BE49-F238E27FC236}">
                <a16:creationId xmlns:a16="http://schemas.microsoft.com/office/drawing/2014/main" id="{1B6BB86B-8CCA-614F-97F8-932E6DC1B83C}"/>
              </a:ext>
            </a:extLst>
          </p:cNvPr>
          <p:cNvSpPr>
            <a:spLocks noGrp="1"/>
          </p:cNvSpPr>
          <p:nvPr>
            <p:ph type="body" sz="quarter" idx="1003" hasCustomPrompt="1"/>
          </p:nvPr>
        </p:nvSpPr>
        <p:spPr>
          <a:xfrm>
            <a:off x="8547653" y="4607602"/>
            <a:ext cx="3068615"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dirty="0"/>
              <a:t>Click to add contact information</a:t>
            </a:r>
          </a:p>
          <a:p>
            <a:pPr lvl="1"/>
            <a:r>
              <a:rPr lang="en-US" dirty="0"/>
              <a:t>Second level</a:t>
            </a:r>
          </a:p>
        </p:txBody>
      </p:sp>
      <p:sp>
        <p:nvSpPr>
          <p:cNvPr id="58" name="Picture Placeholder 2">
            <a:extLst>
              <a:ext uri="{FF2B5EF4-FFF2-40B4-BE49-F238E27FC236}">
                <a16:creationId xmlns:a16="http://schemas.microsoft.com/office/drawing/2014/main" id="{E582B670-FA91-C849-BD22-A066A6FE9B53}"/>
              </a:ext>
            </a:extLst>
          </p:cNvPr>
          <p:cNvSpPr>
            <a:spLocks noGrp="1"/>
          </p:cNvSpPr>
          <p:nvPr>
            <p:ph type="pic" sz="quarter" idx="1004" hasCustomPrompt="1"/>
          </p:nvPr>
        </p:nvSpPr>
        <p:spPr>
          <a:xfrm>
            <a:off x="6260916" y="4607078"/>
            <a:ext cx="205740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9" name="Text Placeholder 7">
            <a:extLst>
              <a:ext uri="{FF2B5EF4-FFF2-40B4-BE49-F238E27FC236}">
                <a16:creationId xmlns:a16="http://schemas.microsoft.com/office/drawing/2014/main" id="{022CA3D9-DBCD-8543-9EF3-77B6B03F5142}"/>
              </a:ext>
            </a:extLst>
          </p:cNvPr>
          <p:cNvSpPr>
            <a:spLocks noGrp="1"/>
          </p:cNvSpPr>
          <p:nvPr>
            <p:ph type="body" sz="quarter" idx="1005" hasCustomPrompt="1"/>
          </p:nvPr>
        </p:nvSpPr>
        <p:spPr>
          <a:xfrm>
            <a:off x="2862470" y="2913206"/>
            <a:ext cx="3068615"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dirty="0"/>
              <a:t>Click to add contact information</a:t>
            </a:r>
          </a:p>
          <a:p>
            <a:pPr lvl="1"/>
            <a:r>
              <a:rPr lang="en-US" dirty="0"/>
              <a:t>Second level</a:t>
            </a:r>
          </a:p>
        </p:txBody>
      </p:sp>
      <p:sp>
        <p:nvSpPr>
          <p:cNvPr id="60" name="Picture Placeholder 2">
            <a:extLst>
              <a:ext uri="{FF2B5EF4-FFF2-40B4-BE49-F238E27FC236}">
                <a16:creationId xmlns:a16="http://schemas.microsoft.com/office/drawing/2014/main" id="{3953A8BD-C2FA-AE49-99CC-15B59CE56A15}"/>
              </a:ext>
            </a:extLst>
          </p:cNvPr>
          <p:cNvSpPr>
            <a:spLocks noGrp="1"/>
          </p:cNvSpPr>
          <p:nvPr>
            <p:ph type="pic" sz="quarter" idx="1006" hasCustomPrompt="1"/>
          </p:nvPr>
        </p:nvSpPr>
        <p:spPr>
          <a:xfrm>
            <a:off x="575733" y="2912683"/>
            <a:ext cx="205740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61" name="Text Placeholder 7">
            <a:extLst>
              <a:ext uri="{FF2B5EF4-FFF2-40B4-BE49-F238E27FC236}">
                <a16:creationId xmlns:a16="http://schemas.microsoft.com/office/drawing/2014/main" id="{1B6BB86B-8CCA-614F-97F8-932E6DC1B83C}"/>
              </a:ext>
            </a:extLst>
          </p:cNvPr>
          <p:cNvSpPr>
            <a:spLocks noGrp="1"/>
          </p:cNvSpPr>
          <p:nvPr>
            <p:ph type="body" sz="quarter" idx="1007" hasCustomPrompt="1"/>
          </p:nvPr>
        </p:nvSpPr>
        <p:spPr>
          <a:xfrm>
            <a:off x="8547653" y="2913206"/>
            <a:ext cx="3068615"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dirty="0"/>
              <a:t>Click to add contact information</a:t>
            </a:r>
          </a:p>
          <a:p>
            <a:pPr lvl="1"/>
            <a:r>
              <a:rPr lang="en-US" dirty="0"/>
              <a:t>Second level</a:t>
            </a:r>
          </a:p>
        </p:txBody>
      </p:sp>
      <p:sp>
        <p:nvSpPr>
          <p:cNvPr id="62" name="Picture Placeholder 2">
            <a:extLst>
              <a:ext uri="{FF2B5EF4-FFF2-40B4-BE49-F238E27FC236}">
                <a16:creationId xmlns:a16="http://schemas.microsoft.com/office/drawing/2014/main" id="{E582B670-FA91-C849-BD22-A066A6FE9B53}"/>
              </a:ext>
            </a:extLst>
          </p:cNvPr>
          <p:cNvSpPr>
            <a:spLocks noGrp="1"/>
          </p:cNvSpPr>
          <p:nvPr>
            <p:ph type="pic" sz="quarter" idx="1008" hasCustomPrompt="1"/>
          </p:nvPr>
        </p:nvSpPr>
        <p:spPr>
          <a:xfrm>
            <a:off x="6260916" y="2912683"/>
            <a:ext cx="205740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40" name="Group 39">
            <a:extLst>
              <a:ext uri="{FF2B5EF4-FFF2-40B4-BE49-F238E27FC236}">
                <a16:creationId xmlns:a16="http://schemas.microsoft.com/office/drawing/2014/main" id="{D766E2A4-7A9C-6B40-BD3F-4DD3FBAE2121}"/>
              </a:ext>
            </a:extLst>
          </p:cNvPr>
          <p:cNvGrpSpPr/>
          <p:nvPr userDrawn="1"/>
        </p:nvGrpSpPr>
        <p:grpSpPr>
          <a:xfrm>
            <a:off x="12532244" y="-1"/>
            <a:ext cx="3948953" cy="8383282"/>
            <a:chOff x="9399182" y="-1"/>
            <a:chExt cx="2961715" cy="8383282"/>
          </a:xfrm>
        </p:grpSpPr>
        <p:sp>
          <p:nvSpPr>
            <p:cNvPr id="41" name="Rectangle 40">
              <a:extLst>
                <a:ext uri="{FF2B5EF4-FFF2-40B4-BE49-F238E27FC236}">
                  <a16:creationId xmlns:a16="http://schemas.microsoft.com/office/drawing/2014/main" id="{034C8B5B-FB2C-7C44-AAFB-0A322448A16B}"/>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43" name="Picture 42">
              <a:extLst>
                <a:ext uri="{FF2B5EF4-FFF2-40B4-BE49-F238E27FC236}">
                  <a16:creationId xmlns:a16="http://schemas.microsoft.com/office/drawing/2014/main" id="{535BEB65-F661-CA44-BF4A-4739FD15E76E}"/>
                </a:ext>
              </a:extLst>
            </p:cNvPr>
            <p:cNvPicPr>
              <a:picLocks noChangeAspect="1"/>
            </p:cNvPicPr>
            <p:nvPr userDrawn="1"/>
          </p:nvPicPr>
          <p:blipFill rotWithShape="1">
            <a:blip r:embed="rId2"/>
            <a:srcRect r="44907"/>
            <a:stretch/>
          </p:blipFill>
          <p:spPr>
            <a:xfrm>
              <a:off x="9558505" y="1326787"/>
              <a:ext cx="2639326" cy="517021"/>
            </a:xfrm>
            <a:prstGeom prst="rect">
              <a:avLst/>
            </a:prstGeom>
          </p:spPr>
        </p:pic>
        <p:sp>
          <p:nvSpPr>
            <p:cNvPr id="45" name="TextBox 44">
              <a:extLst>
                <a:ext uri="{FF2B5EF4-FFF2-40B4-BE49-F238E27FC236}">
                  <a16:creationId xmlns:a16="http://schemas.microsoft.com/office/drawing/2014/main" id="{7E0FF283-DF06-F948-94DA-DE9EF964F624}"/>
                </a:ext>
              </a:extLst>
            </p:cNvPr>
            <p:cNvSpPr txBox="1"/>
            <p:nvPr userDrawn="1"/>
          </p:nvSpPr>
          <p:spPr>
            <a:xfrm>
              <a:off x="9558507" y="3863269"/>
              <a:ext cx="161943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IPS FOR ADDING HEADSHOTS</a:t>
              </a:r>
            </a:p>
          </p:txBody>
        </p:sp>
        <p:cxnSp>
          <p:nvCxnSpPr>
            <p:cNvPr id="50" name="Straight Connector 49">
              <a:extLst>
                <a:ext uri="{FF2B5EF4-FFF2-40B4-BE49-F238E27FC236}">
                  <a16:creationId xmlns:a16="http://schemas.microsoft.com/office/drawing/2014/main" id="{E8F507BA-3C92-8644-BDBD-45B4FDF18BF4}"/>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C71155CD-BB6D-C646-8CC8-AF1F24B7C98C}"/>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4" name="TextBox 63">
              <a:extLst>
                <a:ext uri="{FF2B5EF4-FFF2-40B4-BE49-F238E27FC236}">
                  <a16:creationId xmlns:a16="http://schemas.microsoft.com/office/drawing/2014/main" id="{CCC62A9D-5394-674A-BEAB-97FADBEC0916}"/>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5" name="Picture 64">
              <a:extLst>
                <a:ext uri="{FF2B5EF4-FFF2-40B4-BE49-F238E27FC236}">
                  <a16:creationId xmlns:a16="http://schemas.microsoft.com/office/drawing/2014/main" id="{0E89AECA-429D-484C-90EB-560EABFCF664}"/>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66" name="Rectangle 65">
              <a:extLst>
                <a:ext uri="{FF2B5EF4-FFF2-40B4-BE49-F238E27FC236}">
                  <a16:creationId xmlns:a16="http://schemas.microsoft.com/office/drawing/2014/main" id="{D2341F3F-7DFB-874E-A13E-07D7F7B9D8F1}"/>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7" name="TextBox 66">
              <a:extLst>
                <a:ext uri="{FF2B5EF4-FFF2-40B4-BE49-F238E27FC236}">
                  <a16:creationId xmlns:a16="http://schemas.microsoft.com/office/drawing/2014/main" id="{85D71E54-D6BA-0E40-A53B-AF7E62071130}"/>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8" name="Graphic 67">
              <a:extLst>
                <a:ext uri="{FF2B5EF4-FFF2-40B4-BE49-F238E27FC236}">
                  <a16:creationId xmlns:a16="http://schemas.microsoft.com/office/drawing/2014/main" id="{BB5031F7-D2AF-CA4F-A8CB-7CFFD0DFE74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111049"/>
              <a:ext cx="155227" cy="155227"/>
            </a:xfrm>
            <a:prstGeom prst="rect">
              <a:avLst/>
            </a:prstGeom>
          </p:spPr>
        </p:pic>
        <p:sp>
          <p:nvSpPr>
            <p:cNvPr id="69" name="TextBox 68">
              <a:extLst>
                <a:ext uri="{FF2B5EF4-FFF2-40B4-BE49-F238E27FC236}">
                  <a16:creationId xmlns:a16="http://schemas.microsoft.com/office/drawing/2014/main" id="{BCF278F6-1885-9845-A8B6-104A81007CE1}"/>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66ACDF17-388A-C643-B5AD-ED6E1C649F65}"/>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938CA5F0-0B3E-8343-A9CF-99D356C37500}"/>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75" name="Rectangle 74">
              <a:extLst>
                <a:ext uri="{FF2B5EF4-FFF2-40B4-BE49-F238E27FC236}">
                  <a16:creationId xmlns:a16="http://schemas.microsoft.com/office/drawing/2014/main" id="{5D42C796-9096-EE43-BA39-054BDFD8C7DC}"/>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6" name="TextBox 75">
              <a:extLst>
                <a:ext uri="{FF2B5EF4-FFF2-40B4-BE49-F238E27FC236}">
                  <a16:creationId xmlns:a16="http://schemas.microsoft.com/office/drawing/2014/main" id="{45520887-BC9C-114D-AD47-51EA84357B7B}"/>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7" name="Graphic 76">
              <a:extLst>
                <a:ext uri="{FF2B5EF4-FFF2-40B4-BE49-F238E27FC236}">
                  <a16:creationId xmlns:a16="http://schemas.microsoft.com/office/drawing/2014/main" id="{3577901F-4F1C-6E43-AE9A-07AC98F7E64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754392"/>
              <a:ext cx="155227" cy="155227"/>
            </a:xfrm>
            <a:prstGeom prst="rect">
              <a:avLst/>
            </a:prstGeom>
          </p:spPr>
        </p:pic>
        <p:sp>
          <p:nvSpPr>
            <p:cNvPr id="78" name="TextBox 77">
              <a:extLst>
                <a:ext uri="{FF2B5EF4-FFF2-40B4-BE49-F238E27FC236}">
                  <a16:creationId xmlns:a16="http://schemas.microsoft.com/office/drawing/2014/main" id="{7B01DCF4-9CAD-3E46-8A50-BC4709155B06}"/>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79" name="Picture 78">
              <a:extLst>
                <a:ext uri="{FF2B5EF4-FFF2-40B4-BE49-F238E27FC236}">
                  <a16:creationId xmlns:a16="http://schemas.microsoft.com/office/drawing/2014/main" id="{C7C815DD-9D6F-524D-8717-D4D467D9AC19}"/>
                </a:ext>
              </a:extLst>
            </p:cNvPr>
            <p:cNvPicPr>
              <a:picLocks noChangeAspect="1"/>
            </p:cNvPicPr>
            <p:nvPr userDrawn="1"/>
          </p:nvPicPr>
          <p:blipFill rotWithShape="1">
            <a:blip r:embed="rId6"/>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80" name="TextBox 79">
              <a:extLst>
                <a:ext uri="{FF2B5EF4-FFF2-40B4-BE49-F238E27FC236}">
                  <a16:creationId xmlns:a16="http://schemas.microsoft.com/office/drawing/2014/main" id="{2A45E990-D01D-064A-A20A-E8C8CC6E4ABD}"/>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1" name="TextBox 80">
              <a:extLst>
                <a:ext uri="{FF2B5EF4-FFF2-40B4-BE49-F238E27FC236}">
                  <a16:creationId xmlns:a16="http://schemas.microsoft.com/office/drawing/2014/main" id="{8AA89570-2399-5847-8669-4AAF530EA38A}"/>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2" name="TextBox 81">
              <a:extLst>
                <a:ext uri="{FF2B5EF4-FFF2-40B4-BE49-F238E27FC236}">
                  <a16:creationId xmlns:a16="http://schemas.microsoft.com/office/drawing/2014/main" id="{28BE45B5-340E-F641-B09F-AD59D8FD0DD5}"/>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Add the photos to the placeholders.</a:t>
              </a:r>
            </a:p>
          </p:txBody>
        </p:sp>
        <p:sp>
          <p:nvSpPr>
            <p:cNvPr id="83" name="TextBox 82">
              <a:extLst>
                <a:ext uri="{FF2B5EF4-FFF2-40B4-BE49-F238E27FC236}">
                  <a16:creationId xmlns:a16="http://schemas.microsoft.com/office/drawing/2014/main" id="{DAB12CD4-A662-8E4E-A50D-9F0F7977FB9C}"/>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Crop the headshots so that they match:</a:t>
              </a:r>
            </a:p>
            <a:p>
              <a:pPr lvl="1"/>
              <a:r>
                <a:rPr lang="en-US" sz="900"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sz="900" dirty="0"/>
                <a:t>The entire head is visible</a:t>
              </a:r>
            </a:p>
            <a:p>
              <a:pPr lvl="1"/>
              <a:r>
                <a:rPr lang="en-US" sz="900" dirty="0"/>
                <a:t>Shoulders are visible</a:t>
              </a:r>
            </a:p>
          </p:txBody>
        </p:sp>
        <p:sp>
          <p:nvSpPr>
            <p:cNvPr id="84" name="Rectangle 83">
              <a:extLst>
                <a:ext uri="{FF2B5EF4-FFF2-40B4-BE49-F238E27FC236}">
                  <a16:creationId xmlns:a16="http://schemas.microsoft.com/office/drawing/2014/main" id="{DE9B88A4-46AB-6C41-B3DF-20247111449B}"/>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5" name="TextBox 84">
              <a:extLst>
                <a:ext uri="{FF2B5EF4-FFF2-40B4-BE49-F238E27FC236}">
                  <a16:creationId xmlns:a16="http://schemas.microsoft.com/office/drawing/2014/main" id="{2D7C5D91-095D-0049-BECC-ACFE7362EAB2}"/>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86" name="Graphic 85">
              <a:extLst>
                <a:ext uri="{FF2B5EF4-FFF2-40B4-BE49-F238E27FC236}">
                  <a16:creationId xmlns:a16="http://schemas.microsoft.com/office/drawing/2014/main" id="{BC467E62-41AB-1547-BAA0-0497DA492F3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121034"/>
              <a:ext cx="155227" cy="155227"/>
            </a:xfrm>
            <a:prstGeom prst="rect">
              <a:avLst/>
            </a:prstGeom>
          </p:spPr>
        </p:pic>
        <p:sp>
          <p:nvSpPr>
            <p:cNvPr id="87" name="TextBox 86">
              <a:extLst>
                <a:ext uri="{FF2B5EF4-FFF2-40B4-BE49-F238E27FC236}">
                  <a16:creationId xmlns:a16="http://schemas.microsoft.com/office/drawing/2014/main" id="{B99EEBE7-201D-0E4C-927E-FE3966451069}"/>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88" name="TextBox 87">
              <a:extLst>
                <a:ext uri="{FF2B5EF4-FFF2-40B4-BE49-F238E27FC236}">
                  <a16:creationId xmlns:a16="http://schemas.microsoft.com/office/drawing/2014/main" id="{0A515CD1-7A4D-5943-AF1E-A861CA3992AF}"/>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89" name="TextBox 88">
              <a:extLst>
                <a:ext uri="{FF2B5EF4-FFF2-40B4-BE49-F238E27FC236}">
                  <a16:creationId xmlns:a16="http://schemas.microsoft.com/office/drawing/2014/main" id="{FE15B6C7-CC3C-9547-B859-96AB175C6BDB}"/>
                </a:ext>
              </a:extLst>
            </p:cNvPr>
            <p:cNvSpPr txBox="1"/>
            <p:nvPr userDrawn="1"/>
          </p:nvSpPr>
          <p:spPr>
            <a:xfrm>
              <a:off x="9830981" y="3018869"/>
              <a:ext cx="2374733" cy="107722"/>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90" name="TextBox 89">
              <a:extLst>
                <a:ext uri="{FF2B5EF4-FFF2-40B4-BE49-F238E27FC236}">
                  <a16:creationId xmlns:a16="http://schemas.microsoft.com/office/drawing/2014/main" id="{0BB739D9-93EF-604B-B664-982F20E91B52}"/>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91" name="Picture 90">
              <a:extLst>
                <a:ext uri="{FF2B5EF4-FFF2-40B4-BE49-F238E27FC236}">
                  <a16:creationId xmlns:a16="http://schemas.microsoft.com/office/drawing/2014/main" id="{E9A7FBA7-E4BB-6D46-9DD5-F4390A8393F4}"/>
                </a:ext>
              </a:extLst>
            </p:cNvPr>
            <p:cNvPicPr>
              <a:picLocks noChangeAspect="1"/>
            </p:cNvPicPr>
            <p:nvPr userDrawn="1"/>
          </p:nvPicPr>
          <p:blipFill rotWithShape="1">
            <a:blip r:embed="rId7"/>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92" name="Picture 91">
              <a:extLst>
                <a:ext uri="{FF2B5EF4-FFF2-40B4-BE49-F238E27FC236}">
                  <a16:creationId xmlns:a16="http://schemas.microsoft.com/office/drawing/2014/main" id="{6DCE73ED-99FF-1B46-9E34-8D926E9613FC}"/>
                </a:ext>
              </a:extLst>
            </p:cNvPr>
            <p:cNvPicPr>
              <a:picLocks noChangeAspect="1"/>
            </p:cNvPicPr>
            <p:nvPr userDrawn="1"/>
          </p:nvPicPr>
          <p:blipFill>
            <a:blip r:embed="rId8"/>
            <a:stretch>
              <a:fillRect/>
            </a:stretch>
          </p:blipFill>
          <p:spPr>
            <a:xfrm>
              <a:off x="11251841" y="4562988"/>
              <a:ext cx="849028" cy="849028"/>
            </a:xfrm>
            <a:prstGeom prst="rect">
              <a:avLst/>
            </a:prstGeom>
          </p:spPr>
        </p:pic>
        <p:sp>
          <p:nvSpPr>
            <p:cNvPr id="93" name="TextBox 92">
              <a:extLst>
                <a:ext uri="{FF2B5EF4-FFF2-40B4-BE49-F238E27FC236}">
                  <a16:creationId xmlns:a16="http://schemas.microsoft.com/office/drawing/2014/main" id="{654D58EA-8928-9A46-9612-5FEB15C79CF5}"/>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94" name="Straight Connector 93">
              <a:extLst>
                <a:ext uri="{FF2B5EF4-FFF2-40B4-BE49-F238E27FC236}">
                  <a16:creationId xmlns:a16="http://schemas.microsoft.com/office/drawing/2014/main" id="{590BEFA3-64F0-8A46-A705-CC6B636E92B3}"/>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0643613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hank You (Plain)">
    <p:bg>
      <p:bgPr>
        <a:solidFill>
          <a:schemeClr val="bg1"/>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E32CCA1-CED9-294A-A470-F78E958FA780}"/>
              </a:ext>
            </a:extLst>
          </p:cNvPr>
          <p:cNvGrpSpPr/>
          <p:nvPr userDrawn="1"/>
        </p:nvGrpSpPr>
        <p:grpSpPr>
          <a:xfrm>
            <a:off x="12532244" y="-1"/>
            <a:ext cx="3948953" cy="6858002"/>
            <a:chOff x="9399182" y="-1"/>
            <a:chExt cx="2961715" cy="6858002"/>
          </a:xfrm>
        </p:grpSpPr>
        <p:sp>
          <p:nvSpPr>
            <p:cNvPr id="19" name="Rectangle 18">
              <a:extLst>
                <a:ext uri="{FF2B5EF4-FFF2-40B4-BE49-F238E27FC236}">
                  <a16:creationId xmlns:a16="http://schemas.microsoft.com/office/drawing/2014/main" id="{B6D6B989-9284-9D44-BE14-8A6C89EF3E32}"/>
                </a:ext>
              </a:extLst>
            </p:cNvPr>
            <p:cNvSpPr/>
            <p:nvPr userDrawn="1"/>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pic>
          <p:nvPicPr>
            <p:cNvPr id="58" name="Picture 57">
              <a:extLst>
                <a:ext uri="{FF2B5EF4-FFF2-40B4-BE49-F238E27FC236}">
                  <a16:creationId xmlns:a16="http://schemas.microsoft.com/office/drawing/2014/main" id="{16F5F437-7152-D647-BE19-CA5CFF0C6F8A}"/>
                </a:ext>
              </a:extLst>
            </p:cNvPr>
            <p:cNvPicPr>
              <a:picLocks noChangeAspect="1"/>
            </p:cNvPicPr>
            <p:nvPr userDrawn="1"/>
          </p:nvPicPr>
          <p:blipFill rotWithShape="1">
            <a:blip r:embed="rId2"/>
            <a:srcRect r="44907"/>
            <a:stretch/>
          </p:blipFill>
          <p:spPr>
            <a:xfrm>
              <a:off x="9558505" y="1326787"/>
              <a:ext cx="2639326" cy="517021"/>
            </a:xfrm>
            <a:prstGeom prst="rect">
              <a:avLst/>
            </a:prstGeom>
          </p:spPr>
        </p:pic>
        <p:grpSp>
          <p:nvGrpSpPr>
            <p:cNvPr id="28" name="Group 27">
              <a:extLst>
                <a:ext uri="{FF2B5EF4-FFF2-40B4-BE49-F238E27FC236}">
                  <a16:creationId xmlns:a16="http://schemas.microsoft.com/office/drawing/2014/main" id="{0AC109CA-765B-F445-89D7-F9A56CF3160E}"/>
                </a:ext>
              </a:extLst>
            </p:cNvPr>
            <p:cNvGrpSpPr/>
            <p:nvPr userDrawn="1"/>
          </p:nvGrpSpPr>
          <p:grpSpPr>
            <a:xfrm>
              <a:off x="9541497" y="162442"/>
              <a:ext cx="2819400" cy="814510"/>
              <a:chOff x="-3644733" y="165205"/>
              <a:chExt cx="2819400" cy="814510"/>
            </a:xfrm>
          </p:grpSpPr>
          <p:sp>
            <p:nvSpPr>
              <p:cNvPr id="63" name="Rectangle 62">
                <a:extLst>
                  <a:ext uri="{FF2B5EF4-FFF2-40B4-BE49-F238E27FC236}">
                    <a16:creationId xmlns:a16="http://schemas.microsoft.com/office/drawing/2014/main" id="{49BBD5DE-FD33-6944-B905-2592D7F1C5E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64" name="TextBox 63">
                <a:extLst>
                  <a:ext uri="{FF2B5EF4-FFF2-40B4-BE49-F238E27FC236}">
                    <a16:creationId xmlns:a16="http://schemas.microsoft.com/office/drawing/2014/main" id="{E610496C-239D-1644-8DAD-0730905DFAD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5" name="Picture 64">
                <a:extLst>
                  <a:ext uri="{FF2B5EF4-FFF2-40B4-BE49-F238E27FC236}">
                    <a16:creationId xmlns:a16="http://schemas.microsoft.com/office/drawing/2014/main" id="{A8368BC6-66AD-7E4A-919D-4EE710C4C09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2" name="Group 31">
              <a:extLst>
                <a:ext uri="{FF2B5EF4-FFF2-40B4-BE49-F238E27FC236}">
                  <a16:creationId xmlns:a16="http://schemas.microsoft.com/office/drawing/2014/main" id="{C7000E6E-6E99-204E-BA7D-E4CA1E9BD536}"/>
                </a:ext>
              </a:extLst>
            </p:cNvPr>
            <p:cNvGrpSpPr/>
            <p:nvPr userDrawn="1"/>
          </p:nvGrpSpPr>
          <p:grpSpPr>
            <a:xfrm>
              <a:off x="9541497" y="2001128"/>
              <a:ext cx="2735151" cy="1739504"/>
              <a:chOff x="9541497" y="2125825"/>
              <a:chExt cx="2735151" cy="1739504"/>
            </a:xfrm>
          </p:grpSpPr>
          <p:sp>
            <p:nvSpPr>
              <p:cNvPr id="38" name="Rectangle 37">
                <a:extLst>
                  <a:ext uri="{FF2B5EF4-FFF2-40B4-BE49-F238E27FC236}">
                    <a16:creationId xmlns:a16="http://schemas.microsoft.com/office/drawing/2014/main" id="{D5C7E2DD-B9AA-7542-BB1C-4EDF4B2874A6}"/>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39" name="TextBox 38">
                <a:extLst>
                  <a:ext uri="{FF2B5EF4-FFF2-40B4-BE49-F238E27FC236}">
                    <a16:creationId xmlns:a16="http://schemas.microsoft.com/office/drawing/2014/main" id="{A835F353-E20F-7145-A34F-6F386E09121D}"/>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40" name="Graphic 39">
                <a:extLst>
                  <a:ext uri="{FF2B5EF4-FFF2-40B4-BE49-F238E27FC236}">
                    <a16:creationId xmlns:a16="http://schemas.microsoft.com/office/drawing/2014/main" id="{ACEEC605-AF63-5242-8C8C-3968205B314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264907"/>
                <a:ext cx="155227" cy="155227"/>
              </a:xfrm>
              <a:prstGeom prst="rect">
                <a:avLst/>
              </a:prstGeom>
            </p:spPr>
          </p:pic>
          <p:sp>
            <p:nvSpPr>
              <p:cNvPr id="41" name="TextBox 40">
                <a:extLst>
                  <a:ext uri="{FF2B5EF4-FFF2-40B4-BE49-F238E27FC236}">
                    <a16:creationId xmlns:a16="http://schemas.microsoft.com/office/drawing/2014/main" id="{A7DCE96D-FB91-1648-BC3A-ADACF2DFD6A2}"/>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42" name="TextBox 41">
                <a:extLst>
                  <a:ext uri="{FF2B5EF4-FFF2-40B4-BE49-F238E27FC236}">
                    <a16:creationId xmlns:a16="http://schemas.microsoft.com/office/drawing/2014/main" id="{2B0A90B8-B226-E44B-94F1-478141C501EF}"/>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43" name="TextBox 42">
                <a:extLst>
                  <a:ext uri="{FF2B5EF4-FFF2-40B4-BE49-F238E27FC236}">
                    <a16:creationId xmlns:a16="http://schemas.microsoft.com/office/drawing/2014/main" id="{F319E11B-79DC-9145-9D0C-0A5D3FA1DCA8}"/>
                  </a:ext>
                </a:extLst>
              </p:cNvPr>
              <p:cNvSpPr txBox="1"/>
              <p:nvPr userDrawn="1"/>
            </p:nvSpPr>
            <p:spPr>
              <a:xfrm>
                <a:off x="9830981" y="3162742"/>
                <a:ext cx="2374733" cy="107722"/>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44" name="TextBox 43">
                <a:extLst>
                  <a:ext uri="{FF2B5EF4-FFF2-40B4-BE49-F238E27FC236}">
                    <a16:creationId xmlns:a16="http://schemas.microsoft.com/office/drawing/2014/main" id="{5A40DD8A-8575-3A45-BCC4-A27FBEB7E728}"/>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45" name="Picture 44">
                <a:extLst>
                  <a:ext uri="{FF2B5EF4-FFF2-40B4-BE49-F238E27FC236}">
                    <a16:creationId xmlns:a16="http://schemas.microsoft.com/office/drawing/2014/main" id="{81F14588-1C54-AC43-BC7C-54BD1667AB52}"/>
                  </a:ext>
                </a:extLst>
              </p:cNvPr>
              <p:cNvPicPr>
                <a:picLocks noChangeAspect="1"/>
              </p:cNvPicPr>
              <p:nvPr userDrawn="1"/>
            </p:nvPicPr>
            <p:blipFill rotWithShape="1">
              <a:blip r:embed="rId6"/>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36" name="TextBox 35">
              <a:extLst>
                <a:ext uri="{FF2B5EF4-FFF2-40B4-BE49-F238E27FC236}">
                  <a16:creationId xmlns:a16="http://schemas.microsoft.com/office/drawing/2014/main" id="{06BE892A-D470-B745-A06E-4422FF2B46B5}"/>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37" name="Straight Connector 36">
              <a:extLst>
                <a:ext uri="{FF2B5EF4-FFF2-40B4-BE49-F238E27FC236}">
                  <a16:creationId xmlns:a16="http://schemas.microsoft.com/office/drawing/2014/main" id="{F98EF2F6-212E-284F-8D82-E01FF28977B0}"/>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4" name="Title 3">
            <a:extLst>
              <a:ext uri="{FF2B5EF4-FFF2-40B4-BE49-F238E27FC236}">
                <a16:creationId xmlns:a16="http://schemas.microsoft.com/office/drawing/2014/main" id="{E51CCCAA-D40E-B44E-A126-920CC95387F8}"/>
              </a:ext>
            </a:extLst>
          </p:cNvPr>
          <p:cNvSpPr>
            <a:spLocks noGrp="1"/>
          </p:cNvSpPr>
          <p:nvPr userDrawn="1">
            <p:ph type="title" hasCustomPrompt="1"/>
          </p:nvPr>
        </p:nvSpPr>
        <p:spPr>
          <a:xfrm>
            <a:off x="575734" y="2402732"/>
            <a:ext cx="11040533" cy="922907"/>
          </a:xfrm>
        </p:spPr>
        <p:txBody>
          <a:bodyPr/>
          <a:lstStyle>
            <a:lvl1pPr>
              <a:defRPr sz="3200"/>
            </a:lvl1pPr>
          </a:lstStyle>
          <a:p>
            <a:r>
              <a:rPr lang="en-US" dirty="0"/>
              <a:t>Click to add </a:t>
            </a:r>
            <a:br>
              <a:rPr lang="en-US" dirty="0"/>
            </a:br>
            <a:r>
              <a:rPr lang="en-US" dirty="0"/>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userDrawn="1">
            <p:ph type="body" sz="quarter" idx="15" hasCustomPrompt="1"/>
          </p:nvPr>
        </p:nvSpPr>
        <p:spPr>
          <a:xfrm>
            <a:off x="575734" y="3604149"/>
            <a:ext cx="11040533"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dirty="0"/>
              <a:t>Click to add contact information</a:t>
            </a:r>
          </a:p>
          <a:p>
            <a:pPr lvl="1"/>
            <a:r>
              <a:rPr lang="en-US" dirty="0"/>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2"/>
            <a:ext cx="9041763"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1800"/>
          </a:p>
        </p:txBody>
      </p:sp>
      <p:grpSp>
        <p:nvGrpSpPr>
          <p:cNvPr id="7" name="Group 6">
            <a:extLst>
              <a:ext uri="{FF2B5EF4-FFF2-40B4-BE49-F238E27FC236}">
                <a16:creationId xmlns:a16="http://schemas.microsoft.com/office/drawing/2014/main" id="{329E5FF7-98BC-884F-840D-5E423F4AF849}"/>
              </a:ext>
            </a:extLst>
          </p:cNvPr>
          <p:cNvGrpSpPr/>
          <p:nvPr userDrawn="1"/>
        </p:nvGrpSpPr>
        <p:grpSpPr>
          <a:xfrm>
            <a:off x="-342618" y="2477066"/>
            <a:ext cx="33528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59580" y="622270"/>
              <a:ext cx="457823" cy="161583"/>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22" name="Group 21">
            <a:extLst>
              <a:ext uri="{FF2B5EF4-FFF2-40B4-BE49-F238E27FC236}">
                <a16:creationId xmlns:a16="http://schemas.microsoft.com/office/drawing/2014/main" id="{7E46CEE4-894D-624D-A955-EB76D7DD0E0A}"/>
              </a:ext>
            </a:extLst>
          </p:cNvPr>
          <p:cNvGrpSpPr/>
          <p:nvPr userDrawn="1"/>
        </p:nvGrpSpPr>
        <p:grpSpPr>
          <a:xfrm>
            <a:off x="-342618" y="3622630"/>
            <a:ext cx="335281" cy="1506813"/>
            <a:chOff x="-256404" y="360363"/>
            <a:chExt cx="251461" cy="692152"/>
          </a:xfrm>
        </p:grpSpPr>
        <p:grpSp>
          <p:nvGrpSpPr>
            <p:cNvPr id="23" name="Group 22">
              <a:extLst>
                <a:ext uri="{FF2B5EF4-FFF2-40B4-BE49-F238E27FC236}">
                  <a16:creationId xmlns:a16="http://schemas.microsoft.com/office/drawing/2014/main" id="{B3D4B207-ECDC-2149-9289-837E9CD2BA4E}"/>
                </a:ext>
              </a:extLst>
            </p:cNvPr>
            <p:cNvGrpSpPr/>
            <p:nvPr userDrawn="1"/>
          </p:nvGrpSpPr>
          <p:grpSpPr>
            <a:xfrm rot="16200000">
              <a:off x="-476749" y="580708"/>
              <a:ext cx="692152" cy="251461"/>
              <a:chOff x="431800" y="-235792"/>
              <a:chExt cx="4400551" cy="235792"/>
            </a:xfrm>
          </p:grpSpPr>
          <p:cxnSp>
            <p:nvCxnSpPr>
              <p:cNvPr id="25" name="Straight Connector 24">
                <a:extLst>
                  <a:ext uri="{FF2B5EF4-FFF2-40B4-BE49-F238E27FC236}">
                    <a16:creationId xmlns:a16="http://schemas.microsoft.com/office/drawing/2014/main" id="{C5DB3F20-EFB9-A342-95DF-42A3963D185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EC292F3-7787-8C42-8363-0B3D8175AC85}"/>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32F0246A-EFD3-2048-A326-3DE0B12CA2D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24" name="TextBox 23">
              <a:extLst>
                <a:ext uri="{FF2B5EF4-FFF2-40B4-BE49-F238E27FC236}">
                  <a16:creationId xmlns:a16="http://schemas.microsoft.com/office/drawing/2014/main" id="{CA0BB0B9-B04C-F344-9EAD-266B7195FA13}"/>
                </a:ext>
              </a:extLst>
            </p:cNvPr>
            <p:cNvSpPr txBox="1"/>
            <p:nvPr userDrawn="1"/>
          </p:nvSpPr>
          <p:spPr>
            <a:xfrm rot="16200000">
              <a:off x="-284929" y="662666"/>
              <a:ext cx="308525" cy="8079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46" name="Group 45">
            <a:extLst>
              <a:ext uri="{FF2B5EF4-FFF2-40B4-BE49-F238E27FC236}">
                <a16:creationId xmlns:a16="http://schemas.microsoft.com/office/drawing/2014/main" id="{36470FD9-6E01-0B4F-9293-5E77836108A7}"/>
              </a:ext>
            </a:extLst>
          </p:cNvPr>
          <p:cNvGrpSpPr/>
          <p:nvPr userDrawn="1"/>
        </p:nvGrpSpPr>
        <p:grpSpPr>
          <a:xfrm>
            <a:off x="574987" y="-246933"/>
            <a:ext cx="11040535" cy="7347304"/>
            <a:chOff x="431240" y="-246933"/>
            <a:chExt cx="8280401" cy="7347304"/>
          </a:xfrm>
        </p:grpSpPr>
        <p:grpSp>
          <p:nvGrpSpPr>
            <p:cNvPr id="47" name="Group 46">
              <a:extLst>
                <a:ext uri="{FF2B5EF4-FFF2-40B4-BE49-F238E27FC236}">
                  <a16:creationId xmlns:a16="http://schemas.microsoft.com/office/drawing/2014/main" id="{A2E8BA8C-8FF3-254C-8529-17D81E9A3EA9}"/>
                </a:ext>
              </a:extLst>
            </p:cNvPr>
            <p:cNvGrpSpPr/>
            <p:nvPr userDrawn="1"/>
          </p:nvGrpSpPr>
          <p:grpSpPr>
            <a:xfrm>
              <a:off x="431242" y="6864579"/>
              <a:ext cx="8280398" cy="235792"/>
              <a:chOff x="431801" y="-235792"/>
              <a:chExt cx="4400550" cy="235792"/>
            </a:xfrm>
          </p:grpSpPr>
          <p:cxnSp>
            <p:nvCxnSpPr>
              <p:cNvPr id="56" name="Straight Connector 55">
                <a:extLst>
                  <a:ext uri="{FF2B5EF4-FFF2-40B4-BE49-F238E27FC236}">
                    <a16:creationId xmlns:a16="http://schemas.microsoft.com/office/drawing/2014/main" id="{50F328EC-B503-354C-8736-5D64EE2969CC}"/>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A29AA69-4035-F742-B4C9-50563DD5BD22}"/>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B0AEC935-9C4F-7543-96BF-78796BCB2423}"/>
                </a:ext>
              </a:extLst>
            </p:cNvPr>
            <p:cNvGrpSpPr/>
            <p:nvPr userDrawn="1"/>
          </p:nvGrpSpPr>
          <p:grpSpPr>
            <a:xfrm>
              <a:off x="431240" y="-246933"/>
              <a:ext cx="8280401" cy="235792"/>
              <a:chOff x="431800" y="-240735"/>
              <a:chExt cx="8280401" cy="235792"/>
            </a:xfrm>
          </p:grpSpPr>
          <p:grpSp>
            <p:nvGrpSpPr>
              <p:cNvPr id="49" name="Group 48">
                <a:extLst>
                  <a:ext uri="{FF2B5EF4-FFF2-40B4-BE49-F238E27FC236}">
                    <a16:creationId xmlns:a16="http://schemas.microsoft.com/office/drawing/2014/main" id="{848838DC-C092-C842-8204-37BB10FF8D4C}"/>
                  </a:ext>
                </a:extLst>
              </p:cNvPr>
              <p:cNvGrpSpPr/>
              <p:nvPr userDrawn="1"/>
            </p:nvGrpSpPr>
            <p:grpSpPr>
              <a:xfrm>
                <a:off x="431800" y="-240735"/>
                <a:ext cx="8280400" cy="235792"/>
                <a:chOff x="431800" y="-235792"/>
                <a:chExt cx="4400551" cy="235792"/>
              </a:xfrm>
            </p:grpSpPr>
            <p:cxnSp>
              <p:nvCxnSpPr>
                <p:cNvPr id="53" name="Straight Connector 52">
                  <a:extLst>
                    <a:ext uri="{FF2B5EF4-FFF2-40B4-BE49-F238E27FC236}">
                      <a16:creationId xmlns:a16="http://schemas.microsoft.com/office/drawing/2014/main" id="{5AE9D414-9B70-1A40-A283-B9BE3316F27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5D2DCCD-9E6B-4941-B2DD-BCF9A00279B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CFA68C3E-5FA0-2147-8F3D-878AC5BEAC4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50" name="TextBox 49">
                <a:extLst>
                  <a:ext uri="{FF2B5EF4-FFF2-40B4-BE49-F238E27FC236}">
                    <a16:creationId xmlns:a16="http://schemas.microsoft.com/office/drawing/2014/main" id="{CECDBD12-780D-2643-8288-D1E6A75E0714}"/>
                  </a:ext>
                </a:extLst>
              </p:cNvPr>
              <p:cNvSpPr txBox="1"/>
              <p:nvPr userDrawn="1"/>
            </p:nvSpPr>
            <p:spPr>
              <a:xfrm>
                <a:off x="3914336" y="-176700"/>
                <a:ext cx="1315339"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51" name="Straight Arrow Connector 50">
                <a:extLst>
                  <a:ext uri="{FF2B5EF4-FFF2-40B4-BE49-F238E27FC236}">
                    <a16:creationId xmlns:a16="http://schemas.microsoft.com/office/drawing/2014/main" id="{62B0D30E-8CF5-E041-A33B-9048CF7AA145}"/>
                  </a:ext>
                </a:extLst>
              </p:cNvPr>
              <p:cNvCxnSpPr>
                <a:cxnSpLocks/>
                <a:stCxn id="50" idx="1"/>
                <a:endCxn id="55" idx="2"/>
              </p:cNvCxnSpPr>
              <p:nvPr userDrawn="1"/>
            </p:nvCxnSpPr>
            <p:spPr>
              <a:xfrm flipH="1">
                <a:off x="431801" y="-122839"/>
                <a:ext cx="3482535"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600B5CB1-1C7E-0744-9B21-78D2AC6FD7AD}"/>
                  </a:ext>
                </a:extLst>
              </p:cNvPr>
              <p:cNvCxnSpPr>
                <a:cxnSpLocks/>
                <a:stCxn id="50" idx="3"/>
                <a:endCxn id="55" idx="0"/>
              </p:cNvCxnSpPr>
              <p:nvPr userDrawn="1"/>
            </p:nvCxnSpPr>
            <p:spPr>
              <a:xfrm flipV="1">
                <a:off x="5229674" y="-122840"/>
                <a:ext cx="3482527"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pic>
        <p:nvPicPr>
          <p:cNvPr id="59" name="Picture 58">
            <a:extLst>
              <a:ext uri="{FF2B5EF4-FFF2-40B4-BE49-F238E27FC236}">
                <a16:creationId xmlns:a16="http://schemas.microsoft.com/office/drawing/2014/main" id="{70511143-D3FD-C648-B7CB-BA3839BDB334}"/>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102926" y="6070430"/>
            <a:ext cx="2132663" cy="329184"/>
          </a:xfrm>
          <a:prstGeom prst="rect">
            <a:avLst/>
          </a:prstGeom>
        </p:spPr>
      </p:pic>
    </p:spTree>
    <p:extLst>
      <p:ext uri="{BB962C8B-B14F-4D97-AF65-F5344CB8AC3E}">
        <p14:creationId xmlns:p14="http://schemas.microsoft.com/office/powerpoint/2010/main" val="259035218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EDC91A9-44DF-1D4A-9BC8-11C36820A1EA}"/>
              </a:ext>
            </a:extLst>
          </p:cNvPr>
          <p:cNvSpPr>
            <a:spLocks noGrp="1"/>
          </p:cNvSpPr>
          <p:nvPr>
            <p:ph type="dt" sz="half" idx="10"/>
          </p:nvPr>
        </p:nvSpPr>
        <p:spPr/>
        <p:txBody>
          <a:bodyPr/>
          <a:lstStyle/>
          <a:p>
            <a:fld id="{B7C0293F-9E4D-E240-9172-99514F236333}" type="datetimeFigureOut">
              <a:rPr lang="en-US" smtClean="0"/>
              <a:t>4/28/2022</a:t>
            </a:fld>
            <a:endParaRPr lang="en-US"/>
          </a:p>
        </p:txBody>
      </p:sp>
      <p:sp>
        <p:nvSpPr>
          <p:cNvPr id="3" name="Footer Placeholder 2">
            <a:extLst>
              <a:ext uri="{FF2B5EF4-FFF2-40B4-BE49-F238E27FC236}">
                <a16:creationId xmlns:a16="http://schemas.microsoft.com/office/drawing/2014/main" id="{D18AACAE-8081-5540-B122-959862B053C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0CF2732-1F89-E141-9CCC-C3891FDF4116}"/>
              </a:ext>
            </a:extLst>
          </p:cNvPr>
          <p:cNvSpPr>
            <a:spLocks noGrp="1"/>
          </p:cNvSpPr>
          <p:nvPr>
            <p:ph type="sldNum" sz="quarter" idx="12"/>
          </p:nvPr>
        </p:nvSpPr>
        <p:spPr/>
        <p:txBody>
          <a:bodyPr/>
          <a:lstStyle/>
          <a:p>
            <a:fld id="{1C846329-FAC2-C348-953A-645E663D4F80}" type="slidenum">
              <a:rPr lang="en-US" smtClean="0"/>
              <a:t>‹#›</a:t>
            </a:fld>
            <a:endParaRPr lang="en-US"/>
          </a:p>
        </p:txBody>
      </p:sp>
    </p:spTree>
    <p:extLst>
      <p:ext uri="{BB962C8B-B14F-4D97-AF65-F5344CB8AC3E}">
        <p14:creationId xmlns:p14="http://schemas.microsoft.com/office/powerpoint/2010/main" val="227701382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575733" y="1735138"/>
            <a:ext cx="5344584" cy="4430712"/>
          </a:xfrm>
        </p:spPr>
        <p:txBody>
          <a:bodyPr/>
          <a:lstStyle>
            <a:lvl1pPr>
              <a:defRPr b="0">
                <a:solidFill>
                  <a:schemeClr val="tx1">
                    <a:lumMod val="50000"/>
                    <a:lumOff val="50000"/>
                  </a:schemeClr>
                </a:solidFill>
              </a:defRPr>
            </a:lvl1pPr>
          </a:lstStyle>
          <a:p>
            <a:r>
              <a:rPr lang="en-US"/>
              <a:t>Click icon to add chart</a:t>
            </a:r>
          </a:p>
        </p:txBody>
      </p:sp>
      <p:sp>
        <p:nvSpPr>
          <p:cNvPr id="17" name="Chart Placeholder 2">
            <a:extLst>
              <a:ext uri="{FF2B5EF4-FFF2-40B4-BE49-F238E27FC236}">
                <a16:creationId xmlns:a16="http://schemas.microsoft.com/office/drawing/2014/main" id="{F6E3593A-EC32-4649-9755-E1EA347597A8}"/>
              </a:ext>
            </a:extLst>
          </p:cNvPr>
          <p:cNvSpPr>
            <a:spLocks noGrp="1"/>
          </p:cNvSpPr>
          <p:nvPr>
            <p:ph type="chart" sz="quarter" idx="114"/>
          </p:nvPr>
        </p:nvSpPr>
        <p:spPr>
          <a:xfrm>
            <a:off x="6265208" y="1735138"/>
            <a:ext cx="5344584" cy="4430712"/>
          </a:xfrm>
        </p:spPr>
        <p:txBody>
          <a:bodyPr/>
          <a:lstStyle>
            <a:lvl1pPr>
              <a:defRPr b="0">
                <a:solidFill>
                  <a:schemeClr val="tx1">
                    <a:lumMod val="50000"/>
                    <a:lumOff val="50000"/>
                  </a:schemeClr>
                </a:solidFill>
              </a:defRPr>
            </a:lvl1pPr>
          </a:lstStyle>
          <a:p>
            <a:r>
              <a:rPr lang="en-US"/>
              <a:t>Click icon to add chart</a:t>
            </a:r>
          </a:p>
        </p:txBody>
      </p:sp>
      <p:sp>
        <p:nvSpPr>
          <p:cNvPr id="1000" name="Footnotes Placeholder">
            <a:extLst>
              <a:ext uri="{FF2B5EF4-FFF2-40B4-BE49-F238E27FC236}">
                <a16:creationId xmlns:a16="http://schemas.microsoft.com/office/drawing/2014/main" id="{4A426F11-55A1-3946-8771-D8A379B5AD5E}"/>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43" name="Text Placeholder 6">
            <a:extLst>
              <a:ext uri="{FF2B5EF4-FFF2-40B4-BE49-F238E27FC236}">
                <a16:creationId xmlns:a16="http://schemas.microsoft.com/office/drawing/2014/main" id="{7892DA04-F4A9-2044-B9E5-08BCF7318160}"/>
              </a:ext>
            </a:extLst>
          </p:cNvPr>
          <p:cNvSpPr>
            <a:spLocks noGrp="1"/>
          </p:cNvSpPr>
          <p:nvPr>
            <p:ph type="body" sz="quarter" idx="108" hasCustomPrompt="1"/>
          </p:nvPr>
        </p:nvSpPr>
        <p:spPr>
          <a:xfrm>
            <a:off x="575734"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44" name="Text Placeholder 6">
            <a:extLst>
              <a:ext uri="{FF2B5EF4-FFF2-40B4-BE49-F238E27FC236}">
                <a16:creationId xmlns:a16="http://schemas.microsoft.com/office/drawing/2014/main" id="{FC379CB5-F96A-5A41-ABCB-0A7229FB2403}"/>
              </a:ext>
            </a:extLst>
          </p:cNvPr>
          <p:cNvSpPr>
            <a:spLocks noGrp="1"/>
          </p:cNvSpPr>
          <p:nvPr>
            <p:ph type="body" sz="quarter" idx="115" hasCustomPrompt="1"/>
          </p:nvPr>
        </p:nvSpPr>
        <p:spPr>
          <a:xfrm>
            <a:off x="6265209"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6" name="Date Placeholder 5">
            <a:extLst>
              <a:ext uri="{FF2B5EF4-FFF2-40B4-BE49-F238E27FC236}">
                <a16:creationId xmlns:a16="http://schemas.microsoft.com/office/drawing/2014/main" id="{F379AB29-F3FD-6B4D-AB9C-5B22D89A0EA3}"/>
              </a:ext>
            </a:extLst>
          </p:cNvPr>
          <p:cNvSpPr>
            <a:spLocks noGrp="1"/>
          </p:cNvSpPr>
          <p:nvPr>
            <p:ph type="dt" sz="half" idx="116"/>
          </p:nvPr>
        </p:nvSpPr>
        <p:spPr/>
        <p:txBody>
          <a:bodyPr/>
          <a:lstStyle/>
          <a:p>
            <a:endParaRPr lang="en-US"/>
          </a:p>
        </p:txBody>
      </p:sp>
      <p:sp>
        <p:nvSpPr>
          <p:cNvPr id="7" name="Footer Placeholder 6">
            <a:extLst>
              <a:ext uri="{FF2B5EF4-FFF2-40B4-BE49-F238E27FC236}">
                <a16:creationId xmlns:a16="http://schemas.microsoft.com/office/drawing/2014/main" id="{998E7724-1686-F747-8D1B-1AB14F556771}"/>
              </a:ext>
            </a:extLst>
          </p:cNvPr>
          <p:cNvSpPr>
            <a:spLocks noGrp="1"/>
          </p:cNvSpPr>
          <p:nvPr>
            <p:ph type="ftr" sz="quarter" idx="117"/>
          </p:nvPr>
        </p:nvSpPr>
        <p:spPr/>
        <p:txBody>
          <a:bodyPr/>
          <a:lstStyle/>
          <a:p>
            <a:endParaRPr lang="en-US"/>
          </a:p>
        </p:txBody>
      </p:sp>
      <p:sp>
        <p:nvSpPr>
          <p:cNvPr id="8" name="Slide Number Placeholder 7">
            <a:extLst>
              <a:ext uri="{FF2B5EF4-FFF2-40B4-BE49-F238E27FC236}">
                <a16:creationId xmlns:a16="http://schemas.microsoft.com/office/drawing/2014/main" id="{67560BD8-BC0B-DB45-8951-391197B87781}"/>
              </a:ext>
            </a:extLst>
          </p:cNvPr>
          <p:cNvSpPr>
            <a:spLocks noGrp="1"/>
          </p:cNvSpPr>
          <p:nvPr>
            <p:ph type="sldNum" sz="quarter" idx="118"/>
          </p:nvPr>
        </p:nvSpPr>
        <p:spPr/>
        <p:txBody>
          <a:bodyPr/>
          <a:lstStyle/>
          <a:p>
            <a:pPr marL="12700"/>
            <a:fld id="{078C017C-E1B9-8443-B047-B08AAA027B45}" type="slidenum">
              <a:rPr lang="en-US" smtClean="0"/>
              <a:pPr marL="12700"/>
              <a:t>‹#›</a:t>
            </a:fld>
            <a:endParaRPr lang="en-US"/>
          </a:p>
        </p:txBody>
      </p:sp>
      <p:grpSp>
        <p:nvGrpSpPr>
          <p:cNvPr id="42" name="Group 41">
            <a:extLst>
              <a:ext uri="{FF2B5EF4-FFF2-40B4-BE49-F238E27FC236}">
                <a16:creationId xmlns:a16="http://schemas.microsoft.com/office/drawing/2014/main" id="{E5241B9F-7526-B848-8687-6ECC37392B0B}"/>
              </a:ext>
            </a:extLst>
          </p:cNvPr>
          <p:cNvGrpSpPr/>
          <p:nvPr userDrawn="1"/>
        </p:nvGrpSpPr>
        <p:grpSpPr>
          <a:xfrm>
            <a:off x="12532245" y="-1"/>
            <a:ext cx="2979898" cy="6989737"/>
            <a:chOff x="9399182" y="-1"/>
            <a:chExt cx="2961715" cy="6989737"/>
          </a:xfrm>
        </p:grpSpPr>
        <p:sp>
          <p:nvSpPr>
            <p:cNvPr id="45" name="Rectangle 44">
              <a:extLst>
                <a:ext uri="{FF2B5EF4-FFF2-40B4-BE49-F238E27FC236}">
                  <a16:creationId xmlns:a16="http://schemas.microsoft.com/office/drawing/2014/main" id="{E76F00C3-E276-394E-B1AD-E11624A972C6}"/>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46" name="Picture 45">
              <a:extLst>
                <a:ext uri="{FF2B5EF4-FFF2-40B4-BE49-F238E27FC236}">
                  <a16:creationId xmlns:a16="http://schemas.microsoft.com/office/drawing/2014/main" id="{367F276E-CAD6-3940-B7B5-6CDEA34DCA25}"/>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47" name="Group 46">
              <a:extLst>
                <a:ext uri="{FF2B5EF4-FFF2-40B4-BE49-F238E27FC236}">
                  <a16:creationId xmlns:a16="http://schemas.microsoft.com/office/drawing/2014/main" id="{D8973DF5-427E-7148-9A5E-23AC6E41F85E}"/>
                </a:ext>
              </a:extLst>
            </p:cNvPr>
            <p:cNvGrpSpPr/>
            <p:nvPr userDrawn="1"/>
          </p:nvGrpSpPr>
          <p:grpSpPr>
            <a:xfrm>
              <a:off x="9541497" y="162442"/>
              <a:ext cx="2819400" cy="814510"/>
              <a:chOff x="-3644733" y="165205"/>
              <a:chExt cx="2819400" cy="814510"/>
            </a:xfrm>
          </p:grpSpPr>
          <p:sp>
            <p:nvSpPr>
              <p:cNvPr id="72" name="Rectangle 71">
                <a:extLst>
                  <a:ext uri="{FF2B5EF4-FFF2-40B4-BE49-F238E27FC236}">
                    <a16:creationId xmlns:a16="http://schemas.microsoft.com/office/drawing/2014/main" id="{5A0145CC-8233-574B-8AB4-710A0930034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3" name="TextBox 72">
                <a:extLst>
                  <a:ext uri="{FF2B5EF4-FFF2-40B4-BE49-F238E27FC236}">
                    <a16:creationId xmlns:a16="http://schemas.microsoft.com/office/drawing/2014/main" id="{F1A62C91-E826-E14C-BBBA-3D0E2B7F6762}"/>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74" name="Picture 73">
                <a:extLst>
                  <a:ext uri="{FF2B5EF4-FFF2-40B4-BE49-F238E27FC236}">
                    <a16:creationId xmlns:a16="http://schemas.microsoft.com/office/drawing/2014/main" id="{26DE0852-D7EC-3C4C-995C-B6CE3CFE6737}"/>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48" name="Group 47">
              <a:extLst>
                <a:ext uri="{FF2B5EF4-FFF2-40B4-BE49-F238E27FC236}">
                  <a16:creationId xmlns:a16="http://schemas.microsoft.com/office/drawing/2014/main" id="{3381D592-5472-E54F-8D98-48D1B2BD6087}"/>
                </a:ext>
              </a:extLst>
            </p:cNvPr>
            <p:cNvGrpSpPr/>
            <p:nvPr userDrawn="1"/>
          </p:nvGrpSpPr>
          <p:grpSpPr>
            <a:xfrm>
              <a:off x="9521833" y="5769065"/>
              <a:ext cx="2676002" cy="1052731"/>
              <a:chOff x="9521833" y="2036288"/>
              <a:chExt cx="2676002" cy="1052731"/>
            </a:xfrm>
          </p:grpSpPr>
          <p:sp>
            <p:nvSpPr>
              <p:cNvPr id="66" name="TextBox 65">
                <a:extLst>
                  <a:ext uri="{FF2B5EF4-FFF2-40B4-BE49-F238E27FC236}">
                    <a16:creationId xmlns:a16="http://schemas.microsoft.com/office/drawing/2014/main" id="{F2BA8817-6D19-7342-940A-19E9DB4DEF27}"/>
                  </a:ext>
                </a:extLst>
              </p:cNvPr>
              <p:cNvSpPr txBox="1"/>
              <p:nvPr userDrawn="1"/>
            </p:nvSpPr>
            <p:spPr>
              <a:xfrm>
                <a:off x="9558507" y="2036288"/>
                <a:ext cx="99666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ADD A NEW CHART</a:t>
                </a:r>
              </a:p>
            </p:txBody>
          </p:sp>
          <p:cxnSp>
            <p:nvCxnSpPr>
              <p:cNvPr id="67" name="Straight Connector 66">
                <a:extLst>
                  <a:ext uri="{FF2B5EF4-FFF2-40B4-BE49-F238E27FC236}">
                    <a16:creationId xmlns:a16="http://schemas.microsoft.com/office/drawing/2014/main" id="{83C2297C-DAD0-5243-A1A9-E20E42058A4F}"/>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402F72FB-F726-FA41-A9E3-715CB0F31448}"/>
                  </a:ext>
                </a:extLst>
              </p:cNvPr>
              <p:cNvGrpSpPr/>
              <p:nvPr userDrawn="1"/>
            </p:nvGrpSpPr>
            <p:grpSpPr>
              <a:xfrm>
                <a:off x="9521833" y="2361408"/>
                <a:ext cx="2557391" cy="323165"/>
                <a:chOff x="12352022" y="513115"/>
                <a:chExt cx="2557391" cy="323165"/>
              </a:xfrm>
            </p:grpSpPr>
            <p:sp>
              <p:nvSpPr>
                <p:cNvPr id="70" name="TextBox 69">
                  <a:extLst>
                    <a:ext uri="{FF2B5EF4-FFF2-40B4-BE49-F238E27FC236}">
                      <a16:creationId xmlns:a16="http://schemas.microsoft.com/office/drawing/2014/main" id="{187F1824-13EF-FD4A-9722-29A5300B2A6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71" name="TextBox 70">
                  <a:extLst>
                    <a:ext uri="{FF2B5EF4-FFF2-40B4-BE49-F238E27FC236}">
                      <a16:creationId xmlns:a16="http://schemas.microsoft.com/office/drawing/2014/main" id="{DA1636C0-8898-E44B-ACC1-3B1F1B6806F3}"/>
                    </a:ext>
                  </a:extLst>
                </p:cNvPr>
                <p:cNvSpPr txBox="1"/>
                <p:nvPr userDrawn="1"/>
              </p:nvSpPr>
              <p:spPr>
                <a:xfrm>
                  <a:off x="12516615" y="513115"/>
                  <a:ext cx="2392798"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Open the </a:t>
                  </a:r>
                  <a:r>
                    <a:rPr lang="en-US" sz="1050" b="1"/>
                    <a:t>VEDP Template Assets file </a:t>
                  </a:r>
                  <a:r>
                    <a:rPr lang="en-US" sz="1050"/>
                    <a:t>and copy the desired chart type into your presentation.</a:t>
                  </a:r>
                </a:p>
              </p:txBody>
            </p:sp>
          </p:grpSp>
          <p:sp>
            <p:nvSpPr>
              <p:cNvPr id="69" name="TextBox 68">
                <a:extLst>
                  <a:ext uri="{FF2B5EF4-FFF2-40B4-BE49-F238E27FC236}">
                    <a16:creationId xmlns:a16="http://schemas.microsoft.com/office/drawing/2014/main" id="{C4B9B9BB-EBE6-8048-B25F-F224180ABF8E}"/>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These samples slide have further instructions and have been set up so you can easily edit the data.</a:t>
                </a:r>
              </a:p>
            </p:txBody>
          </p:sp>
        </p:grpSp>
        <p:sp>
          <p:nvSpPr>
            <p:cNvPr id="49" name="TextBox 48">
              <a:extLst>
                <a:ext uri="{FF2B5EF4-FFF2-40B4-BE49-F238E27FC236}">
                  <a16:creationId xmlns:a16="http://schemas.microsoft.com/office/drawing/2014/main" id="{F2A78B01-F097-2945-A9DE-E00C8B620FB2}"/>
                </a:ext>
              </a:extLst>
            </p:cNvPr>
            <p:cNvSpPr txBox="1"/>
            <p:nvPr userDrawn="1"/>
          </p:nvSpPr>
          <p:spPr>
            <a:xfrm>
              <a:off x="9558507" y="2034287"/>
              <a:ext cx="15424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FORMAT AN EXISTING CHART</a:t>
              </a:r>
            </a:p>
          </p:txBody>
        </p:sp>
        <p:cxnSp>
          <p:nvCxnSpPr>
            <p:cNvPr id="50" name="Straight Connector 49">
              <a:extLst>
                <a:ext uri="{FF2B5EF4-FFF2-40B4-BE49-F238E27FC236}">
                  <a16:creationId xmlns:a16="http://schemas.microsoft.com/office/drawing/2014/main" id="{856C43F7-4876-694F-8B05-2713E074C9A6}"/>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2F775201-BADD-8642-8A09-1FA4CF578DAE}"/>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52" name="TextBox 51">
              <a:extLst>
                <a:ext uri="{FF2B5EF4-FFF2-40B4-BE49-F238E27FC236}">
                  <a16:creationId xmlns:a16="http://schemas.microsoft.com/office/drawing/2014/main" id="{B53C7FB8-CEDE-8749-A93E-DB513FA58E59}"/>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53" name="TextBox 52">
              <a:extLst>
                <a:ext uri="{FF2B5EF4-FFF2-40B4-BE49-F238E27FC236}">
                  <a16:creationId xmlns:a16="http://schemas.microsoft.com/office/drawing/2014/main" id="{2EB44496-C459-3047-9EC0-C63C0DB4ACC0}"/>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Select the chart placeholder and then paste your existing chart.</a:t>
              </a:r>
            </a:p>
          </p:txBody>
        </p:sp>
        <p:sp>
          <p:nvSpPr>
            <p:cNvPr id="54" name="TextBox 53">
              <a:extLst>
                <a:ext uri="{FF2B5EF4-FFF2-40B4-BE49-F238E27FC236}">
                  <a16:creationId xmlns:a16="http://schemas.microsoft.com/office/drawing/2014/main" id="{6CA75392-0145-B24A-B622-65A58FA4E197}"/>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Right-click on the chart and choose “Change Chart Type…”</a:t>
              </a:r>
            </a:p>
          </p:txBody>
        </p:sp>
        <p:sp>
          <p:nvSpPr>
            <p:cNvPr id="55" name="TextBox 54">
              <a:extLst>
                <a:ext uri="{FF2B5EF4-FFF2-40B4-BE49-F238E27FC236}">
                  <a16:creationId xmlns:a16="http://schemas.microsoft.com/office/drawing/2014/main" id="{383876F0-946A-F747-AEA9-ABC52C4427A2}"/>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3</a:t>
              </a:r>
            </a:p>
          </p:txBody>
        </p:sp>
        <p:sp>
          <p:nvSpPr>
            <p:cNvPr id="56" name="TextBox 55">
              <a:extLst>
                <a:ext uri="{FF2B5EF4-FFF2-40B4-BE49-F238E27FC236}">
                  <a16:creationId xmlns:a16="http://schemas.microsoft.com/office/drawing/2014/main" id="{5E118466-6DF1-4C48-B12C-81528C776369}"/>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Choose one of the VEDP chart styles from the ‘Templates’ category.</a:t>
              </a:r>
            </a:p>
          </p:txBody>
        </p:sp>
        <p:sp>
          <p:nvSpPr>
            <p:cNvPr id="57" name="TextBox 56">
              <a:extLst>
                <a:ext uri="{FF2B5EF4-FFF2-40B4-BE49-F238E27FC236}">
                  <a16:creationId xmlns:a16="http://schemas.microsoft.com/office/drawing/2014/main" id="{9BCCB2C6-3200-7644-BA4F-3C17F91ECCCB}"/>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Make sure that you have access to any linked files, or you won’t be able to apply the chart style successfully.</a:t>
              </a:r>
            </a:p>
          </p:txBody>
        </p:sp>
        <p:grpSp>
          <p:nvGrpSpPr>
            <p:cNvPr id="58" name="Group 57">
              <a:extLst>
                <a:ext uri="{FF2B5EF4-FFF2-40B4-BE49-F238E27FC236}">
                  <a16:creationId xmlns:a16="http://schemas.microsoft.com/office/drawing/2014/main" id="{9100696E-2FBD-5548-BD75-84E564DA34DC}"/>
                </a:ext>
              </a:extLst>
            </p:cNvPr>
            <p:cNvGrpSpPr/>
            <p:nvPr userDrawn="1"/>
          </p:nvGrpSpPr>
          <p:grpSpPr>
            <a:xfrm>
              <a:off x="9558507" y="1119891"/>
              <a:ext cx="2639328" cy="202617"/>
              <a:chOff x="9303325" y="149270"/>
              <a:chExt cx="2639328" cy="202617"/>
            </a:xfrm>
          </p:grpSpPr>
          <p:sp>
            <p:nvSpPr>
              <p:cNvPr id="64" name="TextBox 63">
                <a:extLst>
                  <a:ext uri="{FF2B5EF4-FFF2-40B4-BE49-F238E27FC236}">
                    <a16:creationId xmlns:a16="http://schemas.microsoft.com/office/drawing/2014/main" id="{7CCD7D4B-1107-AA4A-97B5-93BEE52325F2}"/>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65" name="Straight Connector 64">
                <a:extLst>
                  <a:ext uri="{FF2B5EF4-FFF2-40B4-BE49-F238E27FC236}">
                    <a16:creationId xmlns:a16="http://schemas.microsoft.com/office/drawing/2014/main" id="{1028A897-3C75-D34E-A741-086701DFB3B5}"/>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B2421283-5C96-AD4B-8D98-BB564A36916D}"/>
                </a:ext>
              </a:extLst>
            </p:cNvPr>
            <p:cNvGrpSpPr/>
            <p:nvPr userDrawn="1"/>
          </p:nvGrpSpPr>
          <p:grpSpPr>
            <a:xfrm>
              <a:off x="9541497" y="4046193"/>
              <a:ext cx="2735151" cy="1533198"/>
              <a:chOff x="9296567" y="4910412"/>
              <a:chExt cx="2735151" cy="1533198"/>
            </a:xfrm>
          </p:grpSpPr>
          <p:sp>
            <p:nvSpPr>
              <p:cNvPr id="60" name="Rectangle 59">
                <a:extLst>
                  <a:ext uri="{FF2B5EF4-FFF2-40B4-BE49-F238E27FC236}">
                    <a16:creationId xmlns:a16="http://schemas.microsoft.com/office/drawing/2014/main" id="{B63525C3-C9BB-6246-A65F-2AA4177A0565}"/>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1" name="TextBox 60">
                <a:extLst>
                  <a:ext uri="{FF2B5EF4-FFF2-40B4-BE49-F238E27FC236}">
                    <a16:creationId xmlns:a16="http://schemas.microsoft.com/office/drawing/2014/main" id="{BF78700A-77B4-7C42-9EB6-B98D4EA20706}"/>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Re-apply chart style</a:t>
                </a:r>
              </a:p>
            </p:txBody>
          </p:sp>
          <p:pic>
            <p:nvPicPr>
              <p:cNvPr id="62" name="Graphic 61">
                <a:extLst>
                  <a:ext uri="{FF2B5EF4-FFF2-40B4-BE49-F238E27FC236}">
                    <a16:creationId xmlns:a16="http://schemas.microsoft.com/office/drawing/2014/main" id="{D37EB019-C812-FB49-8015-AF993356CAAD}"/>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63" name="TextBox 62">
                <a:extLst>
                  <a:ext uri="{FF2B5EF4-FFF2-40B4-BE49-F238E27FC236}">
                    <a16:creationId xmlns:a16="http://schemas.microsoft.com/office/drawing/2014/main" id="{BBDA8855-E93D-4E44-BC3D-4D3C038DA9E5}"/>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a:t>In case of error, return legend entries, data labels, and/or chart formatting by re-applying the current VEDP chart style template.</a:t>
                </a:r>
              </a:p>
              <a:p>
                <a:pPr lvl="1"/>
                <a:r>
                  <a:rPr lang="en-US" sz="900"/>
                  <a:t>Right-click the chart and choose</a:t>
                </a:r>
                <a:br>
                  <a:rPr lang="en-US" sz="900"/>
                </a:br>
                <a:r>
                  <a:rPr lang="en-US" sz="900"/>
                  <a:t>“Change Chart Type”</a:t>
                </a:r>
              </a:p>
              <a:p>
                <a:pPr lvl="1"/>
                <a:r>
                  <a:rPr lang="en-US" sz="900"/>
                  <a:t>Then choose the matching VEDP chart style from the ‘Templates’ category.</a:t>
                </a:r>
              </a:p>
            </p:txBody>
          </p:sp>
        </p:grpSp>
      </p:grpSp>
    </p:spTree>
    <p:extLst>
      <p:ext uri="{BB962C8B-B14F-4D97-AF65-F5344CB8AC3E}">
        <p14:creationId xmlns:p14="http://schemas.microsoft.com/office/powerpoint/2010/main" val="31308421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harts (Stacke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000" name="Footnotes Placeholder">
            <a:extLst>
              <a:ext uri="{FF2B5EF4-FFF2-40B4-BE49-F238E27FC236}">
                <a16:creationId xmlns:a16="http://schemas.microsoft.com/office/drawing/2014/main" id="{05CE940C-B9F2-AE42-819B-CF829A76DEFF}"/>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 name="Date Placeholder 6">
            <a:extLst>
              <a:ext uri="{FF2B5EF4-FFF2-40B4-BE49-F238E27FC236}">
                <a16:creationId xmlns:a16="http://schemas.microsoft.com/office/drawing/2014/main" id="{19ACEBCC-F393-B646-82A5-B2CB75AA4689}"/>
              </a:ext>
            </a:extLst>
          </p:cNvPr>
          <p:cNvSpPr>
            <a:spLocks noGrp="1"/>
          </p:cNvSpPr>
          <p:nvPr>
            <p:ph type="dt" sz="half" idx="112"/>
          </p:nvPr>
        </p:nvSpPr>
        <p:spPr/>
        <p:txBody>
          <a:bodyPr/>
          <a:lstStyle/>
          <a:p>
            <a:endParaRPr lang="en-US"/>
          </a:p>
        </p:txBody>
      </p:sp>
      <p:sp>
        <p:nvSpPr>
          <p:cNvPr id="8" name="Footer Placeholder 7">
            <a:extLst>
              <a:ext uri="{FF2B5EF4-FFF2-40B4-BE49-F238E27FC236}">
                <a16:creationId xmlns:a16="http://schemas.microsoft.com/office/drawing/2014/main" id="{1129D6A6-E10B-9246-864B-9C137DCA8D15}"/>
              </a:ext>
            </a:extLst>
          </p:cNvPr>
          <p:cNvSpPr>
            <a:spLocks noGrp="1"/>
          </p:cNvSpPr>
          <p:nvPr>
            <p:ph type="ftr" sz="quarter" idx="113"/>
          </p:nvPr>
        </p:nvSpPr>
        <p:spPr/>
        <p:txBody>
          <a:bodyPr/>
          <a:lstStyle/>
          <a:p>
            <a:endParaRPr lang="en-US"/>
          </a:p>
        </p:txBody>
      </p:sp>
      <p:sp>
        <p:nvSpPr>
          <p:cNvPr id="12" name="Slide Number Placeholder 11">
            <a:extLst>
              <a:ext uri="{FF2B5EF4-FFF2-40B4-BE49-F238E27FC236}">
                <a16:creationId xmlns:a16="http://schemas.microsoft.com/office/drawing/2014/main" id="{07196862-C66B-EC4D-B2F4-A198A28BFE69}"/>
              </a:ext>
            </a:extLst>
          </p:cNvPr>
          <p:cNvSpPr>
            <a:spLocks noGrp="1"/>
          </p:cNvSpPr>
          <p:nvPr>
            <p:ph type="sldNum" sz="quarter" idx="114"/>
          </p:nvPr>
        </p:nvSpPr>
        <p:spPr/>
        <p:txBody>
          <a:bodyPr/>
          <a:lstStyle/>
          <a:p>
            <a:pPr marL="12700"/>
            <a:fld id="{078C017C-E1B9-8443-B047-B08AAA027B45}" type="slidenum">
              <a:rPr lang="en-US" smtClean="0"/>
              <a:pPr marL="12700"/>
              <a:t>‹#›</a:t>
            </a:fld>
            <a:endParaRPr lang="en-US"/>
          </a:p>
        </p:txBody>
      </p:sp>
      <p:sp>
        <p:nvSpPr>
          <p:cNvPr id="49" name="Chart Placeholder 2">
            <a:extLst>
              <a:ext uri="{FF2B5EF4-FFF2-40B4-BE49-F238E27FC236}">
                <a16:creationId xmlns:a16="http://schemas.microsoft.com/office/drawing/2014/main" id="{A9C63DCB-B05D-3A42-BAE8-C09F0F94245E}"/>
              </a:ext>
            </a:extLst>
          </p:cNvPr>
          <p:cNvSpPr>
            <a:spLocks noGrp="1"/>
          </p:cNvSpPr>
          <p:nvPr>
            <p:ph type="chart" sz="quarter" idx="115"/>
          </p:nvPr>
        </p:nvSpPr>
        <p:spPr>
          <a:xfrm>
            <a:off x="575733" y="1735138"/>
            <a:ext cx="11040532" cy="1903758"/>
          </a:xfrm>
        </p:spPr>
        <p:txBody>
          <a:bodyPr/>
          <a:lstStyle>
            <a:lvl1pPr>
              <a:defRPr b="0">
                <a:solidFill>
                  <a:schemeClr val="tx1">
                    <a:lumMod val="50000"/>
                    <a:lumOff val="50000"/>
                  </a:schemeClr>
                </a:solidFill>
              </a:defRPr>
            </a:lvl1pPr>
          </a:lstStyle>
          <a:p>
            <a:r>
              <a:rPr lang="en-US"/>
              <a:t>Click icon to add chart</a:t>
            </a:r>
          </a:p>
        </p:txBody>
      </p:sp>
      <p:sp>
        <p:nvSpPr>
          <p:cNvPr id="50" name="Text Placeholder 6">
            <a:extLst>
              <a:ext uri="{FF2B5EF4-FFF2-40B4-BE49-F238E27FC236}">
                <a16:creationId xmlns:a16="http://schemas.microsoft.com/office/drawing/2014/main" id="{22872042-8EC0-0742-9EC9-C351856408B1}"/>
              </a:ext>
            </a:extLst>
          </p:cNvPr>
          <p:cNvSpPr>
            <a:spLocks noGrp="1"/>
          </p:cNvSpPr>
          <p:nvPr>
            <p:ph type="body" sz="quarter" idx="108" hasCustomPrompt="1"/>
          </p:nvPr>
        </p:nvSpPr>
        <p:spPr>
          <a:xfrm>
            <a:off x="575734"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51" name="Chart Placeholder 2">
            <a:extLst>
              <a:ext uri="{FF2B5EF4-FFF2-40B4-BE49-F238E27FC236}">
                <a16:creationId xmlns:a16="http://schemas.microsoft.com/office/drawing/2014/main" id="{F07CF72C-8DD7-B04A-9188-E17B7FF52CC5}"/>
              </a:ext>
            </a:extLst>
          </p:cNvPr>
          <p:cNvSpPr>
            <a:spLocks noGrp="1"/>
          </p:cNvSpPr>
          <p:nvPr>
            <p:ph type="chart" sz="quarter" idx="116"/>
          </p:nvPr>
        </p:nvSpPr>
        <p:spPr>
          <a:xfrm>
            <a:off x="575733" y="4262092"/>
            <a:ext cx="11040532" cy="1903758"/>
          </a:xfrm>
        </p:spPr>
        <p:txBody>
          <a:bodyPr/>
          <a:lstStyle>
            <a:lvl1pPr>
              <a:defRPr b="0">
                <a:solidFill>
                  <a:schemeClr val="tx1">
                    <a:lumMod val="50000"/>
                    <a:lumOff val="50000"/>
                  </a:schemeClr>
                </a:solidFill>
              </a:defRPr>
            </a:lvl1pPr>
          </a:lstStyle>
          <a:p>
            <a:r>
              <a:rPr lang="en-US"/>
              <a:t>Click icon to add chart</a:t>
            </a:r>
          </a:p>
        </p:txBody>
      </p:sp>
      <p:sp>
        <p:nvSpPr>
          <p:cNvPr id="52" name="Text Placeholder 6">
            <a:extLst>
              <a:ext uri="{FF2B5EF4-FFF2-40B4-BE49-F238E27FC236}">
                <a16:creationId xmlns:a16="http://schemas.microsoft.com/office/drawing/2014/main" id="{7C154E4E-8AF7-F747-B52D-D450E0D64EE6}"/>
              </a:ext>
            </a:extLst>
          </p:cNvPr>
          <p:cNvSpPr>
            <a:spLocks noGrp="1"/>
          </p:cNvSpPr>
          <p:nvPr>
            <p:ph type="body" sz="quarter" idx="117" hasCustomPrompt="1"/>
          </p:nvPr>
        </p:nvSpPr>
        <p:spPr>
          <a:xfrm>
            <a:off x="575734" y="3751272"/>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grpSp>
        <p:nvGrpSpPr>
          <p:cNvPr id="42" name="Group 41">
            <a:extLst>
              <a:ext uri="{FF2B5EF4-FFF2-40B4-BE49-F238E27FC236}">
                <a16:creationId xmlns:a16="http://schemas.microsoft.com/office/drawing/2014/main" id="{12D1DF31-BB1C-BE4F-951E-001D02147DBA}"/>
              </a:ext>
            </a:extLst>
          </p:cNvPr>
          <p:cNvGrpSpPr/>
          <p:nvPr userDrawn="1"/>
        </p:nvGrpSpPr>
        <p:grpSpPr>
          <a:xfrm>
            <a:off x="12532245" y="-1"/>
            <a:ext cx="2979898" cy="6989737"/>
            <a:chOff x="9399182" y="-1"/>
            <a:chExt cx="2961715" cy="6989737"/>
          </a:xfrm>
        </p:grpSpPr>
        <p:sp>
          <p:nvSpPr>
            <p:cNvPr id="43" name="Rectangle 42">
              <a:extLst>
                <a:ext uri="{FF2B5EF4-FFF2-40B4-BE49-F238E27FC236}">
                  <a16:creationId xmlns:a16="http://schemas.microsoft.com/office/drawing/2014/main" id="{28C50AB5-EC45-E44C-91B0-481C0B0FCC0E}"/>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44" name="Picture 43">
              <a:extLst>
                <a:ext uri="{FF2B5EF4-FFF2-40B4-BE49-F238E27FC236}">
                  <a16:creationId xmlns:a16="http://schemas.microsoft.com/office/drawing/2014/main" id="{B06EBC9D-8B43-1741-8DB1-F2384C3228FB}"/>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45" name="Group 44">
              <a:extLst>
                <a:ext uri="{FF2B5EF4-FFF2-40B4-BE49-F238E27FC236}">
                  <a16:creationId xmlns:a16="http://schemas.microsoft.com/office/drawing/2014/main" id="{3153B3EA-AD38-1246-83FC-16A6995FA64E}"/>
                </a:ext>
              </a:extLst>
            </p:cNvPr>
            <p:cNvGrpSpPr/>
            <p:nvPr userDrawn="1"/>
          </p:nvGrpSpPr>
          <p:grpSpPr>
            <a:xfrm>
              <a:off x="9541497" y="162442"/>
              <a:ext cx="2819400" cy="814510"/>
              <a:chOff x="-3644733" y="165205"/>
              <a:chExt cx="2819400" cy="814510"/>
            </a:xfrm>
          </p:grpSpPr>
          <p:sp>
            <p:nvSpPr>
              <p:cNvPr id="74" name="Rectangle 73">
                <a:extLst>
                  <a:ext uri="{FF2B5EF4-FFF2-40B4-BE49-F238E27FC236}">
                    <a16:creationId xmlns:a16="http://schemas.microsoft.com/office/drawing/2014/main" id="{D0CF2937-3204-8F4C-90FA-C7684F000D9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5" name="TextBox 74">
                <a:extLst>
                  <a:ext uri="{FF2B5EF4-FFF2-40B4-BE49-F238E27FC236}">
                    <a16:creationId xmlns:a16="http://schemas.microsoft.com/office/drawing/2014/main" id="{39FF6A15-81BC-434B-A376-38364E99C2EC}"/>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76" name="Picture 75">
                <a:extLst>
                  <a:ext uri="{FF2B5EF4-FFF2-40B4-BE49-F238E27FC236}">
                    <a16:creationId xmlns:a16="http://schemas.microsoft.com/office/drawing/2014/main" id="{C88694DD-1036-474B-A790-E8B1F5C2F3A6}"/>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46" name="Group 45">
              <a:extLst>
                <a:ext uri="{FF2B5EF4-FFF2-40B4-BE49-F238E27FC236}">
                  <a16:creationId xmlns:a16="http://schemas.microsoft.com/office/drawing/2014/main" id="{0D84D546-C89D-BD42-A9E4-91DC872B73CB}"/>
                </a:ext>
              </a:extLst>
            </p:cNvPr>
            <p:cNvGrpSpPr/>
            <p:nvPr userDrawn="1"/>
          </p:nvGrpSpPr>
          <p:grpSpPr>
            <a:xfrm>
              <a:off x="9521833" y="5769065"/>
              <a:ext cx="2676002" cy="1052731"/>
              <a:chOff x="9521833" y="2036288"/>
              <a:chExt cx="2676002" cy="1052731"/>
            </a:xfrm>
          </p:grpSpPr>
          <p:sp>
            <p:nvSpPr>
              <p:cNvPr id="68" name="TextBox 67">
                <a:extLst>
                  <a:ext uri="{FF2B5EF4-FFF2-40B4-BE49-F238E27FC236}">
                    <a16:creationId xmlns:a16="http://schemas.microsoft.com/office/drawing/2014/main" id="{E4AC9DFE-BA1E-6240-9C5A-940BC35497FE}"/>
                  </a:ext>
                </a:extLst>
              </p:cNvPr>
              <p:cNvSpPr txBox="1"/>
              <p:nvPr userDrawn="1"/>
            </p:nvSpPr>
            <p:spPr>
              <a:xfrm>
                <a:off x="9558507" y="2036288"/>
                <a:ext cx="99666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ADD A NEW CHART</a:t>
                </a:r>
              </a:p>
            </p:txBody>
          </p:sp>
          <p:cxnSp>
            <p:nvCxnSpPr>
              <p:cNvPr id="69" name="Straight Connector 68">
                <a:extLst>
                  <a:ext uri="{FF2B5EF4-FFF2-40B4-BE49-F238E27FC236}">
                    <a16:creationId xmlns:a16="http://schemas.microsoft.com/office/drawing/2014/main" id="{E114450E-6A26-D749-BA4C-18CD479CD38F}"/>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70" name="Group 69">
                <a:extLst>
                  <a:ext uri="{FF2B5EF4-FFF2-40B4-BE49-F238E27FC236}">
                    <a16:creationId xmlns:a16="http://schemas.microsoft.com/office/drawing/2014/main" id="{8E665DED-7423-1E49-81D6-55373FF29ACF}"/>
                  </a:ext>
                </a:extLst>
              </p:cNvPr>
              <p:cNvGrpSpPr/>
              <p:nvPr userDrawn="1"/>
            </p:nvGrpSpPr>
            <p:grpSpPr>
              <a:xfrm>
                <a:off x="9521833" y="2361408"/>
                <a:ext cx="2557391" cy="323165"/>
                <a:chOff x="12352022" y="513115"/>
                <a:chExt cx="2557391" cy="323165"/>
              </a:xfrm>
            </p:grpSpPr>
            <p:sp>
              <p:nvSpPr>
                <p:cNvPr id="72" name="TextBox 71">
                  <a:extLst>
                    <a:ext uri="{FF2B5EF4-FFF2-40B4-BE49-F238E27FC236}">
                      <a16:creationId xmlns:a16="http://schemas.microsoft.com/office/drawing/2014/main" id="{3F9D4BEC-AB1A-2445-9AEB-C60E42789341}"/>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73" name="TextBox 72">
                  <a:extLst>
                    <a:ext uri="{FF2B5EF4-FFF2-40B4-BE49-F238E27FC236}">
                      <a16:creationId xmlns:a16="http://schemas.microsoft.com/office/drawing/2014/main" id="{BDBD5754-AFF6-4A48-957D-7AA73D3A6E2F}"/>
                    </a:ext>
                  </a:extLst>
                </p:cNvPr>
                <p:cNvSpPr txBox="1"/>
                <p:nvPr userDrawn="1"/>
              </p:nvSpPr>
              <p:spPr>
                <a:xfrm>
                  <a:off x="12516615" y="513115"/>
                  <a:ext cx="2392798"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Open the </a:t>
                  </a:r>
                  <a:r>
                    <a:rPr lang="en-US" sz="1050" b="1"/>
                    <a:t>VEDP Template Assets file </a:t>
                  </a:r>
                  <a:r>
                    <a:rPr lang="en-US" sz="1050"/>
                    <a:t>and copy the desired chart type into your presentation.</a:t>
                  </a:r>
                </a:p>
              </p:txBody>
            </p:sp>
          </p:grpSp>
          <p:sp>
            <p:nvSpPr>
              <p:cNvPr id="71" name="TextBox 70">
                <a:extLst>
                  <a:ext uri="{FF2B5EF4-FFF2-40B4-BE49-F238E27FC236}">
                    <a16:creationId xmlns:a16="http://schemas.microsoft.com/office/drawing/2014/main" id="{5DC177BF-64DD-B14F-89DE-723777143023}"/>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These samples slide have further instructions and have been set up so you can easily edit the data.</a:t>
                </a:r>
              </a:p>
            </p:txBody>
          </p:sp>
        </p:grpSp>
        <p:sp>
          <p:nvSpPr>
            <p:cNvPr id="47" name="TextBox 46">
              <a:extLst>
                <a:ext uri="{FF2B5EF4-FFF2-40B4-BE49-F238E27FC236}">
                  <a16:creationId xmlns:a16="http://schemas.microsoft.com/office/drawing/2014/main" id="{37AB93F7-5752-4843-AC24-5FA2B3BBA9D2}"/>
                </a:ext>
              </a:extLst>
            </p:cNvPr>
            <p:cNvSpPr txBox="1"/>
            <p:nvPr userDrawn="1"/>
          </p:nvSpPr>
          <p:spPr>
            <a:xfrm>
              <a:off x="9558507" y="2034287"/>
              <a:ext cx="15424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FORMAT AN EXISTING CHART</a:t>
              </a:r>
            </a:p>
          </p:txBody>
        </p:sp>
        <p:cxnSp>
          <p:nvCxnSpPr>
            <p:cNvPr id="48" name="Straight Connector 47">
              <a:extLst>
                <a:ext uri="{FF2B5EF4-FFF2-40B4-BE49-F238E27FC236}">
                  <a16:creationId xmlns:a16="http://schemas.microsoft.com/office/drawing/2014/main" id="{CB0BDE6E-9E16-3945-92B2-F7974660CBE3}"/>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8960189D-BBC6-7440-B593-2D7C4903F804}"/>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54" name="TextBox 53">
              <a:extLst>
                <a:ext uri="{FF2B5EF4-FFF2-40B4-BE49-F238E27FC236}">
                  <a16:creationId xmlns:a16="http://schemas.microsoft.com/office/drawing/2014/main" id="{86C18A2F-3EE6-7948-9876-2F73C8D23957}"/>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55" name="TextBox 54">
              <a:extLst>
                <a:ext uri="{FF2B5EF4-FFF2-40B4-BE49-F238E27FC236}">
                  <a16:creationId xmlns:a16="http://schemas.microsoft.com/office/drawing/2014/main" id="{453677D7-8B4F-DC4B-80C0-BBC7E2A7AD88}"/>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Select the chart placeholder and then paste your existing chart.</a:t>
              </a:r>
            </a:p>
          </p:txBody>
        </p:sp>
        <p:sp>
          <p:nvSpPr>
            <p:cNvPr id="56" name="TextBox 55">
              <a:extLst>
                <a:ext uri="{FF2B5EF4-FFF2-40B4-BE49-F238E27FC236}">
                  <a16:creationId xmlns:a16="http://schemas.microsoft.com/office/drawing/2014/main" id="{F7F27A94-1470-CE4A-850A-9152AA777F09}"/>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Right-click on the chart and choose “Change Chart Type…”</a:t>
              </a:r>
            </a:p>
          </p:txBody>
        </p:sp>
        <p:sp>
          <p:nvSpPr>
            <p:cNvPr id="57" name="TextBox 56">
              <a:extLst>
                <a:ext uri="{FF2B5EF4-FFF2-40B4-BE49-F238E27FC236}">
                  <a16:creationId xmlns:a16="http://schemas.microsoft.com/office/drawing/2014/main" id="{73F1AF86-FBCC-C340-A8A2-0FAA40CDADAF}"/>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3</a:t>
              </a:r>
            </a:p>
          </p:txBody>
        </p:sp>
        <p:sp>
          <p:nvSpPr>
            <p:cNvPr id="58" name="TextBox 57">
              <a:extLst>
                <a:ext uri="{FF2B5EF4-FFF2-40B4-BE49-F238E27FC236}">
                  <a16:creationId xmlns:a16="http://schemas.microsoft.com/office/drawing/2014/main" id="{8ADBE550-750C-F143-A3A9-76098CC2D4C5}"/>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Choose one of the VEDP chart styles from the ‘Templates’ category.</a:t>
              </a:r>
            </a:p>
          </p:txBody>
        </p:sp>
        <p:sp>
          <p:nvSpPr>
            <p:cNvPr id="59" name="TextBox 58">
              <a:extLst>
                <a:ext uri="{FF2B5EF4-FFF2-40B4-BE49-F238E27FC236}">
                  <a16:creationId xmlns:a16="http://schemas.microsoft.com/office/drawing/2014/main" id="{1E16067F-AB6C-354B-A1EC-EF323144FD9B}"/>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Make sure that you have access to any linked files, or you won’t be able to apply the chart style successfully.</a:t>
              </a:r>
            </a:p>
          </p:txBody>
        </p:sp>
        <p:grpSp>
          <p:nvGrpSpPr>
            <p:cNvPr id="60" name="Group 59">
              <a:extLst>
                <a:ext uri="{FF2B5EF4-FFF2-40B4-BE49-F238E27FC236}">
                  <a16:creationId xmlns:a16="http://schemas.microsoft.com/office/drawing/2014/main" id="{3F0B7859-5995-774F-9713-C4115D3B7B94}"/>
                </a:ext>
              </a:extLst>
            </p:cNvPr>
            <p:cNvGrpSpPr/>
            <p:nvPr userDrawn="1"/>
          </p:nvGrpSpPr>
          <p:grpSpPr>
            <a:xfrm>
              <a:off x="9558507" y="1119891"/>
              <a:ext cx="2639328" cy="202617"/>
              <a:chOff x="9303325" y="149270"/>
              <a:chExt cx="2639328" cy="202617"/>
            </a:xfrm>
          </p:grpSpPr>
          <p:sp>
            <p:nvSpPr>
              <p:cNvPr id="66" name="TextBox 65">
                <a:extLst>
                  <a:ext uri="{FF2B5EF4-FFF2-40B4-BE49-F238E27FC236}">
                    <a16:creationId xmlns:a16="http://schemas.microsoft.com/office/drawing/2014/main" id="{8AF29DE9-8696-D24F-91C8-6F88B77CE5C4}"/>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67" name="Straight Connector 66">
                <a:extLst>
                  <a:ext uri="{FF2B5EF4-FFF2-40B4-BE49-F238E27FC236}">
                    <a16:creationId xmlns:a16="http://schemas.microsoft.com/office/drawing/2014/main" id="{5D390DC0-09B2-8843-A2DF-F36BD04BAA8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61" name="Group 60">
              <a:extLst>
                <a:ext uri="{FF2B5EF4-FFF2-40B4-BE49-F238E27FC236}">
                  <a16:creationId xmlns:a16="http://schemas.microsoft.com/office/drawing/2014/main" id="{24B7FCB6-D228-9E43-BB5A-34726059D3FC}"/>
                </a:ext>
              </a:extLst>
            </p:cNvPr>
            <p:cNvGrpSpPr/>
            <p:nvPr userDrawn="1"/>
          </p:nvGrpSpPr>
          <p:grpSpPr>
            <a:xfrm>
              <a:off x="9541497" y="4046193"/>
              <a:ext cx="2735151" cy="1533198"/>
              <a:chOff x="9296567" y="4910412"/>
              <a:chExt cx="2735151" cy="1533198"/>
            </a:xfrm>
          </p:grpSpPr>
          <p:sp>
            <p:nvSpPr>
              <p:cNvPr id="62" name="Rectangle 61">
                <a:extLst>
                  <a:ext uri="{FF2B5EF4-FFF2-40B4-BE49-F238E27FC236}">
                    <a16:creationId xmlns:a16="http://schemas.microsoft.com/office/drawing/2014/main" id="{61E6E3AD-C5A0-FF40-9389-92789A1F2019}"/>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3" name="TextBox 62">
                <a:extLst>
                  <a:ext uri="{FF2B5EF4-FFF2-40B4-BE49-F238E27FC236}">
                    <a16:creationId xmlns:a16="http://schemas.microsoft.com/office/drawing/2014/main" id="{2062A7DD-625D-1644-A64D-344438EB11AA}"/>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Re-apply chart style</a:t>
                </a:r>
              </a:p>
            </p:txBody>
          </p:sp>
          <p:pic>
            <p:nvPicPr>
              <p:cNvPr id="64" name="Graphic 63">
                <a:extLst>
                  <a:ext uri="{FF2B5EF4-FFF2-40B4-BE49-F238E27FC236}">
                    <a16:creationId xmlns:a16="http://schemas.microsoft.com/office/drawing/2014/main" id="{A943F936-A233-5A4E-8419-A68AA97ABF38}"/>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65" name="TextBox 64">
                <a:extLst>
                  <a:ext uri="{FF2B5EF4-FFF2-40B4-BE49-F238E27FC236}">
                    <a16:creationId xmlns:a16="http://schemas.microsoft.com/office/drawing/2014/main" id="{C55745CB-C84D-2541-9C84-FB4A1339F320}"/>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a:t>In case of error, return legend entries, data labels, and/or chart formatting by re-applying the current VEDP chart style template.</a:t>
                </a:r>
              </a:p>
              <a:p>
                <a:pPr lvl="1"/>
                <a:r>
                  <a:rPr lang="en-US" sz="900"/>
                  <a:t>Right-click the chart and choose</a:t>
                </a:r>
                <a:br>
                  <a:rPr lang="en-US" sz="900"/>
                </a:br>
                <a:r>
                  <a:rPr lang="en-US" sz="900"/>
                  <a:t>“Change Chart Type”</a:t>
                </a:r>
              </a:p>
              <a:p>
                <a:pPr lvl="1"/>
                <a:r>
                  <a:rPr lang="en-US" sz="900"/>
                  <a:t>Then choose the matching VEDP chart style from the ‘Templates’ category.</a:t>
                </a:r>
              </a:p>
            </p:txBody>
          </p:sp>
        </p:grpSp>
      </p:grpSp>
    </p:spTree>
    <p:extLst>
      <p:ext uri="{BB962C8B-B14F-4D97-AF65-F5344CB8AC3E}">
        <p14:creationId xmlns:p14="http://schemas.microsoft.com/office/powerpoint/2010/main" val="6065638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575733" y="1735138"/>
            <a:ext cx="5344584" cy="4430712"/>
          </a:xfrm>
        </p:spPr>
        <p:txBody>
          <a:bodyPr/>
          <a:lstStyle>
            <a:lvl1pPr>
              <a:defRPr b="0">
                <a:solidFill>
                  <a:schemeClr val="tx1">
                    <a:lumMod val="50000"/>
                    <a:lumOff val="50000"/>
                  </a:schemeClr>
                </a:solidFill>
              </a:defRPr>
            </a:lvl1pPr>
          </a:lstStyle>
          <a:p>
            <a:r>
              <a:rPr lang="en-US"/>
              <a:t>Click icon to add chart</a:t>
            </a:r>
          </a:p>
        </p:txBody>
      </p:sp>
      <p:sp>
        <p:nvSpPr>
          <p:cNvPr id="1000" name="Footnotes Placeholder">
            <a:extLst>
              <a:ext uri="{FF2B5EF4-FFF2-40B4-BE49-F238E27FC236}">
                <a16:creationId xmlns:a16="http://schemas.microsoft.com/office/drawing/2014/main" id="{4A426F11-55A1-3946-8771-D8A379B5AD5E}"/>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43" name="Text Placeholder 6">
            <a:extLst>
              <a:ext uri="{FF2B5EF4-FFF2-40B4-BE49-F238E27FC236}">
                <a16:creationId xmlns:a16="http://schemas.microsoft.com/office/drawing/2014/main" id="{7892DA04-F4A9-2044-B9E5-08BCF7318160}"/>
              </a:ext>
            </a:extLst>
          </p:cNvPr>
          <p:cNvSpPr>
            <a:spLocks noGrp="1"/>
          </p:cNvSpPr>
          <p:nvPr>
            <p:ph type="body" sz="quarter" idx="108" hasCustomPrompt="1"/>
          </p:nvPr>
        </p:nvSpPr>
        <p:spPr>
          <a:xfrm>
            <a:off x="575734"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6" name="Date Placeholder 5">
            <a:extLst>
              <a:ext uri="{FF2B5EF4-FFF2-40B4-BE49-F238E27FC236}">
                <a16:creationId xmlns:a16="http://schemas.microsoft.com/office/drawing/2014/main" id="{F379AB29-F3FD-6B4D-AB9C-5B22D89A0EA3}"/>
              </a:ext>
            </a:extLst>
          </p:cNvPr>
          <p:cNvSpPr>
            <a:spLocks noGrp="1"/>
          </p:cNvSpPr>
          <p:nvPr>
            <p:ph type="dt" sz="half" idx="116"/>
          </p:nvPr>
        </p:nvSpPr>
        <p:spPr/>
        <p:txBody>
          <a:bodyPr/>
          <a:lstStyle/>
          <a:p>
            <a:endParaRPr lang="en-US"/>
          </a:p>
        </p:txBody>
      </p:sp>
      <p:sp>
        <p:nvSpPr>
          <p:cNvPr id="7" name="Footer Placeholder 6">
            <a:extLst>
              <a:ext uri="{FF2B5EF4-FFF2-40B4-BE49-F238E27FC236}">
                <a16:creationId xmlns:a16="http://schemas.microsoft.com/office/drawing/2014/main" id="{998E7724-1686-F747-8D1B-1AB14F556771}"/>
              </a:ext>
            </a:extLst>
          </p:cNvPr>
          <p:cNvSpPr>
            <a:spLocks noGrp="1"/>
          </p:cNvSpPr>
          <p:nvPr>
            <p:ph type="ftr" sz="quarter" idx="117"/>
          </p:nvPr>
        </p:nvSpPr>
        <p:spPr/>
        <p:txBody>
          <a:bodyPr/>
          <a:lstStyle/>
          <a:p>
            <a:endParaRPr lang="en-US"/>
          </a:p>
        </p:txBody>
      </p:sp>
      <p:sp>
        <p:nvSpPr>
          <p:cNvPr id="8" name="Slide Number Placeholder 7">
            <a:extLst>
              <a:ext uri="{FF2B5EF4-FFF2-40B4-BE49-F238E27FC236}">
                <a16:creationId xmlns:a16="http://schemas.microsoft.com/office/drawing/2014/main" id="{67560BD8-BC0B-DB45-8951-391197B87781}"/>
              </a:ext>
            </a:extLst>
          </p:cNvPr>
          <p:cNvSpPr>
            <a:spLocks noGrp="1"/>
          </p:cNvSpPr>
          <p:nvPr>
            <p:ph type="sldNum" sz="quarter" idx="118"/>
          </p:nvPr>
        </p:nvSpPr>
        <p:spPr/>
        <p:txBody>
          <a:bodyPr/>
          <a:lstStyle/>
          <a:p>
            <a:pPr marL="12700"/>
            <a:fld id="{078C017C-E1B9-8443-B047-B08AAA027B45}" type="slidenum">
              <a:rPr lang="en-US" smtClean="0"/>
              <a:pPr marL="12700"/>
              <a:t>‹#›</a:t>
            </a:fld>
            <a:endParaRPr lang="en-US"/>
          </a:p>
        </p:txBody>
      </p:sp>
      <p:sp>
        <p:nvSpPr>
          <p:cNvPr id="4" name="Text Placeholder 3">
            <a:extLst>
              <a:ext uri="{FF2B5EF4-FFF2-40B4-BE49-F238E27FC236}">
                <a16:creationId xmlns:a16="http://schemas.microsoft.com/office/drawing/2014/main" id="{C0633058-F12A-3240-8E47-F68D49EC3AE2}"/>
              </a:ext>
            </a:extLst>
          </p:cNvPr>
          <p:cNvSpPr>
            <a:spLocks noGrp="1"/>
          </p:cNvSpPr>
          <p:nvPr userDrawn="1">
            <p:ph type="body" sz="quarter" idx="119"/>
          </p:nvPr>
        </p:nvSpPr>
        <p:spPr>
          <a:xfrm>
            <a:off x="6273867" y="1735138"/>
            <a:ext cx="5342400" cy="4430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0" name="Group 9">
            <a:extLst>
              <a:ext uri="{FF2B5EF4-FFF2-40B4-BE49-F238E27FC236}">
                <a16:creationId xmlns:a16="http://schemas.microsoft.com/office/drawing/2014/main" id="{B63747D6-BC82-9944-89EC-FD8DC796135D}"/>
              </a:ext>
            </a:extLst>
          </p:cNvPr>
          <p:cNvGrpSpPr/>
          <p:nvPr userDrawn="1"/>
        </p:nvGrpSpPr>
        <p:grpSpPr>
          <a:xfrm>
            <a:off x="12532243" y="-2"/>
            <a:ext cx="2996228" cy="9791695"/>
            <a:chOff x="9399182" y="-2"/>
            <a:chExt cx="2974470" cy="9791695"/>
          </a:xfrm>
        </p:grpSpPr>
        <p:sp>
          <p:nvSpPr>
            <p:cNvPr id="108" name="Rectangle 107">
              <a:extLst>
                <a:ext uri="{FF2B5EF4-FFF2-40B4-BE49-F238E27FC236}">
                  <a16:creationId xmlns:a16="http://schemas.microsoft.com/office/drawing/2014/main" id="{4021C5A3-7B0D-1847-9EF9-A3705154127E}"/>
                </a:ext>
              </a:extLst>
            </p:cNvPr>
            <p:cNvSpPr/>
            <p:nvPr userDrawn="1"/>
          </p:nvSpPr>
          <p:spPr>
            <a:xfrm>
              <a:off x="9399182" y="-2"/>
              <a:ext cx="2798651" cy="97916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109" name="Picture 108">
              <a:extLst>
                <a:ext uri="{FF2B5EF4-FFF2-40B4-BE49-F238E27FC236}">
                  <a16:creationId xmlns:a16="http://schemas.microsoft.com/office/drawing/2014/main" id="{8379DC2B-3092-1142-97A8-452B83E9EEE5}"/>
                </a:ext>
              </a:extLst>
            </p:cNvPr>
            <p:cNvPicPr>
              <a:picLocks noChangeAspect="1"/>
            </p:cNvPicPr>
            <p:nvPr userDrawn="1"/>
          </p:nvPicPr>
          <p:blipFill rotWithShape="1">
            <a:blip r:embed="rId3"/>
            <a:srcRect r="36104"/>
            <a:stretch/>
          </p:blipFill>
          <p:spPr>
            <a:xfrm>
              <a:off x="9558497" y="1619251"/>
              <a:ext cx="2639329" cy="522522"/>
            </a:xfrm>
            <a:prstGeom prst="rect">
              <a:avLst/>
            </a:prstGeom>
          </p:spPr>
        </p:pic>
        <p:grpSp>
          <p:nvGrpSpPr>
            <p:cNvPr id="110" name="Group 109">
              <a:extLst>
                <a:ext uri="{FF2B5EF4-FFF2-40B4-BE49-F238E27FC236}">
                  <a16:creationId xmlns:a16="http://schemas.microsoft.com/office/drawing/2014/main" id="{1013161E-A1C5-5749-9CE3-F720067C884E}"/>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6E6A25D8-1BC5-9B4C-8FA6-899B48E1D1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6" name="TextBox 135">
                <a:extLst>
                  <a:ext uri="{FF2B5EF4-FFF2-40B4-BE49-F238E27FC236}">
                    <a16:creationId xmlns:a16="http://schemas.microsoft.com/office/drawing/2014/main" id="{DE1EA92A-DBC7-B749-9767-E7B2D5BD99C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F3C81943-C1E3-344C-9C89-756433C45B2E}"/>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21" name="Group 120">
              <a:extLst>
                <a:ext uri="{FF2B5EF4-FFF2-40B4-BE49-F238E27FC236}">
                  <a16:creationId xmlns:a16="http://schemas.microsoft.com/office/drawing/2014/main" id="{D3A6EECD-3549-904A-A40E-911DC97AF001}"/>
                </a:ext>
              </a:extLst>
            </p:cNvPr>
            <p:cNvGrpSpPr/>
            <p:nvPr userDrawn="1"/>
          </p:nvGrpSpPr>
          <p:grpSpPr>
            <a:xfrm>
              <a:off x="9558507" y="1119891"/>
              <a:ext cx="2639328" cy="202617"/>
              <a:chOff x="9303325" y="149270"/>
              <a:chExt cx="2639328" cy="202617"/>
            </a:xfrm>
          </p:grpSpPr>
          <p:sp>
            <p:nvSpPr>
              <p:cNvPr id="127" name="TextBox 126">
                <a:extLst>
                  <a:ext uri="{FF2B5EF4-FFF2-40B4-BE49-F238E27FC236}">
                    <a16:creationId xmlns:a16="http://schemas.microsoft.com/office/drawing/2014/main" id="{F72EE2BF-96DA-ED48-A29C-73A7C7A51107}"/>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128" name="Straight Connector 127">
                <a:extLst>
                  <a:ext uri="{FF2B5EF4-FFF2-40B4-BE49-F238E27FC236}">
                    <a16:creationId xmlns:a16="http://schemas.microsoft.com/office/drawing/2014/main" id="{D92BD20A-0C8C-E14A-BB7D-7F4DA53A033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6ECFF6AF-6125-D947-8881-54BBFA9474F9}"/>
                </a:ext>
              </a:extLst>
            </p:cNvPr>
            <p:cNvGrpSpPr/>
            <p:nvPr userDrawn="1"/>
          </p:nvGrpSpPr>
          <p:grpSpPr>
            <a:xfrm>
              <a:off x="9521833" y="4842694"/>
              <a:ext cx="2754815" cy="4787509"/>
              <a:chOff x="9521833" y="2034287"/>
              <a:chExt cx="2754815" cy="4787509"/>
            </a:xfrm>
          </p:grpSpPr>
          <p:grpSp>
            <p:nvGrpSpPr>
              <p:cNvPr id="111" name="Group 110">
                <a:extLst>
                  <a:ext uri="{FF2B5EF4-FFF2-40B4-BE49-F238E27FC236}">
                    <a16:creationId xmlns:a16="http://schemas.microsoft.com/office/drawing/2014/main" id="{15CE3F5C-AE46-334A-898C-C2B42488CBAF}"/>
                  </a:ext>
                </a:extLst>
              </p:cNvPr>
              <p:cNvGrpSpPr/>
              <p:nvPr userDrawn="1"/>
            </p:nvGrpSpPr>
            <p:grpSpPr>
              <a:xfrm>
                <a:off x="9521833" y="5769065"/>
                <a:ext cx="2676002" cy="1052731"/>
                <a:chOff x="9521833" y="2036288"/>
                <a:chExt cx="2676002" cy="1052731"/>
              </a:xfrm>
            </p:grpSpPr>
            <p:sp>
              <p:nvSpPr>
                <p:cNvPr id="129" name="TextBox 128">
                  <a:extLst>
                    <a:ext uri="{FF2B5EF4-FFF2-40B4-BE49-F238E27FC236}">
                      <a16:creationId xmlns:a16="http://schemas.microsoft.com/office/drawing/2014/main" id="{EA92E2AA-DFD9-5A4F-AB03-5A37B9AECDF8}"/>
                    </a:ext>
                  </a:extLst>
                </p:cNvPr>
                <p:cNvSpPr txBox="1"/>
                <p:nvPr userDrawn="1"/>
              </p:nvSpPr>
              <p:spPr>
                <a:xfrm>
                  <a:off x="9558507" y="2036288"/>
                  <a:ext cx="99666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ADD A NEW CHART</a:t>
                  </a:r>
                </a:p>
              </p:txBody>
            </p:sp>
            <p:cxnSp>
              <p:nvCxnSpPr>
                <p:cNvPr id="130" name="Straight Connector 129">
                  <a:extLst>
                    <a:ext uri="{FF2B5EF4-FFF2-40B4-BE49-F238E27FC236}">
                      <a16:creationId xmlns:a16="http://schemas.microsoft.com/office/drawing/2014/main" id="{6DEBF951-684E-EF4C-AD44-7EE3A3D737A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B7170F64-401B-944F-BE85-D64B70491AD1}"/>
                    </a:ext>
                  </a:extLst>
                </p:cNvPr>
                <p:cNvGrpSpPr/>
                <p:nvPr userDrawn="1"/>
              </p:nvGrpSpPr>
              <p:grpSpPr>
                <a:xfrm>
                  <a:off x="9521833" y="2361408"/>
                  <a:ext cx="2557391" cy="323165"/>
                  <a:chOff x="12352022" y="513115"/>
                  <a:chExt cx="2557391" cy="323165"/>
                </a:xfrm>
              </p:grpSpPr>
              <p:sp>
                <p:nvSpPr>
                  <p:cNvPr id="133" name="TextBox 132">
                    <a:extLst>
                      <a:ext uri="{FF2B5EF4-FFF2-40B4-BE49-F238E27FC236}">
                        <a16:creationId xmlns:a16="http://schemas.microsoft.com/office/drawing/2014/main" id="{C6F193A3-7D39-1C40-9C0D-B981EB53025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34" name="TextBox 133">
                    <a:extLst>
                      <a:ext uri="{FF2B5EF4-FFF2-40B4-BE49-F238E27FC236}">
                        <a16:creationId xmlns:a16="http://schemas.microsoft.com/office/drawing/2014/main" id="{C7940ED9-915B-9248-BA2F-A342231D2934}"/>
                      </a:ext>
                    </a:extLst>
                  </p:cNvPr>
                  <p:cNvSpPr txBox="1"/>
                  <p:nvPr userDrawn="1"/>
                </p:nvSpPr>
                <p:spPr>
                  <a:xfrm>
                    <a:off x="12516615" y="513115"/>
                    <a:ext cx="2392798"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Open the </a:t>
                    </a:r>
                    <a:r>
                      <a:rPr lang="en-US" sz="1050" b="1"/>
                      <a:t>VEDP Template Assets file </a:t>
                    </a:r>
                    <a:r>
                      <a:rPr lang="en-US" sz="1050"/>
                      <a:t>and copy the desired chart type into your presentation.</a:t>
                    </a:r>
                  </a:p>
                </p:txBody>
              </p:sp>
            </p:grpSp>
            <p:sp>
              <p:nvSpPr>
                <p:cNvPr id="132" name="TextBox 131">
                  <a:extLst>
                    <a:ext uri="{FF2B5EF4-FFF2-40B4-BE49-F238E27FC236}">
                      <a16:creationId xmlns:a16="http://schemas.microsoft.com/office/drawing/2014/main" id="{A80FD326-85FF-264F-97DA-05F43B20FA05}"/>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These samples slide have further instructions and have been set up so you can easily edit the data.</a:t>
                  </a:r>
                </a:p>
              </p:txBody>
            </p:sp>
          </p:grpSp>
          <p:sp>
            <p:nvSpPr>
              <p:cNvPr id="112" name="TextBox 111">
                <a:extLst>
                  <a:ext uri="{FF2B5EF4-FFF2-40B4-BE49-F238E27FC236}">
                    <a16:creationId xmlns:a16="http://schemas.microsoft.com/office/drawing/2014/main" id="{643017B9-5EB5-3C43-964D-F8B34AE37A52}"/>
                  </a:ext>
                </a:extLst>
              </p:cNvPr>
              <p:cNvSpPr txBox="1"/>
              <p:nvPr userDrawn="1"/>
            </p:nvSpPr>
            <p:spPr>
              <a:xfrm>
                <a:off x="9558507" y="2034287"/>
                <a:ext cx="15424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FORMAT AN EXISTING CHART</a:t>
                </a:r>
              </a:p>
            </p:txBody>
          </p:sp>
          <p:cxnSp>
            <p:nvCxnSpPr>
              <p:cNvPr id="113" name="Straight Connector 112">
                <a:extLst>
                  <a:ext uri="{FF2B5EF4-FFF2-40B4-BE49-F238E27FC236}">
                    <a16:creationId xmlns:a16="http://schemas.microsoft.com/office/drawing/2014/main" id="{E5A28B81-D028-A442-A2BB-C885D0421BAF}"/>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BC6B2BDC-1C6B-FF49-886E-34C4A1F31A1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15" name="TextBox 114">
                <a:extLst>
                  <a:ext uri="{FF2B5EF4-FFF2-40B4-BE49-F238E27FC236}">
                    <a16:creationId xmlns:a16="http://schemas.microsoft.com/office/drawing/2014/main" id="{386F9AE4-1003-E841-B986-2DFA8186BE2A}"/>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16" name="TextBox 115">
                <a:extLst>
                  <a:ext uri="{FF2B5EF4-FFF2-40B4-BE49-F238E27FC236}">
                    <a16:creationId xmlns:a16="http://schemas.microsoft.com/office/drawing/2014/main" id="{81D4359D-396D-B047-8048-C51D25FF5FA9}"/>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Select the chart placeholder and then paste your existing chart.</a:t>
                </a:r>
              </a:p>
            </p:txBody>
          </p:sp>
          <p:sp>
            <p:nvSpPr>
              <p:cNvPr id="117" name="TextBox 116">
                <a:extLst>
                  <a:ext uri="{FF2B5EF4-FFF2-40B4-BE49-F238E27FC236}">
                    <a16:creationId xmlns:a16="http://schemas.microsoft.com/office/drawing/2014/main" id="{F595C52D-E737-B648-97C4-D0EEE4002727}"/>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Right-click on the chart and choose “Change Chart Type…”</a:t>
                </a:r>
              </a:p>
            </p:txBody>
          </p:sp>
          <p:sp>
            <p:nvSpPr>
              <p:cNvPr id="118" name="TextBox 117">
                <a:extLst>
                  <a:ext uri="{FF2B5EF4-FFF2-40B4-BE49-F238E27FC236}">
                    <a16:creationId xmlns:a16="http://schemas.microsoft.com/office/drawing/2014/main" id="{A9B4217E-F58C-E841-B458-5948479DD205}"/>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3</a:t>
                </a:r>
              </a:p>
            </p:txBody>
          </p:sp>
          <p:sp>
            <p:nvSpPr>
              <p:cNvPr id="119" name="TextBox 118">
                <a:extLst>
                  <a:ext uri="{FF2B5EF4-FFF2-40B4-BE49-F238E27FC236}">
                    <a16:creationId xmlns:a16="http://schemas.microsoft.com/office/drawing/2014/main" id="{BFF5E862-5288-9E4B-88AE-8C1A9F99201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Choose one of the VEDP chart styles from the ‘Templates’ category.</a:t>
                </a:r>
              </a:p>
            </p:txBody>
          </p:sp>
          <p:sp>
            <p:nvSpPr>
              <p:cNvPr id="120" name="TextBox 119">
                <a:extLst>
                  <a:ext uri="{FF2B5EF4-FFF2-40B4-BE49-F238E27FC236}">
                    <a16:creationId xmlns:a16="http://schemas.microsoft.com/office/drawing/2014/main" id="{12A69AE4-A4C6-4F4C-A368-8510B3FA8B6B}"/>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Make sure that you have access to any linked files, or you won’t be able to apply the chart style successfully.</a:t>
                </a:r>
              </a:p>
            </p:txBody>
          </p:sp>
          <p:grpSp>
            <p:nvGrpSpPr>
              <p:cNvPr id="122" name="Group 121">
                <a:extLst>
                  <a:ext uri="{FF2B5EF4-FFF2-40B4-BE49-F238E27FC236}">
                    <a16:creationId xmlns:a16="http://schemas.microsoft.com/office/drawing/2014/main" id="{CB984C52-4124-AA4D-8458-190AC08BEB6E}"/>
                  </a:ext>
                </a:extLst>
              </p:cNvPr>
              <p:cNvGrpSpPr/>
              <p:nvPr userDrawn="1"/>
            </p:nvGrpSpPr>
            <p:grpSpPr>
              <a:xfrm>
                <a:off x="9541497" y="4046193"/>
                <a:ext cx="2735151" cy="1533198"/>
                <a:chOff x="9296567" y="4910412"/>
                <a:chExt cx="2735151" cy="1533198"/>
              </a:xfrm>
            </p:grpSpPr>
            <p:sp>
              <p:nvSpPr>
                <p:cNvPr id="123" name="Rectangle 122">
                  <a:extLst>
                    <a:ext uri="{FF2B5EF4-FFF2-40B4-BE49-F238E27FC236}">
                      <a16:creationId xmlns:a16="http://schemas.microsoft.com/office/drawing/2014/main" id="{18659A9D-C0B3-654D-927A-38F08EBCB65C}"/>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24" name="TextBox 123">
                  <a:extLst>
                    <a:ext uri="{FF2B5EF4-FFF2-40B4-BE49-F238E27FC236}">
                      <a16:creationId xmlns:a16="http://schemas.microsoft.com/office/drawing/2014/main" id="{9935FD93-FA7C-9049-9D3B-CB3B8CD860B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Re-apply chart style</a:t>
                  </a:r>
                </a:p>
              </p:txBody>
            </p:sp>
            <p:pic>
              <p:nvPicPr>
                <p:cNvPr id="125" name="Graphic 124">
                  <a:extLst>
                    <a:ext uri="{FF2B5EF4-FFF2-40B4-BE49-F238E27FC236}">
                      <a16:creationId xmlns:a16="http://schemas.microsoft.com/office/drawing/2014/main" id="{69667A08-748B-D846-BF72-062D307D126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6" name="TextBox 125">
                  <a:extLst>
                    <a:ext uri="{FF2B5EF4-FFF2-40B4-BE49-F238E27FC236}">
                      <a16:creationId xmlns:a16="http://schemas.microsoft.com/office/drawing/2014/main" id="{AF22BED9-0030-8546-AC2B-0DC1FA590F5F}"/>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a:t>In case of error, return legend entries, data labels, and/or chart formatting by re-applying the current VEDP chart style template.</a:t>
                  </a:r>
                </a:p>
                <a:p>
                  <a:pPr lvl="1"/>
                  <a:r>
                    <a:rPr lang="en-US" sz="900"/>
                    <a:t>Right-click the chart and choose</a:t>
                  </a:r>
                  <a:br>
                    <a:rPr lang="en-US" sz="900"/>
                  </a:br>
                  <a:r>
                    <a:rPr lang="en-US" sz="900"/>
                    <a:t>“Change Chart Type”</a:t>
                  </a:r>
                </a:p>
                <a:p>
                  <a:pPr lvl="1"/>
                  <a:r>
                    <a:rPr lang="en-US" sz="900"/>
                    <a:t>Then choose the matching VEDP chart style from the ‘Templates’ category.</a:t>
                  </a:r>
                </a:p>
              </p:txBody>
            </p:sp>
          </p:grpSp>
        </p:grpSp>
        <p:pic>
          <p:nvPicPr>
            <p:cNvPr id="42" name="Picture 41">
              <a:extLst>
                <a:ext uri="{FF2B5EF4-FFF2-40B4-BE49-F238E27FC236}">
                  <a16:creationId xmlns:a16="http://schemas.microsoft.com/office/drawing/2014/main" id="{CD6F2F4C-A392-B448-B641-E1F03F45D8ED}"/>
                </a:ext>
              </a:extLst>
            </p:cNvPr>
            <p:cNvPicPr>
              <a:picLocks noChangeAspect="1"/>
            </p:cNvPicPr>
            <p:nvPr userDrawn="1"/>
          </p:nvPicPr>
          <p:blipFill rotWithShape="1">
            <a:blip r:embed="rId7"/>
            <a:srcRect r="41694"/>
            <a:stretch/>
          </p:blipFill>
          <p:spPr>
            <a:xfrm>
              <a:off x="9558506" y="2465572"/>
              <a:ext cx="2639328" cy="995540"/>
            </a:xfrm>
            <a:prstGeom prst="rect">
              <a:avLst/>
            </a:prstGeom>
          </p:spPr>
        </p:pic>
        <p:grpSp>
          <p:nvGrpSpPr>
            <p:cNvPr id="48" name="Group 47">
              <a:extLst>
                <a:ext uri="{FF2B5EF4-FFF2-40B4-BE49-F238E27FC236}">
                  <a16:creationId xmlns:a16="http://schemas.microsoft.com/office/drawing/2014/main" id="{D6C89488-0DED-C34F-BA63-BB2306F07887}"/>
                </a:ext>
              </a:extLst>
            </p:cNvPr>
            <p:cNvGrpSpPr/>
            <p:nvPr userDrawn="1"/>
          </p:nvGrpSpPr>
          <p:grpSpPr>
            <a:xfrm>
              <a:off x="9521833" y="1389696"/>
              <a:ext cx="2617883" cy="161583"/>
              <a:chOff x="12352022" y="513115"/>
              <a:chExt cx="2617883" cy="161583"/>
            </a:xfrm>
          </p:grpSpPr>
          <p:sp>
            <p:nvSpPr>
              <p:cNvPr id="49" name="TextBox 48">
                <a:extLst>
                  <a:ext uri="{FF2B5EF4-FFF2-40B4-BE49-F238E27FC236}">
                    <a16:creationId xmlns:a16="http://schemas.microsoft.com/office/drawing/2014/main" id="{E89C6915-94F6-4D4B-8975-ED14DBCA833F}"/>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50" name="TextBox 49">
                <a:extLst>
                  <a:ext uri="{FF2B5EF4-FFF2-40B4-BE49-F238E27FC236}">
                    <a16:creationId xmlns:a16="http://schemas.microsoft.com/office/drawing/2014/main" id="{FE244EEE-8393-A640-A30E-410E64B399C3}"/>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Chart Title</a:t>
                </a:r>
              </a:p>
            </p:txBody>
          </p:sp>
        </p:grpSp>
        <p:grpSp>
          <p:nvGrpSpPr>
            <p:cNvPr id="51" name="Group 50">
              <a:extLst>
                <a:ext uri="{FF2B5EF4-FFF2-40B4-BE49-F238E27FC236}">
                  <a16:creationId xmlns:a16="http://schemas.microsoft.com/office/drawing/2014/main" id="{CD42217E-81A1-104F-955A-C09C77A38FBC}"/>
                </a:ext>
              </a:extLst>
            </p:cNvPr>
            <p:cNvGrpSpPr/>
            <p:nvPr userDrawn="1"/>
          </p:nvGrpSpPr>
          <p:grpSpPr>
            <a:xfrm>
              <a:off x="9521833" y="2233977"/>
              <a:ext cx="2617883" cy="161583"/>
              <a:chOff x="12352022" y="513115"/>
              <a:chExt cx="2617883" cy="161583"/>
            </a:xfrm>
          </p:grpSpPr>
          <p:sp>
            <p:nvSpPr>
              <p:cNvPr id="52" name="TextBox 51">
                <a:extLst>
                  <a:ext uri="{FF2B5EF4-FFF2-40B4-BE49-F238E27FC236}">
                    <a16:creationId xmlns:a16="http://schemas.microsoft.com/office/drawing/2014/main" id="{257BABD1-3C83-0B45-98DC-FCF22AD55A6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53" name="TextBox 52">
                <a:extLst>
                  <a:ext uri="{FF2B5EF4-FFF2-40B4-BE49-F238E27FC236}">
                    <a16:creationId xmlns:a16="http://schemas.microsoft.com/office/drawing/2014/main" id="{81EDE936-4FAD-0D4A-AC8B-538F26FFEA64}"/>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Text</a:t>
                </a:r>
              </a:p>
            </p:txBody>
          </p:sp>
        </p:grpSp>
        <p:grpSp>
          <p:nvGrpSpPr>
            <p:cNvPr id="54" name="Group 53">
              <a:extLst>
                <a:ext uri="{FF2B5EF4-FFF2-40B4-BE49-F238E27FC236}">
                  <a16:creationId xmlns:a16="http://schemas.microsoft.com/office/drawing/2014/main" id="{101CA2DD-38D7-7342-A3CE-110F68E2A092}"/>
                </a:ext>
              </a:extLst>
            </p:cNvPr>
            <p:cNvGrpSpPr/>
            <p:nvPr userDrawn="1"/>
          </p:nvGrpSpPr>
          <p:grpSpPr>
            <a:xfrm>
              <a:off x="9554253" y="3557439"/>
              <a:ext cx="2819399" cy="1181890"/>
              <a:chOff x="9541498" y="3352649"/>
              <a:chExt cx="2819399" cy="1181890"/>
            </a:xfrm>
          </p:grpSpPr>
          <p:grpSp>
            <p:nvGrpSpPr>
              <p:cNvPr id="55" name="Group 54">
                <a:extLst>
                  <a:ext uri="{FF2B5EF4-FFF2-40B4-BE49-F238E27FC236}">
                    <a16:creationId xmlns:a16="http://schemas.microsoft.com/office/drawing/2014/main" id="{90218002-4B02-564D-A2BF-0D09979B2947}"/>
                  </a:ext>
                </a:extLst>
              </p:cNvPr>
              <p:cNvGrpSpPr/>
              <p:nvPr userDrawn="1"/>
            </p:nvGrpSpPr>
            <p:grpSpPr>
              <a:xfrm>
                <a:off x="9541498" y="3352649"/>
                <a:ext cx="2735150" cy="1181890"/>
                <a:chOff x="9541498" y="3751132"/>
                <a:chExt cx="2735150" cy="1181890"/>
              </a:xfrm>
            </p:grpSpPr>
            <p:grpSp>
              <p:nvGrpSpPr>
                <p:cNvPr id="57" name="Group 56">
                  <a:extLst>
                    <a:ext uri="{FF2B5EF4-FFF2-40B4-BE49-F238E27FC236}">
                      <a16:creationId xmlns:a16="http://schemas.microsoft.com/office/drawing/2014/main" id="{CBF6E043-B29D-E249-8D60-765DDD87E278}"/>
                    </a:ext>
                  </a:extLst>
                </p:cNvPr>
                <p:cNvGrpSpPr/>
                <p:nvPr userDrawn="1"/>
              </p:nvGrpSpPr>
              <p:grpSpPr>
                <a:xfrm>
                  <a:off x="9541498" y="3751132"/>
                  <a:ext cx="2735150" cy="1181890"/>
                  <a:chOff x="9296568" y="4910411"/>
                  <a:chExt cx="2735150" cy="1181890"/>
                </a:xfrm>
              </p:grpSpPr>
              <p:sp>
                <p:nvSpPr>
                  <p:cNvPr id="59" name="Rectangle 58">
                    <a:extLst>
                      <a:ext uri="{FF2B5EF4-FFF2-40B4-BE49-F238E27FC236}">
                        <a16:creationId xmlns:a16="http://schemas.microsoft.com/office/drawing/2014/main" id="{8FADE130-D33A-2F46-9CD0-6AC4FFE5A97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0" name="TextBox 59">
                    <a:extLst>
                      <a:ext uri="{FF2B5EF4-FFF2-40B4-BE49-F238E27FC236}">
                        <a16:creationId xmlns:a16="http://schemas.microsoft.com/office/drawing/2014/main" id="{6EAF02B6-2D34-C642-BAC0-B2B8830ABC01}"/>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61" name="TextBox 60">
                    <a:extLst>
                      <a:ext uri="{FF2B5EF4-FFF2-40B4-BE49-F238E27FC236}">
                        <a16:creationId xmlns:a16="http://schemas.microsoft.com/office/drawing/2014/main" id="{C0F09278-9856-1E49-9DED-3BB87FE53943}"/>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58" name="Graphic 57">
                  <a:extLst>
                    <a:ext uri="{FF2B5EF4-FFF2-40B4-BE49-F238E27FC236}">
                      <a16:creationId xmlns:a16="http://schemas.microsoft.com/office/drawing/2014/main" id="{35768E32-3EEB-334C-B735-DDE79280446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56" name="Picture 55">
                <a:extLst>
                  <a:ext uri="{FF2B5EF4-FFF2-40B4-BE49-F238E27FC236}">
                    <a16:creationId xmlns:a16="http://schemas.microsoft.com/office/drawing/2014/main" id="{DA8E6F77-3696-DA42-BC1C-06A344FD999F}"/>
                  </a:ext>
                </a:extLst>
              </p:cNvPr>
              <p:cNvPicPr>
                <a:picLocks noChangeAspect="1"/>
              </p:cNvPicPr>
              <p:nvPr userDrawn="1"/>
            </p:nvPicPr>
            <p:blipFill rotWithShape="1">
              <a:blip r:embed="rId10"/>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59127503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hart and Data Column">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575733" y="1735138"/>
            <a:ext cx="8711703" cy="4430712"/>
          </a:xfrm>
        </p:spPr>
        <p:txBody>
          <a:bodyPr/>
          <a:lstStyle>
            <a:lvl1pPr>
              <a:defRPr b="0">
                <a:solidFill>
                  <a:schemeClr val="tx1">
                    <a:lumMod val="50000"/>
                    <a:lumOff val="50000"/>
                  </a:schemeClr>
                </a:solidFill>
              </a:defRPr>
            </a:lvl1pPr>
          </a:lstStyle>
          <a:p>
            <a:r>
              <a:rPr lang="en-US"/>
              <a:t>Click icon to add chart</a:t>
            </a:r>
          </a:p>
        </p:txBody>
      </p:sp>
      <p:sp>
        <p:nvSpPr>
          <p:cNvPr id="8" name="Table Placeholder 7">
            <a:extLst>
              <a:ext uri="{FF2B5EF4-FFF2-40B4-BE49-F238E27FC236}">
                <a16:creationId xmlns:a16="http://schemas.microsoft.com/office/drawing/2014/main" id="{DF938284-2F1E-584D-9337-D7B87CBC5AA9}"/>
              </a:ext>
            </a:extLst>
          </p:cNvPr>
          <p:cNvSpPr>
            <a:spLocks noGrp="1"/>
          </p:cNvSpPr>
          <p:nvPr>
            <p:ph type="tbl" sz="quarter" idx="114"/>
          </p:nvPr>
        </p:nvSpPr>
        <p:spPr>
          <a:xfrm>
            <a:off x="9735671" y="1877126"/>
            <a:ext cx="1880596" cy="4142674"/>
          </a:xfrm>
        </p:spPr>
        <p:txBody>
          <a:bodyPr/>
          <a:lstStyle>
            <a:lvl1pPr>
              <a:defRPr b="0">
                <a:solidFill>
                  <a:schemeClr val="tx1">
                    <a:lumMod val="50000"/>
                    <a:lumOff val="50000"/>
                  </a:schemeClr>
                </a:solidFill>
              </a:defRPr>
            </a:lvl1pPr>
          </a:lstStyle>
          <a:p>
            <a:r>
              <a:rPr lang="en-US"/>
              <a:t>Click icon to add table</a:t>
            </a:r>
          </a:p>
        </p:txBody>
      </p:sp>
      <p:sp>
        <p:nvSpPr>
          <p:cNvPr id="1000" name="Footnotes Placeholder">
            <a:extLst>
              <a:ext uri="{FF2B5EF4-FFF2-40B4-BE49-F238E27FC236}">
                <a16:creationId xmlns:a16="http://schemas.microsoft.com/office/drawing/2014/main" id="{36A53150-D08D-9841-95BF-646666A13560}"/>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4" name="Text Placeholder 6">
            <a:extLst>
              <a:ext uri="{FF2B5EF4-FFF2-40B4-BE49-F238E27FC236}">
                <a16:creationId xmlns:a16="http://schemas.microsoft.com/office/drawing/2014/main" id="{0EEFD735-CCDF-DA48-8D5E-802BC215A699}"/>
              </a:ext>
            </a:extLst>
          </p:cNvPr>
          <p:cNvSpPr>
            <a:spLocks noGrp="1"/>
          </p:cNvSpPr>
          <p:nvPr>
            <p:ph type="body" sz="quarter" idx="108" hasCustomPrompt="1"/>
          </p:nvPr>
        </p:nvSpPr>
        <p:spPr>
          <a:xfrm>
            <a:off x="575734"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75" name="Text Placeholder 6">
            <a:extLst>
              <a:ext uri="{FF2B5EF4-FFF2-40B4-BE49-F238E27FC236}">
                <a16:creationId xmlns:a16="http://schemas.microsoft.com/office/drawing/2014/main" id="{F2931FB7-F796-0A4B-9B3B-8EBE98CF1E80}"/>
              </a:ext>
            </a:extLst>
          </p:cNvPr>
          <p:cNvSpPr>
            <a:spLocks noGrp="1"/>
          </p:cNvSpPr>
          <p:nvPr>
            <p:ph type="body" sz="quarter" idx="115" hasCustomPrompt="1"/>
          </p:nvPr>
        </p:nvSpPr>
        <p:spPr>
          <a:xfrm>
            <a:off x="9735671" y="1211494"/>
            <a:ext cx="1880596" cy="399750"/>
          </a:xfrm>
          <a:blipFill dpi="0" rotWithShape="1">
            <a:blip r:embed="rId2"/>
            <a:srcRect/>
            <a:tile tx="0" ty="0" sx="100000" sy="100000" flip="xy" algn="b"/>
          </a:blipFill>
          <a:effectLst/>
        </p:spPr>
        <p:txBody>
          <a:bodyPr wrap="square" bIns="54000" anchor="b">
            <a:spAutoFit/>
          </a:bodyPr>
          <a:lstStyle>
            <a:lvl1pPr marL="3175" indent="0" algn="ctr">
              <a:spcBef>
                <a:spcPts val="100"/>
              </a:spcBef>
              <a:spcAft>
                <a:spcPts val="0"/>
              </a:spcAft>
              <a:tabLst/>
              <a:defRPr sz="1200">
                <a:solidFill>
                  <a:schemeClr val="tx1"/>
                </a:solidFill>
              </a:defRPr>
            </a:lvl1pPr>
            <a:lvl2pPr marL="3175" indent="0" algn="ctr">
              <a:spcAft>
                <a:spcPts val="0"/>
              </a:spcAft>
              <a:buFont typeface="Arial" panose="020B0604020202020204" pitchFamily="34" charset="0"/>
              <a:buNone/>
              <a:tabLst/>
              <a:defRPr sz="1200">
                <a:solidFill>
                  <a:schemeClr val="tx1"/>
                </a:solidFill>
              </a:defRPr>
            </a:lvl2pPr>
            <a:lvl3pPr marL="3175" indent="0" algn="ctr">
              <a:buNone/>
              <a:tabLst/>
              <a:defRPr sz="1200">
                <a:solidFill>
                  <a:schemeClr val="tx1"/>
                </a:solidFill>
              </a:defRPr>
            </a:lvl3pPr>
            <a:lvl4pPr marL="3175" indent="0" algn="ctr">
              <a:spcAft>
                <a:spcPts val="0"/>
              </a:spcAft>
              <a:buNone/>
              <a:tabLst/>
              <a:defRPr sz="1200">
                <a:solidFill>
                  <a:schemeClr val="tx1"/>
                </a:solidFill>
              </a:defRPr>
            </a:lvl4pPr>
            <a:lvl5pPr marL="3175" indent="0" algn="ctr">
              <a:spcAft>
                <a:spcPts val="0"/>
              </a:spcAft>
              <a:buFont typeface="Arial" panose="020B0604020202020204" pitchFamily="34" charset="0"/>
              <a:buNone/>
              <a:tabLst/>
              <a:defRPr sz="1200">
                <a:solidFill>
                  <a:schemeClr val="tx1"/>
                </a:solidFill>
              </a:defRPr>
            </a:lvl5pPr>
            <a:lvl6pPr marL="3175" indent="0" algn="ctr">
              <a:spcAft>
                <a:spcPts val="0"/>
              </a:spcAft>
              <a:buNone/>
              <a:tabLst/>
              <a:defRPr sz="1200">
                <a:solidFill>
                  <a:schemeClr val="tx1"/>
                </a:solidFill>
              </a:defRPr>
            </a:lvl6pPr>
            <a:lvl7pPr marL="3175" indent="0" algn="ctr">
              <a:spcAft>
                <a:spcPts val="0"/>
              </a:spcAft>
              <a:buNone/>
              <a:tabLst/>
              <a:defRPr sz="1200">
                <a:solidFill>
                  <a:schemeClr val="tx1"/>
                </a:solidFill>
              </a:defRPr>
            </a:lvl7pPr>
            <a:lvl8pPr marL="3175" indent="0" algn="ctr">
              <a:spcAft>
                <a:spcPts val="0"/>
              </a:spcAft>
              <a:buNone/>
              <a:tabLst/>
              <a:defRPr sz="1200">
                <a:solidFill>
                  <a:schemeClr val="tx1"/>
                </a:solidFill>
              </a:defRPr>
            </a:lvl8pPr>
            <a:lvl9pPr marL="3175" indent="0" algn="ctr">
              <a:spcAft>
                <a:spcPts val="0"/>
              </a:spcAft>
              <a:buNone/>
              <a:tabLst/>
              <a:defRPr sz="1200">
                <a:solidFill>
                  <a:schemeClr val="tx1"/>
                </a:solidFill>
              </a:defRPr>
            </a:lvl9pPr>
          </a:lstStyle>
          <a:p>
            <a:pPr lvl="0"/>
            <a:r>
              <a:rPr lang="en-US"/>
              <a:t>Click to add topic</a:t>
            </a:r>
          </a:p>
          <a:p>
            <a:pPr lvl="1"/>
            <a:r>
              <a:rPr lang="en-US"/>
              <a:t>Subtitle</a:t>
            </a:r>
          </a:p>
        </p:txBody>
      </p:sp>
      <p:sp>
        <p:nvSpPr>
          <p:cNvPr id="6" name="Date Placeholder 5">
            <a:extLst>
              <a:ext uri="{FF2B5EF4-FFF2-40B4-BE49-F238E27FC236}">
                <a16:creationId xmlns:a16="http://schemas.microsoft.com/office/drawing/2014/main" id="{00E0EC71-9467-C940-A5C4-5AE2C2306E07}"/>
              </a:ext>
            </a:extLst>
          </p:cNvPr>
          <p:cNvSpPr>
            <a:spLocks noGrp="1"/>
          </p:cNvSpPr>
          <p:nvPr userDrawn="1">
            <p:ph type="dt" sz="half" idx="116"/>
          </p:nvPr>
        </p:nvSpPr>
        <p:spPr/>
        <p:txBody>
          <a:bodyPr/>
          <a:lstStyle/>
          <a:p>
            <a:endParaRPr lang="en-US"/>
          </a:p>
        </p:txBody>
      </p:sp>
      <p:sp>
        <p:nvSpPr>
          <p:cNvPr id="7" name="Footer Placeholder 6">
            <a:extLst>
              <a:ext uri="{FF2B5EF4-FFF2-40B4-BE49-F238E27FC236}">
                <a16:creationId xmlns:a16="http://schemas.microsoft.com/office/drawing/2014/main" id="{71040711-9799-2949-9707-943424D7AC7C}"/>
              </a:ext>
            </a:extLst>
          </p:cNvPr>
          <p:cNvSpPr>
            <a:spLocks noGrp="1"/>
          </p:cNvSpPr>
          <p:nvPr userDrawn="1">
            <p:ph type="ftr" sz="quarter" idx="117"/>
          </p:nvPr>
        </p:nvSpPr>
        <p:spPr/>
        <p:txBody>
          <a:bodyPr/>
          <a:lstStyle/>
          <a:p>
            <a:endParaRPr lang="en-US"/>
          </a:p>
        </p:txBody>
      </p:sp>
      <p:sp>
        <p:nvSpPr>
          <p:cNvPr id="10" name="Slide Number Placeholder 9">
            <a:extLst>
              <a:ext uri="{FF2B5EF4-FFF2-40B4-BE49-F238E27FC236}">
                <a16:creationId xmlns:a16="http://schemas.microsoft.com/office/drawing/2014/main" id="{1CAA4B3A-4569-BE43-A665-117BBA2442D6}"/>
              </a:ext>
            </a:extLst>
          </p:cNvPr>
          <p:cNvSpPr>
            <a:spLocks noGrp="1"/>
          </p:cNvSpPr>
          <p:nvPr userDrawn="1">
            <p:ph type="sldNum" sz="quarter" idx="118"/>
          </p:nvPr>
        </p:nvSpPr>
        <p:spPr/>
        <p:txBody>
          <a:bodyPr/>
          <a:lstStyle/>
          <a:p>
            <a:pPr marL="12700"/>
            <a:fld id="{078C017C-E1B9-8443-B047-B08AAA027B45}" type="slidenum">
              <a:rPr lang="en-US" smtClean="0"/>
              <a:pPr marL="12700"/>
              <a:t>‹#›</a:t>
            </a:fld>
            <a:endParaRPr lang="en-US"/>
          </a:p>
        </p:txBody>
      </p:sp>
      <p:grpSp>
        <p:nvGrpSpPr>
          <p:cNvPr id="17" name="Group 16">
            <a:extLst>
              <a:ext uri="{FF2B5EF4-FFF2-40B4-BE49-F238E27FC236}">
                <a16:creationId xmlns:a16="http://schemas.microsoft.com/office/drawing/2014/main" id="{B864070E-A16B-8540-98EE-429756CFB812}"/>
              </a:ext>
            </a:extLst>
          </p:cNvPr>
          <p:cNvGrpSpPr/>
          <p:nvPr userDrawn="1"/>
        </p:nvGrpSpPr>
        <p:grpSpPr>
          <a:xfrm>
            <a:off x="12532245" y="-1"/>
            <a:ext cx="2979898" cy="9267987"/>
            <a:chOff x="9399182" y="-1"/>
            <a:chExt cx="2961715" cy="9267987"/>
          </a:xfrm>
        </p:grpSpPr>
        <p:sp>
          <p:nvSpPr>
            <p:cNvPr id="77" name="Rectangle 76">
              <a:extLst>
                <a:ext uri="{FF2B5EF4-FFF2-40B4-BE49-F238E27FC236}">
                  <a16:creationId xmlns:a16="http://schemas.microsoft.com/office/drawing/2014/main" id="{0603B78C-BC30-1640-816E-69DA7CE83E2F}"/>
                </a:ext>
              </a:extLst>
            </p:cNvPr>
            <p:cNvSpPr/>
            <p:nvPr userDrawn="1"/>
          </p:nvSpPr>
          <p:spPr>
            <a:xfrm>
              <a:off x="9399182" y="-1"/>
              <a:ext cx="2798651" cy="926798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56" name="Picture 55">
              <a:extLst>
                <a:ext uri="{FF2B5EF4-FFF2-40B4-BE49-F238E27FC236}">
                  <a16:creationId xmlns:a16="http://schemas.microsoft.com/office/drawing/2014/main" id="{9826FF71-3274-F14B-B6F7-E4981E065655}"/>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78" name="Group 77">
              <a:extLst>
                <a:ext uri="{FF2B5EF4-FFF2-40B4-BE49-F238E27FC236}">
                  <a16:creationId xmlns:a16="http://schemas.microsoft.com/office/drawing/2014/main" id="{98722430-68E5-C049-90EB-29339645DED9}"/>
                </a:ext>
              </a:extLst>
            </p:cNvPr>
            <p:cNvGrpSpPr/>
            <p:nvPr userDrawn="1"/>
          </p:nvGrpSpPr>
          <p:grpSpPr>
            <a:xfrm>
              <a:off x="9541497" y="162442"/>
              <a:ext cx="2819400" cy="814510"/>
              <a:chOff x="-3644733" y="165205"/>
              <a:chExt cx="2819400" cy="814510"/>
            </a:xfrm>
          </p:grpSpPr>
          <p:sp>
            <p:nvSpPr>
              <p:cNvPr id="104" name="Rectangle 103">
                <a:extLst>
                  <a:ext uri="{FF2B5EF4-FFF2-40B4-BE49-F238E27FC236}">
                    <a16:creationId xmlns:a16="http://schemas.microsoft.com/office/drawing/2014/main" id="{28459255-E604-9343-87B1-649A2191144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05" name="TextBox 104">
                <a:extLst>
                  <a:ext uri="{FF2B5EF4-FFF2-40B4-BE49-F238E27FC236}">
                    <a16:creationId xmlns:a16="http://schemas.microsoft.com/office/drawing/2014/main" id="{69499230-744A-E14B-9620-23F5B206215C}"/>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06" name="Picture 105">
                <a:extLst>
                  <a:ext uri="{FF2B5EF4-FFF2-40B4-BE49-F238E27FC236}">
                    <a16:creationId xmlns:a16="http://schemas.microsoft.com/office/drawing/2014/main" id="{8FC05E41-787F-E742-AC69-7912BA0ECCDD}"/>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sp>
          <p:nvSpPr>
            <p:cNvPr id="96" name="TextBox 95">
              <a:extLst>
                <a:ext uri="{FF2B5EF4-FFF2-40B4-BE49-F238E27FC236}">
                  <a16:creationId xmlns:a16="http://schemas.microsoft.com/office/drawing/2014/main" id="{70A88B44-6F55-9D4E-AAE3-48BC61C70445}"/>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97" name="Straight Connector 96">
              <a:extLst>
                <a:ext uri="{FF2B5EF4-FFF2-40B4-BE49-F238E27FC236}">
                  <a16:creationId xmlns:a16="http://schemas.microsoft.com/office/drawing/2014/main" id="{2EAF79B9-3FFF-124B-B1AD-B933F83802D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E91BEBAB-D308-674B-BF77-07962DFE1A2B}"/>
                </a:ext>
              </a:extLst>
            </p:cNvPr>
            <p:cNvGrpSpPr/>
            <p:nvPr userDrawn="1"/>
          </p:nvGrpSpPr>
          <p:grpSpPr>
            <a:xfrm>
              <a:off x="9521833" y="8003265"/>
              <a:ext cx="2676002" cy="1052731"/>
              <a:chOff x="9521833" y="2036288"/>
              <a:chExt cx="2676002" cy="1052731"/>
            </a:xfrm>
          </p:grpSpPr>
          <p:sp>
            <p:nvSpPr>
              <p:cNvPr id="98" name="TextBox 97">
                <a:extLst>
                  <a:ext uri="{FF2B5EF4-FFF2-40B4-BE49-F238E27FC236}">
                    <a16:creationId xmlns:a16="http://schemas.microsoft.com/office/drawing/2014/main" id="{8E29CC56-D7E0-A743-8545-C70D5769BB5C}"/>
                  </a:ext>
                </a:extLst>
              </p:cNvPr>
              <p:cNvSpPr txBox="1"/>
              <p:nvPr userDrawn="1"/>
            </p:nvSpPr>
            <p:spPr>
              <a:xfrm>
                <a:off x="9558507" y="2036288"/>
                <a:ext cx="99666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ADD A NEW CHART</a:t>
                </a:r>
              </a:p>
            </p:txBody>
          </p:sp>
          <p:cxnSp>
            <p:nvCxnSpPr>
              <p:cNvPr id="99" name="Straight Connector 98">
                <a:extLst>
                  <a:ext uri="{FF2B5EF4-FFF2-40B4-BE49-F238E27FC236}">
                    <a16:creationId xmlns:a16="http://schemas.microsoft.com/office/drawing/2014/main" id="{37B40757-D8C1-EC41-9432-9B3652E3815F}"/>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8B671BCA-8DB9-E644-88C5-5BC2E18F782D}"/>
                  </a:ext>
                </a:extLst>
              </p:cNvPr>
              <p:cNvGrpSpPr/>
              <p:nvPr userDrawn="1"/>
            </p:nvGrpSpPr>
            <p:grpSpPr>
              <a:xfrm>
                <a:off x="9521833" y="2361408"/>
                <a:ext cx="2557391" cy="323165"/>
                <a:chOff x="12352022" y="513115"/>
                <a:chExt cx="2557391" cy="323165"/>
              </a:xfrm>
            </p:grpSpPr>
            <p:sp>
              <p:nvSpPr>
                <p:cNvPr id="102" name="TextBox 101">
                  <a:extLst>
                    <a:ext uri="{FF2B5EF4-FFF2-40B4-BE49-F238E27FC236}">
                      <a16:creationId xmlns:a16="http://schemas.microsoft.com/office/drawing/2014/main" id="{BEB784B2-AE05-A243-8FAF-336308ECBC8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03" name="TextBox 102">
                  <a:extLst>
                    <a:ext uri="{FF2B5EF4-FFF2-40B4-BE49-F238E27FC236}">
                      <a16:creationId xmlns:a16="http://schemas.microsoft.com/office/drawing/2014/main" id="{D7E60B24-6CF0-D146-894F-6A8172D604DE}"/>
                    </a:ext>
                  </a:extLst>
                </p:cNvPr>
                <p:cNvSpPr txBox="1"/>
                <p:nvPr userDrawn="1"/>
              </p:nvSpPr>
              <p:spPr>
                <a:xfrm>
                  <a:off x="12516615" y="513115"/>
                  <a:ext cx="2392798"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Open the </a:t>
                  </a:r>
                  <a:r>
                    <a:rPr lang="en-US" sz="1050" b="1"/>
                    <a:t>VEDP Template Assets file </a:t>
                  </a:r>
                  <a:r>
                    <a:rPr lang="en-US" sz="1050"/>
                    <a:t>and copy the desired chart type into your presentation.</a:t>
                  </a:r>
                </a:p>
              </p:txBody>
            </p:sp>
          </p:grpSp>
          <p:sp>
            <p:nvSpPr>
              <p:cNvPr id="101" name="TextBox 100">
                <a:extLst>
                  <a:ext uri="{FF2B5EF4-FFF2-40B4-BE49-F238E27FC236}">
                    <a16:creationId xmlns:a16="http://schemas.microsoft.com/office/drawing/2014/main" id="{F035D1A9-98A9-1540-B091-D067CCAC007C}"/>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These samples slide have further instructions and have been set up so you can easily edit the data.</a:t>
                </a:r>
              </a:p>
            </p:txBody>
          </p:sp>
        </p:grpSp>
        <p:sp>
          <p:nvSpPr>
            <p:cNvPr id="80" name="TextBox 79">
              <a:extLst>
                <a:ext uri="{FF2B5EF4-FFF2-40B4-BE49-F238E27FC236}">
                  <a16:creationId xmlns:a16="http://schemas.microsoft.com/office/drawing/2014/main" id="{FFA433AB-7A83-FE46-B7D5-E3E9223C94FE}"/>
                </a:ext>
              </a:extLst>
            </p:cNvPr>
            <p:cNvSpPr txBox="1"/>
            <p:nvPr userDrawn="1"/>
          </p:nvSpPr>
          <p:spPr>
            <a:xfrm>
              <a:off x="9558507" y="4314602"/>
              <a:ext cx="15424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FORMAT AN EXISTING CHART</a:t>
              </a:r>
            </a:p>
          </p:txBody>
        </p:sp>
        <p:cxnSp>
          <p:nvCxnSpPr>
            <p:cNvPr id="81" name="Straight Connector 80">
              <a:extLst>
                <a:ext uri="{FF2B5EF4-FFF2-40B4-BE49-F238E27FC236}">
                  <a16:creationId xmlns:a16="http://schemas.microsoft.com/office/drawing/2014/main" id="{1B09943F-2379-404A-B5DA-E7E4342B6C86}"/>
                </a:ext>
              </a:extLst>
            </p:cNvPr>
            <p:cNvCxnSpPr>
              <a:cxnSpLocks/>
            </p:cNvCxnSpPr>
            <p:nvPr userDrawn="1"/>
          </p:nvCxnSpPr>
          <p:spPr>
            <a:xfrm>
              <a:off x="9558507" y="4517219"/>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BFB006C8-D07C-804E-A72A-C50DBCE312C1}"/>
                </a:ext>
              </a:extLst>
            </p:cNvPr>
            <p:cNvSpPr txBox="1">
              <a:spLocks noChangeAspect="1"/>
            </p:cNvSpPr>
            <p:nvPr userDrawn="1"/>
          </p:nvSpPr>
          <p:spPr>
            <a:xfrm>
              <a:off x="9521833" y="466474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83" name="TextBox 82">
              <a:extLst>
                <a:ext uri="{FF2B5EF4-FFF2-40B4-BE49-F238E27FC236}">
                  <a16:creationId xmlns:a16="http://schemas.microsoft.com/office/drawing/2014/main" id="{98FC336D-B4A7-4A4A-8AD2-1F9EF034E3AD}"/>
                </a:ext>
              </a:extLst>
            </p:cNvPr>
            <p:cNvSpPr txBox="1">
              <a:spLocks noChangeAspect="1"/>
            </p:cNvSpPr>
            <p:nvPr userDrawn="1"/>
          </p:nvSpPr>
          <p:spPr>
            <a:xfrm>
              <a:off x="9521833" y="539179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84" name="TextBox 83">
              <a:extLst>
                <a:ext uri="{FF2B5EF4-FFF2-40B4-BE49-F238E27FC236}">
                  <a16:creationId xmlns:a16="http://schemas.microsoft.com/office/drawing/2014/main" id="{84AF85FC-1918-5741-B46D-5BD00B98A8B4}"/>
                </a:ext>
              </a:extLst>
            </p:cNvPr>
            <p:cNvSpPr txBox="1"/>
            <p:nvPr userDrawn="1"/>
          </p:nvSpPr>
          <p:spPr>
            <a:xfrm>
              <a:off x="9686426" y="4639722"/>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Select the chart placeholder and then paste your existing chart.</a:t>
              </a:r>
            </a:p>
          </p:txBody>
        </p:sp>
        <p:sp>
          <p:nvSpPr>
            <p:cNvPr id="85" name="TextBox 84">
              <a:extLst>
                <a:ext uri="{FF2B5EF4-FFF2-40B4-BE49-F238E27FC236}">
                  <a16:creationId xmlns:a16="http://schemas.microsoft.com/office/drawing/2014/main" id="{D674EEFB-EF3C-2340-BE36-9233624B9308}"/>
                </a:ext>
              </a:extLst>
            </p:cNvPr>
            <p:cNvSpPr txBox="1"/>
            <p:nvPr userDrawn="1"/>
          </p:nvSpPr>
          <p:spPr>
            <a:xfrm>
              <a:off x="9686426" y="5368928"/>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Right-click on the chart and choose “Change Chart Type…”</a:t>
              </a:r>
            </a:p>
          </p:txBody>
        </p:sp>
        <p:sp>
          <p:nvSpPr>
            <p:cNvPr id="86" name="TextBox 85">
              <a:extLst>
                <a:ext uri="{FF2B5EF4-FFF2-40B4-BE49-F238E27FC236}">
                  <a16:creationId xmlns:a16="http://schemas.microsoft.com/office/drawing/2014/main" id="{C863F9D4-3950-0241-850A-C88B4A8B95D4}"/>
                </a:ext>
              </a:extLst>
            </p:cNvPr>
            <p:cNvSpPr txBox="1">
              <a:spLocks noChangeAspect="1"/>
            </p:cNvSpPr>
            <p:nvPr userDrawn="1"/>
          </p:nvSpPr>
          <p:spPr>
            <a:xfrm>
              <a:off x="9521833" y="585478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3</a:t>
              </a:r>
            </a:p>
          </p:txBody>
        </p:sp>
        <p:sp>
          <p:nvSpPr>
            <p:cNvPr id="87" name="TextBox 86">
              <a:extLst>
                <a:ext uri="{FF2B5EF4-FFF2-40B4-BE49-F238E27FC236}">
                  <a16:creationId xmlns:a16="http://schemas.microsoft.com/office/drawing/2014/main" id="{157780A7-784A-CE4E-A107-6AD67C7614A3}"/>
                </a:ext>
              </a:extLst>
            </p:cNvPr>
            <p:cNvSpPr txBox="1"/>
            <p:nvPr userDrawn="1"/>
          </p:nvSpPr>
          <p:spPr>
            <a:xfrm>
              <a:off x="9686426" y="5831918"/>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Choose one of the VEDP chart styles from the ‘Templates’ category.</a:t>
              </a:r>
            </a:p>
          </p:txBody>
        </p:sp>
        <p:sp>
          <p:nvSpPr>
            <p:cNvPr id="88" name="TextBox 87">
              <a:extLst>
                <a:ext uri="{FF2B5EF4-FFF2-40B4-BE49-F238E27FC236}">
                  <a16:creationId xmlns:a16="http://schemas.microsoft.com/office/drawing/2014/main" id="{E018981E-3F1A-7146-9B4B-4485D3EC3895}"/>
                </a:ext>
              </a:extLst>
            </p:cNvPr>
            <p:cNvSpPr txBox="1"/>
            <p:nvPr userDrawn="1"/>
          </p:nvSpPr>
          <p:spPr>
            <a:xfrm>
              <a:off x="9674268" y="5002944"/>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Make sure that you have access to any linked files, or you won’t be able to apply the chart style successfully.</a:t>
              </a:r>
            </a:p>
          </p:txBody>
        </p:sp>
        <p:grpSp>
          <p:nvGrpSpPr>
            <p:cNvPr id="91" name="Group 90">
              <a:extLst>
                <a:ext uri="{FF2B5EF4-FFF2-40B4-BE49-F238E27FC236}">
                  <a16:creationId xmlns:a16="http://schemas.microsoft.com/office/drawing/2014/main" id="{A9C1A1AE-A143-5B45-A93F-D2BC596FED56}"/>
                </a:ext>
              </a:extLst>
            </p:cNvPr>
            <p:cNvGrpSpPr/>
            <p:nvPr userDrawn="1"/>
          </p:nvGrpSpPr>
          <p:grpSpPr>
            <a:xfrm>
              <a:off x="9541497" y="6326507"/>
              <a:ext cx="2735151" cy="1475581"/>
              <a:chOff x="9296567" y="4910411"/>
              <a:chExt cx="2735151" cy="1475581"/>
            </a:xfrm>
          </p:grpSpPr>
          <p:sp>
            <p:nvSpPr>
              <p:cNvPr id="92" name="Rectangle 91">
                <a:extLst>
                  <a:ext uri="{FF2B5EF4-FFF2-40B4-BE49-F238E27FC236}">
                    <a16:creationId xmlns:a16="http://schemas.microsoft.com/office/drawing/2014/main" id="{205C3E47-B0FB-6D42-8FE4-533A345103DB}"/>
                  </a:ext>
                </a:extLst>
              </p:cNvPr>
              <p:cNvSpPr/>
              <p:nvPr userDrawn="1"/>
            </p:nvSpPr>
            <p:spPr>
              <a:xfrm>
                <a:off x="9296567" y="4910411"/>
                <a:ext cx="2735151" cy="1475581"/>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93" name="TextBox 92">
                <a:extLst>
                  <a:ext uri="{FF2B5EF4-FFF2-40B4-BE49-F238E27FC236}">
                    <a16:creationId xmlns:a16="http://schemas.microsoft.com/office/drawing/2014/main" id="{05B3AB36-11C1-B345-B1C6-7001A0937B3A}"/>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Re-apply chart style</a:t>
                </a:r>
              </a:p>
            </p:txBody>
          </p:sp>
          <p:pic>
            <p:nvPicPr>
              <p:cNvPr id="94" name="Graphic 93">
                <a:extLst>
                  <a:ext uri="{FF2B5EF4-FFF2-40B4-BE49-F238E27FC236}">
                    <a16:creationId xmlns:a16="http://schemas.microsoft.com/office/drawing/2014/main" id="{26163978-6874-234F-A1D2-D12DAC94998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5" name="TextBox 94">
                <a:extLst>
                  <a:ext uri="{FF2B5EF4-FFF2-40B4-BE49-F238E27FC236}">
                    <a16:creationId xmlns:a16="http://schemas.microsoft.com/office/drawing/2014/main" id="{69B7DBB9-0A63-934A-91F0-2514D4B24140}"/>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a:t>In case of error, return legend entries, data labels, and/or chart formatting by re-applying the current VEDP chart style template.</a:t>
                </a:r>
              </a:p>
              <a:p>
                <a:pPr lvl="1"/>
                <a:r>
                  <a:rPr lang="en-US" sz="900"/>
                  <a:t>Right-click the chart and choose</a:t>
                </a:r>
                <a:br>
                  <a:rPr lang="en-US" sz="900"/>
                </a:br>
                <a:r>
                  <a:rPr lang="en-US" sz="900"/>
                  <a:t>“Change Chart Type”</a:t>
                </a:r>
              </a:p>
              <a:p>
                <a:pPr lvl="1"/>
                <a:r>
                  <a:rPr lang="en-US" sz="900"/>
                  <a:t>Then choose the matching VEDP chart style from the ‘Templates’ category.</a:t>
                </a:r>
              </a:p>
            </p:txBody>
          </p:sp>
        </p:grpSp>
        <p:grpSp>
          <p:nvGrpSpPr>
            <p:cNvPr id="46" name="Group 45">
              <a:extLst>
                <a:ext uri="{FF2B5EF4-FFF2-40B4-BE49-F238E27FC236}">
                  <a16:creationId xmlns:a16="http://schemas.microsoft.com/office/drawing/2014/main" id="{EDC97BF0-6494-054B-BAC7-76B18D15D463}"/>
                </a:ext>
              </a:extLst>
            </p:cNvPr>
            <p:cNvGrpSpPr/>
            <p:nvPr userDrawn="1"/>
          </p:nvGrpSpPr>
          <p:grpSpPr>
            <a:xfrm>
              <a:off x="9541497" y="1990481"/>
              <a:ext cx="2735151" cy="2124319"/>
              <a:chOff x="9296567" y="4910411"/>
              <a:chExt cx="2735151" cy="2124319"/>
            </a:xfrm>
          </p:grpSpPr>
          <p:sp>
            <p:nvSpPr>
              <p:cNvPr id="47" name="Rectangle 46">
                <a:extLst>
                  <a:ext uri="{FF2B5EF4-FFF2-40B4-BE49-F238E27FC236}">
                    <a16:creationId xmlns:a16="http://schemas.microsoft.com/office/drawing/2014/main" id="{6EA5BD78-0CA6-1D44-AE20-16CD67196734}"/>
                  </a:ext>
                </a:extLst>
              </p:cNvPr>
              <p:cNvSpPr/>
              <p:nvPr userDrawn="1"/>
            </p:nvSpPr>
            <p:spPr>
              <a:xfrm>
                <a:off x="9296567" y="4910411"/>
                <a:ext cx="2735151" cy="2124319"/>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8" name="TextBox 47">
                <a:extLst>
                  <a:ext uri="{FF2B5EF4-FFF2-40B4-BE49-F238E27FC236}">
                    <a16:creationId xmlns:a16="http://schemas.microsoft.com/office/drawing/2014/main" id="{C9B44842-1EC0-ED4A-8AFC-859D10E283B5}"/>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Use a table to add data column</a:t>
                </a:r>
              </a:p>
            </p:txBody>
          </p:sp>
          <p:pic>
            <p:nvPicPr>
              <p:cNvPr id="49" name="Graphic 48">
                <a:extLst>
                  <a:ext uri="{FF2B5EF4-FFF2-40B4-BE49-F238E27FC236}">
                    <a16:creationId xmlns:a16="http://schemas.microsoft.com/office/drawing/2014/main" id="{B936CAA9-65A1-FC4A-875A-7639F7F131D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50" name="TextBox 49">
                <a:extLst>
                  <a:ext uri="{FF2B5EF4-FFF2-40B4-BE49-F238E27FC236}">
                    <a16:creationId xmlns:a16="http://schemas.microsoft.com/office/drawing/2014/main" id="{101400F7-2DF9-9C4E-8B1C-7F2315B8FDAC}"/>
                  </a:ext>
                </a:extLst>
              </p:cNvPr>
              <p:cNvSpPr txBox="1"/>
              <p:nvPr userDrawn="1"/>
            </p:nvSpPr>
            <p:spPr>
              <a:xfrm>
                <a:off x="9471805" y="5300350"/>
                <a:ext cx="2399065" cy="648896"/>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pPr lvl="1"/>
                <a:r>
                  <a:rPr lang="en-US" sz="900"/>
                  <a:t>Click the table icon and insert a table with</a:t>
                </a:r>
                <a:br>
                  <a:rPr lang="en-US" sz="900"/>
                </a:br>
                <a:r>
                  <a:rPr lang="en-US" sz="900"/>
                  <a:t>1 column and the same number of rows as categories in your chart.</a:t>
                </a:r>
              </a:p>
              <a:p>
                <a:pPr lvl="1"/>
                <a:r>
                  <a:rPr lang="en-US" sz="900"/>
                  <a:t>In the Table Design tab, choose the</a:t>
                </a:r>
                <a:br>
                  <a:rPr lang="en-US" sz="900"/>
                </a:br>
                <a:r>
                  <a:rPr lang="en-US" sz="900"/>
                  <a:t>“No Style, No Grid” table style.</a:t>
                </a:r>
              </a:p>
            </p:txBody>
          </p:sp>
          <p:sp>
            <p:nvSpPr>
              <p:cNvPr id="55" name="TextBox 54">
                <a:extLst>
                  <a:ext uri="{FF2B5EF4-FFF2-40B4-BE49-F238E27FC236}">
                    <a16:creationId xmlns:a16="http://schemas.microsoft.com/office/drawing/2014/main" id="{3BF0B28D-ACDE-694B-AE6D-61241B43B83E}"/>
                  </a:ext>
                </a:extLst>
              </p:cNvPr>
              <p:cNvSpPr txBox="1"/>
              <p:nvPr userDrawn="1"/>
            </p:nvSpPr>
            <p:spPr>
              <a:xfrm>
                <a:off x="9471805" y="6471925"/>
                <a:ext cx="2284765" cy="274947"/>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pPr lvl="1"/>
                <a:r>
                  <a:rPr lang="en-US" sz="900"/>
                  <a:t>Change the text alignment to “Center”</a:t>
                </a:r>
              </a:p>
              <a:p>
                <a:pPr lvl="1"/>
                <a:r>
                  <a:rPr lang="en-US" sz="900"/>
                  <a:t>Change the vertical alignment of the cells to “Middle”</a:t>
                </a:r>
              </a:p>
            </p:txBody>
          </p:sp>
        </p:grpSp>
        <p:pic>
          <p:nvPicPr>
            <p:cNvPr id="14" name="Picture 13">
              <a:extLst>
                <a:ext uri="{FF2B5EF4-FFF2-40B4-BE49-F238E27FC236}">
                  <a16:creationId xmlns:a16="http://schemas.microsoft.com/office/drawing/2014/main" id="{59A68EBB-78D1-BF41-BBB4-FEEDFBED0038}"/>
                </a:ext>
              </a:extLst>
            </p:cNvPr>
            <p:cNvPicPr>
              <a:picLocks noChangeAspect="1"/>
            </p:cNvPicPr>
            <p:nvPr userDrawn="1"/>
          </p:nvPicPr>
          <p:blipFill>
            <a:blip r:embed="rId7"/>
            <a:stretch>
              <a:fillRect/>
            </a:stretch>
          </p:blipFill>
          <p:spPr>
            <a:xfrm>
              <a:off x="9779333" y="3076329"/>
              <a:ext cx="2265030" cy="324185"/>
            </a:xfrm>
            <a:prstGeom prst="rect">
              <a:avLst/>
            </a:prstGeom>
          </p:spPr>
        </p:pic>
        <p:pic>
          <p:nvPicPr>
            <p:cNvPr id="16" name="Picture 15">
              <a:extLst>
                <a:ext uri="{FF2B5EF4-FFF2-40B4-BE49-F238E27FC236}">
                  <a16:creationId xmlns:a16="http://schemas.microsoft.com/office/drawing/2014/main" id="{B9CE2B6D-A88E-BF47-88F9-0FD3CD4DD4D2}"/>
                </a:ext>
              </a:extLst>
            </p:cNvPr>
            <p:cNvPicPr>
              <a:picLocks noChangeAspect="1"/>
            </p:cNvPicPr>
            <p:nvPr userDrawn="1"/>
          </p:nvPicPr>
          <p:blipFill rotWithShape="1">
            <a:blip r:embed="rId8"/>
            <a:srcRect l="1073" t="3423" r="1434" b="3096"/>
            <a:stretch/>
          </p:blipFill>
          <p:spPr>
            <a:xfrm>
              <a:off x="10594975" y="3279775"/>
              <a:ext cx="739775" cy="184150"/>
            </a:xfrm>
            <a:prstGeom prst="rect">
              <a:avLst/>
            </a:prstGeom>
          </p:spPr>
        </p:pic>
      </p:grpSp>
    </p:spTree>
    <p:extLst>
      <p:ext uri="{BB962C8B-B14F-4D97-AF65-F5344CB8AC3E}">
        <p14:creationId xmlns:p14="http://schemas.microsoft.com/office/powerpoint/2010/main" val="222495924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hart and Callout Box">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6" name="Chart Placeholder 2">
            <a:extLst>
              <a:ext uri="{FF2B5EF4-FFF2-40B4-BE49-F238E27FC236}">
                <a16:creationId xmlns:a16="http://schemas.microsoft.com/office/drawing/2014/main" id="{A52282EC-86DC-8D43-96A4-DCB61C454A07}"/>
              </a:ext>
            </a:extLst>
          </p:cNvPr>
          <p:cNvSpPr>
            <a:spLocks noGrp="1"/>
          </p:cNvSpPr>
          <p:nvPr>
            <p:ph type="chart" sz="quarter" idx="113"/>
          </p:nvPr>
        </p:nvSpPr>
        <p:spPr>
          <a:xfrm>
            <a:off x="575732" y="1735138"/>
            <a:ext cx="7683365" cy="4430712"/>
          </a:xfrm>
        </p:spPr>
        <p:txBody>
          <a:bodyPr/>
          <a:lstStyle>
            <a:lvl1pPr>
              <a:defRPr b="0">
                <a:solidFill>
                  <a:schemeClr val="tx1">
                    <a:lumMod val="50000"/>
                    <a:lumOff val="50000"/>
                  </a:schemeClr>
                </a:solidFill>
              </a:defRPr>
            </a:lvl1pPr>
          </a:lstStyle>
          <a:p>
            <a:r>
              <a:rPr lang="en-US"/>
              <a:t>Click icon to add chart</a:t>
            </a:r>
          </a:p>
        </p:txBody>
      </p:sp>
      <p:sp>
        <p:nvSpPr>
          <p:cNvPr id="3" name="Text Placeholder 2">
            <a:extLst>
              <a:ext uri="{FF2B5EF4-FFF2-40B4-BE49-F238E27FC236}">
                <a16:creationId xmlns:a16="http://schemas.microsoft.com/office/drawing/2014/main" id="{B4047063-0C39-EB47-B9DB-09006681A5FA}"/>
              </a:ext>
            </a:extLst>
          </p:cNvPr>
          <p:cNvSpPr>
            <a:spLocks noGrp="1"/>
          </p:cNvSpPr>
          <p:nvPr>
            <p:ph type="body" sz="quarter" idx="114" hasCustomPrompt="1"/>
          </p:nvPr>
        </p:nvSpPr>
        <p:spPr>
          <a:xfrm>
            <a:off x="8711381" y="1735139"/>
            <a:ext cx="2904887" cy="4430712"/>
          </a:xfrm>
          <a:ln w="12700">
            <a:solidFill>
              <a:schemeClr val="accent1"/>
            </a:solidFill>
          </a:ln>
        </p:spPr>
        <p:txBody>
          <a:bodyPr lIns="216000" tIns="360000" rIns="216000" bIns="216000" anchor="t"/>
          <a:lst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lang="en-US" sz="3200"/>
            </a:lvl1pPr>
            <a:lvl2pPr>
              <a:defRPr lang="en-US" dirty="0"/>
            </a:lvl2pPr>
            <a:lvl3pPr marL="0" indent="0">
              <a:buFontTx/>
              <a:buNone/>
              <a:defRPr lang="en-US" dirty="0"/>
            </a:lvl3pPr>
            <a:lvl4pPr marL="0" indent="0">
              <a:buFontTx/>
              <a:buNone/>
              <a:defRPr lang="en-US" dirty="0"/>
            </a:lvl4pPr>
            <a:lvl5pPr marL="0" indent="0">
              <a:buFontTx/>
              <a:buNone/>
              <a:defRPr lang="en-US" dirty="0"/>
            </a:lvl5pPr>
            <a:lvl6pPr marL="0" indent="0">
              <a:buFontTx/>
              <a:buNone/>
              <a:defRPr/>
            </a:lvl6pPr>
            <a:lvl7pPr marL="0" indent="0">
              <a:buFontTx/>
              <a:buNone/>
              <a:defRPr/>
            </a:lvl7pPr>
            <a:lvl8pPr marL="0" indent="0">
              <a:buFontTx/>
              <a:buNone/>
              <a:defRPr/>
            </a:lvl8pPr>
            <a:lvl9pPr marL="0" indent="0">
              <a:buFontTx/>
              <a:buNone/>
              <a:defRPr/>
            </a:lvl9pPr>
          </a:lstStyle>
          <a:p>
            <a:pPr marL="0" marR="0" lvl="0" indent="0" algn="l" defTabSz="914400" rtl="0" eaLnBrk="1" fontAlgn="auto" latinLnBrk="0" hangingPunct="1">
              <a:lnSpc>
                <a:spcPct val="90000"/>
              </a:lnSpc>
              <a:spcBef>
                <a:spcPts val="600"/>
              </a:spcBef>
              <a:spcAft>
                <a:spcPts val="300"/>
              </a:spcAft>
              <a:buClrTx/>
              <a:buSzTx/>
              <a:buFont typeface="Wingdings" pitchFamily="2" charset="2"/>
              <a:buNone/>
              <a:tabLst/>
              <a:defRPr/>
            </a:pPr>
            <a:r>
              <a:rPr lang="en-US"/>
              <a:t>XX%</a:t>
            </a:r>
          </a:p>
          <a:p>
            <a:pPr lvl="1"/>
            <a:r>
              <a:rPr lang="en-US"/>
              <a:t>Body text (second level)</a:t>
            </a:r>
          </a:p>
        </p:txBody>
      </p:sp>
      <p:sp>
        <p:nvSpPr>
          <p:cNvPr id="14" name="Text Placeholder 6">
            <a:extLst>
              <a:ext uri="{FF2B5EF4-FFF2-40B4-BE49-F238E27FC236}">
                <a16:creationId xmlns:a16="http://schemas.microsoft.com/office/drawing/2014/main" id="{67041110-B28F-8541-8B72-CE723F208693}"/>
              </a:ext>
            </a:extLst>
          </p:cNvPr>
          <p:cNvSpPr>
            <a:spLocks noGrp="1"/>
          </p:cNvSpPr>
          <p:nvPr>
            <p:ph type="body" sz="quarter" idx="115" hasCustomPrompt="1"/>
          </p:nvPr>
        </p:nvSpPr>
        <p:spPr>
          <a:xfrm>
            <a:off x="9448321" y="1578357"/>
            <a:ext cx="1431015" cy="332399"/>
          </a:xfrm>
          <a:solidFill>
            <a:schemeClr val="bg1"/>
          </a:solidFill>
          <a:effectLst/>
        </p:spPr>
        <p:txBody>
          <a:bodyPr wrap="none" lIns="72000" tIns="0" rIns="72000" bIns="0" anchor="ctr">
            <a:spAutoFit/>
          </a:bodyPr>
          <a:lstStyle>
            <a:lvl1pPr algn="ctr">
              <a:spcBef>
                <a:spcPts val="100"/>
              </a:spcBef>
              <a:spcAft>
                <a:spcPts val="0"/>
              </a:spcAft>
              <a:defRPr sz="1200">
                <a:solidFill>
                  <a:schemeClr val="accent1"/>
                </a:solidFill>
              </a:defRPr>
            </a:lvl1pPr>
            <a:lvl2pPr marL="3175" indent="0" algn="ctr">
              <a:spcAft>
                <a:spcPts val="0"/>
              </a:spcAft>
              <a:buFont typeface="Arial" panose="020B0604020202020204" pitchFamily="34" charset="0"/>
              <a:buNone/>
              <a:tabLst/>
              <a:defRPr sz="1200">
                <a:solidFill>
                  <a:schemeClr val="accent1"/>
                </a:solidFill>
              </a:defRPr>
            </a:lvl2pPr>
            <a:lvl3pPr marL="9525" indent="0" algn="ctr">
              <a:buNone/>
              <a:tabLst/>
              <a:defRPr sz="1200">
                <a:solidFill>
                  <a:schemeClr val="accent1"/>
                </a:solidFill>
              </a:defRPr>
            </a:lvl3pPr>
            <a:lvl4pPr marL="9525" indent="0" algn="ctr">
              <a:buNone/>
              <a:tabLst/>
              <a:defRPr sz="1200">
                <a:solidFill>
                  <a:schemeClr val="accent1"/>
                </a:solidFill>
              </a:defRPr>
            </a:lvl4pPr>
            <a:lvl5pPr marL="9525" indent="0" algn="ctr">
              <a:buFont typeface="Arial" panose="020B0604020202020204" pitchFamily="34" charset="0"/>
              <a:buNone/>
              <a:tabLst/>
              <a:defRPr sz="1200">
                <a:solidFill>
                  <a:schemeClr val="accent1"/>
                </a:solidFill>
              </a:defRPr>
            </a:lvl5pPr>
            <a:lvl6pPr marL="9525" indent="0" algn="ctr">
              <a:buNone/>
              <a:tabLst/>
              <a:defRPr sz="1200">
                <a:solidFill>
                  <a:schemeClr val="accent1"/>
                </a:solidFill>
              </a:defRPr>
            </a:lvl6pPr>
            <a:lvl7pPr marL="9525" indent="0" algn="ctr">
              <a:buNone/>
              <a:tabLst/>
              <a:defRPr sz="1200">
                <a:solidFill>
                  <a:schemeClr val="accent1"/>
                </a:solidFill>
              </a:defRPr>
            </a:lvl7pPr>
            <a:lvl8pPr marL="9525" indent="0" algn="ctr">
              <a:buNone/>
              <a:tabLst/>
              <a:defRPr sz="1200">
                <a:solidFill>
                  <a:schemeClr val="accent1"/>
                </a:solidFill>
              </a:defRPr>
            </a:lvl8pPr>
            <a:lvl9pPr marL="9525" indent="0" algn="ctr">
              <a:buNone/>
              <a:tabLst/>
              <a:defRPr sz="1200">
                <a:solidFill>
                  <a:schemeClr val="accent1"/>
                </a:solidFill>
              </a:defRPr>
            </a:lvl9pPr>
          </a:lstStyle>
          <a:p>
            <a:pPr lvl="0"/>
            <a:r>
              <a:rPr lang="en-US"/>
              <a:t>Click to add topic</a:t>
            </a:r>
          </a:p>
          <a:p>
            <a:pPr lvl="1"/>
            <a:r>
              <a:rPr lang="en-US"/>
              <a:t>Subtopic</a:t>
            </a:r>
          </a:p>
        </p:txBody>
      </p:sp>
      <p:sp>
        <p:nvSpPr>
          <p:cNvPr id="1000" name="Footnotes Placeholder">
            <a:extLst>
              <a:ext uri="{FF2B5EF4-FFF2-40B4-BE49-F238E27FC236}">
                <a16:creationId xmlns:a16="http://schemas.microsoft.com/office/drawing/2014/main" id="{60CEA154-018A-D041-9D08-46D2C2864923}"/>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1" name="Text Placeholder 6">
            <a:extLst>
              <a:ext uri="{FF2B5EF4-FFF2-40B4-BE49-F238E27FC236}">
                <a16:creationId xmlns:a16="http://schemas.microsoft.com/office/drawing/2014/main" id="{5097C055-E96E-DC48-9B57-3C90E8692550}"/>
              </a:ext>
            </a:extLst>
          </p:cNvPr>
          <p:cNvSpPr>
            <a:spLocks noGrp="1"/>
          </p:cNvSpPr>
          <p:nvPr userDrawn="1">
            <p:ph type="body" sz="quarter" idx="108" hasCustomPrompt="1"/>
          </p:nvPr>
        </p:nvSpPr>
        <p:spPr>
          <a:xfrm>
            <a:off x="575734"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Chart subtitle (second level)</a:t>
            </a:r>
          </a:p>
        </p:txBody>
      </p:sp>
      <p:sp>
        <p:nvSpPr>
          <p:cNvPr id="13" name="Date Placeholder 12">
            <a:extLst>
              <a:ext uri="{FF2B5EF4-FFF2-40B4-BE49-F238E27FC236}">
                <a16:creationId xmlns:a16="http://schemas.microsoft.com/office/drawing/2014/main" id="{C9A997CF-9195-6143-A783-C6007CE38DB9}"/>
              </a:ext>
            </a:extLst>
          </p:cNvPr>
          <p:cNvSpPr>
            <a:spLocks noGrp="1"/>
          </p:cNvSpPr>
          <p:nvPr>
            <p:ph type="dt" sz="half" idx="116"/>
          </p:nvPr>
        </p:nvSpPr>
        <p:spPr/>
        <p:txBody>
          <a:bodyPr/>
          <a:lstStyle/>
          <a:p>
            <a:endParaRPr lang="en-US"/>
          </a:p>
        </p:txBody>
      </p:sp>
      <p:sp>
        <p:nvSpPr>
          <p:cNvPr id="17" name="Footer Placeholder 16">
            <a:extLst>
              <a:ext uri="{FF2B5EF4-FFF2-40B4-BE49-F238E27FC236}">
                <a16:creationId xmlns:a16="http://schemas.microsoft.com/office/drawing/2014/main" id="{7816C2B4-6EA9-7D40-A112-32D7F9DB85D9}"/>
              </a:ext>
            </a:extLst>
          </p:cNvPr>
          <p:cNvSpPr>
            <a:spLocks noGrp="1"/>
          </p:cNvSpPr>
          <p:nvPr>
            <p:ph type="ftr" sz="quarter" idx="117"/>
          </p:nvPr>
        </p:nvSpPr>
        <p:spPr/>
        <p:txBody>
          <a:bodyPr/>
          <a:lstStyle/>
          <a:p>
            <a:endParaRPr lang="en-US"/>
          </a:p>
        </p:txBody>
      </p:sp>
      <p:sp>
        <p:nvSpPr>
          <p:cNvPr id="18" name="Slide Number Placeholder 17">
            <a:extLst>
              <a:ext uri="{FF2B5EF4-FFF2-40B4-BE49-F238E27FC236}">
                <a16:creationId xmlns:a16="http://schemas.microsoft.com/office/drawing/2014/main" id="{6C8A9A10-E846-7A4E-B2F3-E64EB163031D}"/>
              </a:ext>
            </a:extLst>
          </p:cNvPr>
          <p:cNvSpPr>
            <a:spLocks noGrp="1"/>
          </p:cNvSpPr>
          <p:nvPr>
            <p:ph type="sldNum" sz="quarter" idx="118"/>
          </p:nvPr>
        </p:nvSpPr>
        <p:spPr/>
        <p:txBody>
          <a:bodyPr/>
          <a:lstStyle/>
          <a:p>
            <a:pPr marL="12700"/>
            <a:fld id="{078C017C-E1B9-8443-B047-B08AAA027B45}" type="slidenum">
              <a:rPr lang="en-US" smtClean="0"/>
              <a:pPr marL="12700"/>
              <a:t>‹#›</a:t>
            </a:fld>
            <a:endParaRPr lang="en-US"/>
          </a:p>
        </p:txBody>
      </p:sp>
      <p:grpSp>
        <p:nvGrpSpPr>
          <p:cNvPr id="2" name="Group 1">
            <a:extLst>
              <a:ext uri="{FF2B5EF4-FFF2-40B4-BE49-F238E27FC236}">
                <a16:creationId xmlns:a16="http://schemas.microsoft.com/office/drawing/2014/main" id="{CB54557D-D997-7744-99E0-51D5E6230F13}"/>
              </a:ext>
            </a:extLst>
          </p:cNvPr>
          <p:cNvGrpSpPr/>
          <p:nvPr userDrawn="1"/>
        </p:nvGrpSpPr>
        <p:grpSpPr>
          <a:xfrm>
            <a:off x="12532244" y="-1"/>
            <a:ext cx="2979900" cy="8465575"/>
            <a:chOff x="12532243" y="-1"/>
            <a:chExt cx="3948953" cy="8465575"/>
          </a:xfrm>
        </p:grpSpPr>
        <p:sp>
          <p:nvSpPr>
            <p:cNvPr id="15" name="Rectangle 14">
              <a:extLst>
                <a:ext uri="{FF2B5EF4-FFF2-40B4-BE49-F238E27FC236}">
                  <a16:creationId xmlns:a16="http://schemas.microsoft.com/office/drawing/2014/main" id="{2B99E022-6BD1-074D-A651-0F1D3CDA165E}"/>
                </a:ext>
              </a:extLst>
            </p:cNvPr>
            <p:cNvSpPr/>
            <p:nvPr userDrawn="1"/>
          </p:nvSpPr>
          <p:spPr>
            <a:xfrm>
              <a:off x="12532243" y="-1"/>
              <a:ext cx="3731535" cy="846557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70" name="Picture 69">
              <a:extLst>
                <a:ext uri="{FF2B5EF4-FFF2-40B4-BE49-F238E27FC236}">
                  <a16:creationId xmlns:a16="http://schemas.microsoft.com/office/drawing/2014/main" id="{9C63083C-E80F-E145-8345-4B0E6010FB67}"/>
                </a:ext>
              </a:extLst>
            </p:cNvPr>
            <p:cNvPicPr>
              <a:picLocks noChangeAspect="1"/>
            </p:cNvPicPr>
            <p:nvPr userDrawn="1"/>
          </p:nvPicPr>
          <p:blipFill rotWithShape="1">
            <a:blip r:embed="rId3"/>
            <a:srcRect r="43480"/>
            <a:stretch/>
          </p:blipFill>
          <p:spPr>
            <a:xfrm>
              <a:off x="12744673" y="2429172"/>
              <a:ext cx="3519099" cy="935038"/>
            </a:xfrm>
            <a:prstGeom prst="rect">
              <a:avLst/>
            </a:prstGeom>
          </p:spPr>
        </p:pic>
        <p:grpSp>
          <p:nvGrpSpPr>
            <p:cNvPr id="20" name="Group 19">
              <a:extLst>
                <a:ext uri="{FF2B5EF4-FFF2-40B4-BE49-F238E27FC236}">
                  <a16:creationId xmlns:a16="http://schemas.microsoft.com/office/drawing/2014/main" id="{1304FF1D-0CE8-E345-906B-4A0F37157528}"/>
                </a:ext>
              </a:extLst>
            </p:cNvPr>
            <p:cNvGrpSpPr/>
            <p:nvPr userDrawn="1"/>
          </p:nvGrpSpPr>
          <p:grpSpPr>
            <a:xfrm>
              <a:off x="12721996" y="162442"/>
              <a:ext cx="3759200" cy="814510"/>
              <a:chOff x="-3644733" y="165205"/>
              <a:chExt cx="2819400" cy="814510"/>
            </a:xfrm>
          </p:grpSpPr>
          <p:sp>
            <p:nvSpPr>
              <p:cNvPr id="48" name="Rectangle 47">
                <a:extLst>
                  <a:ext uri="{FF2B5EF4-FFF2-40B4-BE49-F238E27FC236}">
                    <a16:creationId xmlns:a16="http://schemas.microsoft.com/office/drawing/2014/main" id="{A4CD39F0-34C6-E349-B508-223A8EC300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9" name="TextBox 48">
                <a:extLst>
                  <a:ext uri="{FF2B5EF4-FFF2-40B4-BE49-F238E27FC236}">
                    <a16:creationId xmlns:a16="http://schemas.microsoft.com/office/drawing/2014/main" id="{ACF4FF2B-41D7-814F-ADC3-B8F4D688F688}"/>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50" name="Picture 49">
                <a:extLst>
                  <a:ext uri="{FF2B5EF4-FFF2-40B4-BE49-F238E27FC236}">
                    <a16:creationId xmlns:a16="http://schemas.microsoft.com/office/drawing/2014/main" id="{26933AA9-32A1-AC4B-BE8F-5AD8531E5B21}"/>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29" name="Group 28">
              <a:extLst>
                <a:ext uri="{FF2B5EF4-FFF2-40B4-BE49-F238E27FC236}">
                  <a16:creationId xmlns:a16="http://schemas.microsoft.com/office/drawing/2014/main" id="{5B92A826-7A09-9E44-916B-E29522B6D922}"/>
                </a:ext>
              </a:extLst>
            </p:cNvPr>
            <p:cNvGrpSpPr/>
            <p:nvPr userDrawn="1"/>
          </p:nvGrpSpPr>
          <p:grpSpPr>
            <a:xfrm>
              <a:off x="12744676" y="1119892"/>
              <a:ext cx="3519104" cy="202617"/>
              <a:chOff x="9303325" y="149270"/>
              <a:chExt cx="2639328" cy="202617"/>
            </a:xfrm>
          </p:grpSpPr>
          <p:sp>
            <p:nvSpPr>
              <p:cNvPr id="30" name="TextBox 29">
                <a:extLst>
                  <a:ext uri="{FF2B5EF4-FFF2-40B4-BE49-F238E27FC236}">
                    <a16:creationId xmlns:a16="http://schemas.microsoft.com/office/drawing/2014/main" id="{E88FFA9C-3A10-3948-84B4-9B1DF715F79D}"/>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31" name="Straight Connector 30">
                <a:extLst>
                  <a:ext uri="{FF2B5EF4-FFF2-40B4-BE49-F238E27FC236}">
                    <a16:creationId xmlns:a16="http://schemas.microsoft.com/office/drawing/2014/main" id="{EC121F51-5A96-A745-9B63-72CEF196AD68}"/>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5AC2D6C2-0BE1-AA4F-AB14-C27A2EB40593}"/>
                </a:ext>
              </a:extLst>
            </p:cNvPr>
            <p:cNvGrpSpPr/>
            <p:nvPr userDrawn="1"/>
          </p:nvGrpSpPr>
          <p:grpSpPr>
            <a:xfrm>
              <a:off x="12695778" y="1389697"/>
              <a:ext cx="3490511" cy="161583"/>
              <a:chOff x="12352022" y="513115"/>
              <a:chExt cx="2617883" cy="161583"/>
            </a:xfrm>
          </p:grpSpPr>
          <p:sp>
            <p:nvSpPr>
              <p:cNvPr id="63" name="TextBox 62">
                <a:extLst>
                  <a:ext uri="{FF2B5EF4-FFF2-40B4-BE49-F238E27FC236}">
                    <a16:creationId xmlns:a16="http://schemas.microsoft.com/office/drawing/2014/main" id="{7BC9D9FD-67BD-FB47-8182-C2E4CCB01CA9}"/>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65" name="TextBox 64">
                <a:extLst>
                  <a:ext uri="{FF2B5EF4-FFF2-40B4-BE49-F238E27FC236}">
                    <a16:creationId xmlns:a16="http://schemas.microsoft.com/office/drawing/2014/main" id="{5C58E318-D8E3-D542-BEA7-9E8EF8674240}"/>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Chart Title</a:t>
                </a:r>
              </a:p>
            </p:txBody>
          </p:sp>
        </p:grpSp>
        <p:grpSp>
          <p:nvGrpSpPr>
            <p:cNvPr id="66" name="Group 65">
              <a:extLst>
                <a:ext uri="{FF2B5EF4-FFF2-40B4-BE49-F238E27FC236}">
                  <a16:creationId xmlns:a16="http://schemas.microsoft.com/office/drawing/2014/main" id="{5616D80C-A2C8-7A41-97B1-0131E7C240B3}"/>
                </a:ext>
              </a:extLst>
            </p:cNvPr>
            <p:cNvGrpSpPr/>
            <p:nvPr userDrawn="1"/>
          </p:nvGrpSpPr>
          <p:grpSpPr>
            <a:xfrm>
              <a:off x="12695778" y="2233978"/>
              <a:ext cx="3490511" cy="161583"/>
              <a:chOff x="12352022" y="513115"/>
              <a:chExt cx="2617883" cy="161583"/>
            </a:xfrm>
          </p:grpSpPr>
          <p:sp>
            <p:nvSpPr>
              <p:cNvPr id="67" name="TextBox 66">
                <a:extLst>
                  <a:ext uri="{FF2B5EF4-FFF2-40B4-BE49-F238E27FC236}">
                    <a16:creationId xmlns:a16="http://schemas.microsoft.com/office/drawing/2014/main" id="{F96FB928-F772-BE46-A91F-588D2B103C8E}"/>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68" name="TextBox 67">
                <a:extLst>
                  <a:ext uri="{FF2B5EF4-FFF2-40B4-BE49-F238E27FC236}">
                    <a16:creationId xmlns:a16="http://schemas.microsoft.com/office/drawing/2014/main" id="{57CCCD1E-0E8A-7F4E-8102-CB018E6B6E8F}"/>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Callout Box</a:t>
                </a:r>
              </a:p>
            </p:txBody>
          </p:sp>
        </p:grpSp>
        <p:grpSp>
          <p:nvGrpSpPr>
            <p:cNvPr id="19" name="Group 18">
              <a:extLst>
                <a:ext uri="{FF2B5EF4-FFF2-40B4-BE49-F238E27FC236}">
                  <a16:creationId xmlns:a16="http://schemas.microsoft.com/office/drawing/2014/main" id="{330AAE65-D135-5F4E-A8FA-538A1821D4A0}"/>
                </a:ext>
              </a:extLst>
            </p:cNvPr>
            <p:cNvGrpSpPr/>
            <p:nvPr userDrawn="1"/>
          </p:nvGrpSpPr>
          <p:grpSpPr>
            <a:xfrm>
              <a:off x="12695778" y="3502223"/>
              <a:ext cx="3673087" cy="4801460"/>
              <a:chOff x="9521833" y="3656659"/>
              <a:chExt cx="2754815" cy="4801460"/>
            </a:xfrm>
          </p:grpSpPr>
          <p:grpSp>
            <p:nvGrpSpPr>
              <p:cNvPr id="75" name="Group 74">
                <a:extLst>
                  <a:ext uri="{FF2B5EF4-FFF2-40B4-BE49-F238E27FC236}">
                    <a16:creationId xmlns:a16="http://schemas.microsoft.com/office/drawing/2014/main" id="{FF00C3E3-3773-C749-A347-050E2BBEB510}"/>
                  </a:ext>
                </a:extLst>
              </p:cNvPr>
              <p:cNvGrpSpPr/>
              <p:nvPr userDrawn="1"/>
            </p:nvGrpSpPr>
            <p:grpSpPr>
              <a:xfrm>
                <a:off x="9521833" y="7405388"/>
                <a:ext cx="2676002" cy="1052731"/>
                <a:chOff x="9521833" y="2036288"/>
                <a:chExt cx="2676002" cy="1052731"/>
              </a:xfrm>
            </p:grpSpPr>
            <p:sp>
              <p:nvSpPr>
                <p:cNvPr id="94" name="TextBox 93">
                  <a:extLst>
                    <a:ext uri="{FF2B5EF4-FFF2-40B4-BE49-F238E27FC236}">
                      <a16:creationId xmlns:a16="http://schemas.microsoft.com/office/drawing/2014/main" id="{82CAC38A-6253-2D46-A9C1-302180EED363}"/>
                    </a:ext>
                  </a:extLst>
                </p:cNvPr>
                <p:cNvSpPr txBox="1"/>
                <p:nvPr userDrawn="1"/>
              </p:nvSpPr>
              <p:spPr>
                <a:xfrm>
                  <a:off x="9558507" y="2036288"/>
                  <a:ext cx="99666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ADD A NEW CHART</a:t>
                  </a:r>
                </a:p>
              </p:txBody>
            </p:sp>
            <p:cxnSp>
              <p:nvCxnSpPr>
                <p:cNvPr id="95" name="Straight Connector 94">
                  <a:extLst>
                    <a:ext uri="{FF2B5EF4-FFF2-40B4-BE49-F238E27FC236}">
                      <a16:creationId xmlns:a16="http://schemas.microsoft.com/office/drawing/2014/main" id="{AD2B3722-E54B-F241-BF5C-4E06D9858DE0}"/>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DE6DD331-B8FF-724A-88A0-EDAB740240BC}"/>
                    </a:ext>
                  </a:extLst>
                </p:cNvPr>
                <p:cNvGrpSpPr/>
                <p:nvPr userDrawn="1"/>
              </p:nvGrpSpPr>
              <p:grpSpPr>
                <a:xfrm>
                  <a:off x="9521833" y="2361408"/>
                  <a:ext cx="2557391" cy="323165"/>
                  <a:chOff x="12352022" y="513115"/>
                  <a:chExt cx="2557391" cy="323165"/>
                </a:xfrm>
              </p:grpSpPr>
              <p:sp>
                <p:nvSpPr>
                  <p:cNvPr id="98" name="TextBox 97">
                    <a:extLst>
                      <a:ext uri="{FF2B5EF4-FFF2-40B4-BE49-F238E27FC236}">
                        <a16:creationId xmlns:a16="http://schemas.microsoft.com/office/drawing/2014/main" id="{01BD870A-BDFF-AD42-9F9F-680AB538E99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99" name="TextBox 98">
                    <a:extLst>
                      <a:ext uri="{FF2B5EF4-FFF2-40B4-BE49-F238E27FC236}">
                        <a16:creationId xmlns:a16="http://schemas.microsoft.com/office/drawing/2014/main" id="{D46E1157-8158-3D41-83D2-9C0A0041030B}"/>
                      </a:ext>
                    </a:extLst>
                  </p:cNvPr>
                  <p:cNvSpPr txBox="1"/>
                  <p:nvPr userDrawn="1"/>
                </p:nvSpPr>
                <p:spPr>
                  <a:xfrm>
                    <a:off x="12516615" y="513115"/>
                    <a:ext cx="2392798"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Open the </a:t>
                    </a:r>
                    <a:r>
                      <a:rPr lang="en-US" sz="1050" b="1"/>
                      <a:t>VEDP Template Assets file </a:t>
                    </a:r>
                    <a:r>
                      <a:rPr lang="en-US" sz="1050"/>
                      <a:t>and copy the desired chart type into your presentation.</a:t>
                    </a:r>
                  </a:p>
                </p:txBody>
              </p:sp>
            </p:grpSp>
            <p:sp>
              <p:nvSpPr>
                <p:cNvPr id="97" name="TextBox 96">
                  <a:extLst>
                    <a:ext uri="{FF2B5EF4-FFF2-40B4-BE49-F238E27FC236}">
                      <a16:creationId xmlns:a16="http://schemas.microsoft.com/office/drawing/2014/main" id="{C12B8CA1-E11D-D840-A89D-9BDC9316EDA6}"/>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These samples slide have further instructions and have been set up so you can easily edit the data.</a:t>
                  </a:r>
                </a:p>
              </p:txBody>
            </p:sp>
          </p:grpSp>
          <p:sp>
            <p:nvSpPr>
              <p:cNvPr id="76" name="TextBox 75">
                <a:extLst>
                  <a:ext uri="{FF2B5EF4-FFF2-40B4-BE49-F238E27FC236}">
                    <a16:creationId xmlns:a16="http://schemas.microsoft.com/office/drawing/2014/main" id="{19F3EA98-82D3-ED4F-B900-49458C4A36FA}"/>
                  </a:ext>
                </a:extLst>
              </p:cNvPr>
              <p:cNvSpPr txBox="1"/>
              <p:nvPr userDrawn="1"/>
            </p:nvSpPr>
            <p:spPr>
              <a:xfrm>
                <a:off x="9558507" y="3656659"/>
                <a:ext cx="15424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FORMAT AN EXISTING CHART</a:t>
                </a:r>
              </a:p>
            </p:txBody>
          </p:sp>
          <p:cxnSp>
            <p:nvCxnSpPr>
              <p:cNvPr id="77" name="Straight Connector 76">
                <a:extLst>
                  <a:ext uri="{FF2B5EF4-FFF2-40B4-BE49-F238E27FC236}">
                    <a16:creationId xmlns:a16="http://schemas.microsoft.com/office/drawing/2014/main" id="{30A1EA8F-07DE-014F-AA10-6C9333AAD7A8}"/>
                  </a:ext>
                </a:extLst>
              </p:cNvPr>
              <p:cNvCxnSpPr>
                <a:cxnSpLocks/>
              </p:cNvCxnSpPr>
              <p:nvPr userDrawn="1"/>
            </p:nvCxnSpPr>
            <p:spPr>
              <a:xfrm>
                <a:off x="9558507" y="385927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1807A3DB-B170-C543-827E-1797D79B35BD}"/>
                  </a:ext>
                </a:extLst>
              </p:cNvPr>
              <p:cNvSpPr txBox="1">
                <a:spLocks noChangeAspect="1"/>
              </p:cNvSpPr>
              <p:nvPr/>
            </p:nvSpPr>
            <p:spPr>
              <a:xfrm>
                <a:off x="9521833" y="400680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79" name="TextBox 78">
                <a:extLst>
                  <a:ext uri="{FF2B5EF4-FFF2-40B4-BE49-F238E27FC236}">
                    <a16:creationId xmlns:a16="http://schemas.microsoft.com/office/drawing/2014/main" id="{21F6557E-4825-E045-B871-0D127A0BFF5B}"/>
                  </a:ext>
                </a:extLst>
              </p:cNvPr>
              <p:cNvSpPr txBox="1">
                <a:spLocks noChangeAspect="1"/>
              </p:cNvSpPr>
              <p:nvPr/>
            </p:nvSpPr>
            <p:spPr>
              <a:xfrm>
                <a:off x="9521833" y="473385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80" name="TextBox 79">
                <a:extLst>
                  <a:ext uri="{FF2B5EF4-FFF2-40B4-BE49-F238E27FC236}">
                    <a16:creationId xmlns:a16="http://schemas.microsoft.com/office/drawing/2014/main" id="{A11A289F-F032-6D42-A3A4-E7A6C9F596ED}"/>
                  </a:ext>
                </a:extLst>
              </p:cNvPr>
              <p:cNvSpPr txBox="1"/>
              <p:nvPr userDrawn="1"/>
            </p:nvSpPr>
            <p:spPr>
              <a:xfrm>
                <a:off x="9686426" y="3981779"/>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Select the chart placeholder and then paste your existing chart.</a:t>
                </a:r>
              </a:p>
            </p:txBody>
          </p:sp>
          <p:sp>
            <p:nvSpPr>
              <p:cNvPr id="81" name="TextBox 80">
                <a:extLst>
                  <a:ext uri="{FF2B5EF4-FFF2-40B4-BE49-F238E27FC236}">
                    <a16:creationId xmlns:a16="http://schemas.microsoft.com/office/drawing/2014/main" id="{56CC7998-FBBA-984A-B3BB-B8422CBF5A84}"/>
                  </a:ext>
                </a:extLst>
              </p:cNvPr>
              <p:cNvSpPr txBox="1"/>
              <p:nvPr userDrawn="1"/>
            </p:nvSpPr>
            <p:spPr>
              <a:xfrm>
                <a:off x="9686426" y="4710985"/>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Right-click on the chart and choose “Change Chart Type…”</a:t>
                </a:r>
              </a:p>
            </p:txBody>
          </p:sp>
          <p:sp>
            <p:nvSpPr>
              <p:cNvPr id="82" name="TextBox 81">
                <a:extLst>
                  <a:ext uri="{FF2B5EF4-FFF2-40B4-BE49-F238E27FC236}">
                    <a16:creationId xmlns:a16="http://schemas.microsoft.com/office/drawing/2014/main" id="{18527B35-9EDF-3247-A18C-B5CEAF526738}"/>
                  </a:ext>
                </a:extLst>
              </p:cNvPr>
              <p:cNvSpPr txBox="1">
                <a:spLocks noChangeAspect="1"/>
              </p:cNvSpPr>
              <p:nvPr userDrawn="1"/>
            </p:nvSpPr>
            <p:spPr>
              <a:xfrm>
                <a:off x="9521833" y="519684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3</a:t>
                </a:r>
              </a:p>
            </p:txBody>
          </p:sp>
          <p:sp>
            <p:nvSpPr>
              <p:cNvPr id="83" name="TextBox 82">
                <a:extLst>
                  <a:ext uri="{FF2B5EF4-FFF2-40B4-BE49-F238E27FC236}">
                    <a16:creationId xmlns:a16="http://schemas.microsoft.com/office/drawing/2014/main" id="{26539DAF-BEC6-744B-B400-8FA0A0079295}"/>
                  </a:ext>
                </a:extLst>
              </p:cNvPr>
              <p:cNvSpPr txBox="1"/>
              <p:nvPr userDrawn="1"/>
            </p:nvSpPr>
            <p:spPr>
              <a:xfrm>
                <a:off x="9686426" y="5173975"/>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Choose one of the VEDP chart styles from the ‘Templates’ category.</a:t>
                </a:r>
              </a:p>
            </p:txBody>
          </p:sp>
          <p:sp>
            <p:nvSpPr>
              <p:cNvPr id="84" name="TextBox 83">
                <a:extLst>
                  <a:ext uri="{FF2B5EF4-FFF2-40B4-BE49-F238E27FC236}">
                    <a16:creationId xmlns:a16="http://schemas.microsoft.com/office/drawing/2014/main" id="{85DB54E3-20CB-F84D-BA87-AE6461071775}"/>
                  </a:ext>
                </a:extLst>
              </p:cNvPr>
              <p:cNvSpPr txBox="1"/>
              <p:nvPr userDrawn="1"/>
            </p:nvSpPr>
            <p:spPr>
              <a:xfrm>
                <a:off x="9674268" y="4345001"/>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Make sure that you have access to any linked files, or you won’t be able to apply the chart style successfully.</a:t>
                </a:r>
              </a:p>
            </p:txBody>
          </p:sp>
          <p:grpSp>
            <p:nvGrpSpPr>
              <p:cNvPr id="87" name="Group 86">
                <a:extLst>
                  <a:ext uri="{FF2B5EF4-FFF2-40B4-BE49-F238E27FC236}">
                    <a16:creationId xmlns:a16="http://schemas.microsoft.com/office/drawing/2014/main" id="{FF601E2C-20C4-8448-BDCB-09817050A9EF}"/>
                  </a:ext>
                </a:extLst>
              </p:cNvPr>
              <p:cNvGrpSpPr/>
              <p:nvPr userDrawn="1"/>
            </p:nvGrpSpPr>
            <p:grpSpPr>
              <a:xfrm>
                <a:off x="9541497" y="5668564"/>
                <a:ext cx="2735151" cy="1538827"/>
                <a:chOff x="9296567" y="4910411"/>
                <a:chExt cx="2735151" cy="1538827"/>
              </a:xfrm>
            </p:grpSpPr>
            <p:sp>
              <p:nvSpPr>
                <p:cNvPr id="88" name="Rectangle 87">
                  <a:extLst>
                    <a:ext uri="{FF2B5EF4-FFF2-40B4-BE49-F238E27FC236}">
                      <a16:creationId xmlns:a16="http://schemas.microsoft.com/office/drawing/2014/main" id="{10D997EE-0253-9948-A6ED-E7D0D161D2C0}"/>
                    </a:ext>
                  </a:extLst>
                </p:cNvPr>
                <p:cNvSpPr/>
                <p:nvPr userDrawn="1"/>
              </p:nvSpPr>
              <p:spPr>
                <a:xfrm>
                  <a:off x="9296567" y="4910411"/>
                  <a:ext cx="2735151" cy="1538827"/>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9" name="TextBox 88">
                  <a:extLst>
                    <a:ext uri="{FF2B5EF4-FFF2-40B4-BE49-F238E27FC236}">
                      <a16:creationId xmlns:a16="http://schemas.microsoft.com/office/drawing/2014/main" id="{697CF5BD-F20F-DE4A-92B5-C2CEBD4ED53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Re-apply chart style</a:t>
                  </a:r>
                </a:p>
              </p:txBody>
            </p:sp>
            <p:pic>
              <p:nvPicPr>
                <p:cNvPr id="90" name="Graphic 89">
                  <a:extLst>
                    <a:ext uri="{FF2B5EF4-FFF2-40B4-BE49-F238E27FC236}">
                      <a16:creationId xmlns:a16="http://schemas.microsoft.com/office/drawing/2014/main" id="{8F021B2D-63E0-7348-9C34-06C74EB29FA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1" name="TextBox 90">
                  <a:extLst>
                    <a:ext uri="{FF2B5EF4-FFF2-40B4-BE49-F238E27FC236}">
                      <a16:creationId xmlns:a16="http://schemas.microsoft.com/office/drawing/2014/main" id="{547D6D74-E159-4349-960D-F7C54F8A34D8}"/>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a:t>In case of error, return legend entries, data labels, and/or chart formatting by re-applying the current VEDP chart style template.</a:t>
                  </a:r>
                </a:p>
                <a:p>
                  <a:pPr lvl="1"/>
                  <a:r>
                    <a:rPr lang="en-US" sz="900"/>
                    <a:t>Right-click the chart and choose</a:t>
                  </a:r>
                  <a:br>
                    <a:rPr lang="en-US" sz="900"/>
                  </a:br>
                  <a:r>
                    <a:rPr lang="en-US" sz="900"/>
                    <a:t>“Change Chart Type”</a:t>
                  </a:r>
                </a:p>
                <a:p>
                  <a:pPr lvl="1"/>
                  <a:r>
                    <a:rPr lang="en-US" sz="900"/>
                    <a:t>Then choose the matching VEDP chart style from the ‘Templates’ category.</a:t>
                  </a:r>
                </a:p>
              </p:txBody>
            </p:sp>
          </p:grpSp>
        </p:grpSp>
        <p:pic>
          <p:nvPicPr>
            <p:cNvPr id="104" name="Picture 103">
              <a:extLst>
                <a:ext uri="{FF2B5EF4-FFF2-40B4-BE49-F238E27FC236}">
                  <a16:creationId xmlns:a16="http://schemas.microsoft.com/office/drawing/2014/main" id="{E76FC806-1745-034B-9D8A-1CAFCD9FE3BC}"/>
                </a:ext>
              </a:extLst>
            </p:cNvPr>
            <p:cNvPicPr>
              <a:picLocks noChangeAspect="1"/>
            </p:cNvPicPr>
            <p:nvPr userDrawn="1"/>
          </p:nvPicPr>
          <p:blipFill rotWithShape="1">
            <a:blip r:embed="rId7"/>
            <a:srcRect r="36104"/>
            <a:stretch/>
          </p:blipFill>
          <p:spPr>
            <a:xfrm>
              <a:off x="12744664" y="1610212"/>
              <a:ext cx="3519105" cy="522522"/>
            </a:xfrm>
            <a:prstGeom prst="rect">
              <a:avLst/>
            </a:prstGeom>
          </p:spPr>
        </p:pic>
      </p:grpSp>
    </p:spTree>
    <p:extLst>
      <p:ext uri="{BB962C8B-B14F-4D97-AF65-F5344CB8AC3E}">
        <p14:creationId xmlns:p14="http://schemas.microsoft.com/office/powerpoint/2010/main" val="40486687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Photo, Team Virginia)">
    <p:bg>
      <p:bgPr>
        <a:solidFill>
          <a:schemeClr val="bg1"/>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32EA00E4-A5CA-8A45-BBC6-14C9E32393F9}"/>
              </a:ext>
            </a:extLst>
          </p:cNvPr>
          <p:cNvSpPr>
            <a:spLocks noGrp="1"/>
          </p:cNvSpPr>
          <p:nvPr>
            <p:ph type="pic" sz="quarter" idx="25" hasCustomPrompt="1"/>
          </p:nvPr>
        </p:nvSpPr>
        <p:spPr>
          <a:xfrm>
            <a:off x="1" y="1"/>
            <a:ext cx="12192001" cy="5696907"/>
          </a:xfrm>
          <a:prstGeom prst="rect">
            <a:avLst/>
          </a:prstGeom>
          <a:solidFill>
            <a:srgbClr val="FFD566"/>
          </a:solidFill>
        </p:spPr>
        <p:txBody>
          <a:bodyPr wrap="square" rIns="432000" anchor="ctr">
            <a:noAutofit/>
          </a:bodyPr>
          <a:lstStyle>
            <a:lvl1pPr marL="0" indent="0" algn="r">
              <a:spcBef>
                <a:spcPts val="0"/>
              </a:spcBef>
              <a:spcAft>
                <a:spcPts val="0"/>
              </a:spcAft>
              <a:buNone/>
              <a:defRPr b="0">
                <a:solidFill>
                  <a:schemeClr val="bg2"/>
                </a:solidFill>
              </a:defRPr>
            </a:lvl1pPr>
          </a:lstStyle>
          <a:p>
            <a:r>
              <a:rPr lang="en-US"/>
              <a:t>Drag image onto slide to add photo</a:t>
            </a:r>
          </a:p>
        </p:txBody>
      </p:sp>
      <p:sp>
        <p:nvSpPr>
          <p:cNvPr id="30" name="Title 29">
            <a:extLst>
              <a:ext uri="{FF2B5EF4-FFF2-40B4-BE49-F238E27FC236}">
                <a16:creationId xmlns:a16="http://schemas.microsoft.com/office/drawing/2014/main" id="{65900051-0252-8940-9042-C0A5341AF24D}"/>
              </a:ext>
            </a:extLst>
          </p:cNvPr>
          <p:cNvSpPr>
            <a:spLocks noGrp="1"/>
          </p:cNvSpPr>
          <p:nvPr>
            <p:ph type="title" hasCustomPrompt="1"/>
          </p:nvPr>
        </p:nvSpPr>
        <p:spPr>
          <a:xfrm>
            <a:off x="-7339" y="0"/>
            <a:ext cx="9476894" cy="5696907"/>
          </a:xfrm>
          <a:custGeom>
            <a:avLst/>
            <a:gdLst>
              <a:gd name="connsiteX0" fmla="*/ 0 w 9476894"/>
              <a:gd name="connsiteY0" fmla="*/ 0 h 5696907"/>
              <a:gd name="connsiteX1" fmla="*/ 3042637 w 9476894"/>
              <a:gd name="connsiteY1" fmla="*/ 0 h 5696907"/>
              <a:gd name="connsiteX2" fmla="*/ 3156938 w 9476894"/>
              <a:gd name="connsiteY2" fmla="*/ 0 h 5696907"/>
              <a:gd name="connsiteX3" fmla="*/ 6767586 w 9476894"/>
              <a:gd name="connsiteY3" fmla="*/ 0 h 5696907"/>
              <a:gd name="connsiteX4" fmla="*/ 9476894 w 9476894"/>
              <a:gd name="connsiteY4" fmla="*/ 5696907 h 5696907"/>
              <a:gd name="connsiteX5" fmla="*/ 3042637 w 9476894"/>
              <a:gd name="connsiteY5" fmla="*/ 5696907 h 5696907"/>
              <a:gd name="connsiteX6" fmla="*/ 3042637 w 9476894"/>
              <a:gd name="connsiteY6" fmla="*/ 5695956 h 5696907"/>
              <a:gd name="connsiteX7" fmla="*/ 0 w 9476894"/>
              <a:gd name="connsiteY7" fmla="*/ 5695956 h 56969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476894" h="5696907">
                <a:moveTo>
                  <a:pt x="0" y="0"/>
                </a:moveTo>
                <a:lnTo>
                  <a:pt x="3042637" y="0"/>
                </a:lnTo>
                <a:lnTo>
                  <a:pt x="3156938" y="0"/>
                </a:lnTo>
                <a:lnTo>
                  <a:pt x="6767586" y="0"/>
                </a:lnTo>
                <a:lnTo>
                  <a:pt x="9476894" y="5696907"/>
                </a:lnTo>
                <a:lnTo>
                  <a:pt x="3042637" y="5696907"/>
                </a:lnTo>
                <a:lnTo>
                  <a:pt x="3042637" y="5695956"/>
                </a:lnTo>
                <a:lnTo>
                  <a:pt x="0" y="5695956"/>
                </a:lnTo>
                <a:close/>
              </a:path>
            </a:pathLst>
          </a:custGeom>
          <a:gradFill>
            <a:gsLst>
              <a:gs pos="0">
                <a:schemeClr val="accent1">
                  <a:alpha val="95000"/>
                </a:schemeClr>
              </a:gs>
              <a:gs pos="97000">
                <a:schemeClr val="accent1">
                  <a:alpha val="80000"/>
                </a:schemeClr>
              </a:gs>
            </a:gsLst>
            <a:lin ang="5400000" scaled="0"/>
          </a:gradFill>
        </p:spPr>
        <p:txBody>
          <a:bodyPr wrap="square" lIns="576000" rIns="1080000" bIns="360000" anchor="b">
            <a:noAutofit/>
          </a:bodyPr>
          <a:lstStyle>
            <a:lvl1pPr>
              <a:defRPr sz="3600">
                <a:solidFill>
                  <a:schemeClr val="bg1"/>
                </a:solidFill>
              </a:defRPr>
            </a:lvl1pPr>
          </a:lstStyle>
          <a:p>
            <a:pPr lvl="0"/>
            <a:r>
              <a:rPr lang="en-US"/>
              <a:t>Click to add presentation title. 3 lines max.</a:t>
            </a:r>
          </a:p>
        </p:txBody>
      </p:sp>
      <p:sp>
        <p:nvSpPr>
          <p:cNvPr id="21" name="Freeform 20">
            <a:extLst>
              <a:ext uri="{FF2B5EF4-FFF2-40B4-BE49-F238E27FC236}">
                <a16:creationId xmlns:a16="http://schemas.microsoft.com/office/drawing/2014/main" id="{37953840-03FD-2943-8F06-00BC1E7230EE}"/>
              </a:ext>
            </a:extLst>
          </p:cNvPr>
          <p:cNvSpPr/>
          <p:nvPr userDrawn="1"/>
        </p:nvSpPr>
        <p:spPr>
          <a:xfrm flipH="1">
            <a:off x="3" y="6025102"/>
            <a:ext cx="9829508" cy="431903"/>
          </a:xfrm>
          <a:custGeom>
            <a:avLst/>
            <a:gdLst>
              <a:gd name="connsiteX0" fmla="*/ 7372131 w 7372131"/>
              <a:gd name="connsiteY0" fmla="*/ 0 h 323927"/>
              <a:gd name="connsiteX1" fmla="*/ 7352841 w 7372131"/>
              <a:gd name="connsiteY1" fmla="*/ 0 h 323927"/>
              <a:gd name="connsiteX2" fmla="*/ 795061 w 7372131"/>
              <a:gd name="connsiteY2" fmla="*/ 0 h 323927"/>
              <a:gd name="connsiteX3" fmla="*/ 775771 w 7372131"/>
              <a:gd name="connsiteY3" fmla="*/ 0 h 323927"/>
              <a:gd name="connsiteX4" fmla="*/ 775771 w 7372131"/>
              <a:gd name="connsiteY4" fmla="*/ 7 h 323927"/>
              <a:gd name="connsiteX5" fmla="*/ 479526 w 7372131"/>
              <a:gd name="connsiteY5" fmla="*/ 7 h 323927"/>
              <a:gd name="connsiteX6" fmla="*/ 460236 w 7372131"/>
              <a:gd name="connsiteY6" fmla="*/ 7 h 323927"/>
              <a:gd name="connsiteX7" fmla="*/ 173008 w 7372131"/>
              <a:gd name="connsiteY7" fmla="*/ 7 h 323927"/>
              <a:gd name="connsiteX8" fmla="*/ 153718 w 7372131"/>
              <a:gd name="connsiteY8" fmla="*/ 7 h 323927"/>
              <a:gd name="connsiteX9" fmla="*/ 4 w 7372131"/>
              <a:gd name="connsiteY9" fmla="*/ 323921 h 323927"/>
              <a:gd name="connsiteX10" fmla="*/ 0 w 7372131"/>
              <a:gd name="connsiteY10" fmla="*/ 323927 h 323927"/>
              <a:gd name="connsiteX11" fmla="*/ 1 w 7372131"/>
              <a:gd name="connsiteY11" fmla="*/ 323927 h 323927"/>
              <a:gd name="connsiteX12" fmla="*/ 19290 w 7372131"/>
              <a:gd name="connsiteY12" fmla="*/ 323927 h 323927"/>
              <a:gd name="connsiteX13" fmla="*/ 19291 w 7372131"/>
              <a:gd name="connsiteY13" fmla="*/ 323927 h 323927"/>
              <a:gd name="connsiteX14" fmla="*/ 306520 w 7372131"/>
              <a:gd name="connsiteY14" fmla="*/ 323927 h 323927"/>
              <a:gd name="connsiteX15" fmla="*/ 325810 w 7372131"/>
              <a:gd name="connsiteY15" fmla="*/ 323927 h 323927"/>
              <a:gd name="connsiteX16" fmla="*/ 404476 w 7372131"/>
              <a:gd name="connsiteY16" fmla="*/ 323927 h 323927"/>
              <a:gd name="connsiteX17" fmla="*/ 423766 w 7372131"/>
              <a:gd name="connsiteY17" fmla="*/ 323927 h 323927"/>
              <a:gd name="connsiteX18" fmla="*/ 4832481 w 7372131"/>
              <a:gd name="connsiteY18" fmla="*/ 323927 h 323927"/>
              <a:gd name="connsiteX19" fmla="*/ 4851771 w 7372131"/>
              <a:gd name="connsiteY19" fmla="*/ 323927 h 323927"/>
              <a:gd name="connsiteX20" fmla="*/ 5139000 w 7372131"/>
              <a:gd name="connsiteY20" fmla="*/ 323927 h 323927"/>
              <a:gd name="connsiteX21" fmla="*/ 5158290 w 7372131"/>
              <a:gd name="connsiteY21" fmla="*/ 323927 h 323927"/>
              <a:gd name="connsiteX22" fmla="*/ 6376846 w 7372131"/>
              <a:gd name="connsiteY22" fmla="*/ 323927 h 323927"/>
              <a:gd name="connsiteX23" fmla="*/ 6396136 w 7372131"/>
              <a:gd name="connsiteY23" fmla="*/ 323927 h 323927"/>
              <a:gd name="connsiteX24" fmla="*/ 6781322 w 7372131"/>
              <a:gd name="connsiteY24" fmla="*/ 323927 h 323927"/>
              <a:gd name="connsiteX25" fmla="*/ 6800612 w 7372131"/>
              <a:gd name="connsiteY25" fmla="*/ 323927 h 323927"/>
              <a:gd name="connsiteX26" fmla="*/ 6800612 w 7372131"/>
              <a:gd name="connsiteY26" fmla="*/ 323920 h 323927"/>
              <a:gd name="connsiteX27" fmla="*/ 7352841 w 7372131"/>
              <a:gd name="connsiteY27" fmla="*/ 323920 h 323927"/>
              <a:gd name="connsiteX28" fmla="*/ 7372131 w 7372131"/>
              <a:gd name="connsiteY28" fmla="*/ 323920 h 323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372131" h="323927">
                <a:moveTo>
                  <a:pt x="7372131" y="0"/>
                </a:moveTo>
                <a:lnTo>
                  <a:pt x="7352841" y="0"/>
                </a:lnTo>
                <a:lnTo>
                  <a:pt x="795061" y="0"/>
                </a:lnTo>
                <a:lnTo>
                  <a:pt x="775771" y="0"/>
                </a:lnTo>
                <a:lnTo>
                  <a:pt x="775771" y="7"/>
                </a:lnTo>
                <a:lnTo>
                  <a:pt x="479526" y="7"/>
                </a:lnTo>
                <a:lnTo>
                  <a:pt x="460236" y="7"/>
                </a:lnTo>
                <a:lnTo>
                  <a:pt x="173008" y="7"/>
                </a:lnTo>
                <a:lnTo>
                  <a:pt x="153718" y="7"/>
                </a:lnTo>
                <a:lnTo>
                  <a:pt x="4" y="323921"/>
                </a:lnTo>
                <a:lnTo>
                  <a:pt x="0" y="323927"/>
                </a:lnTo>
                <a:lnTo>
                  <a:pt x="1" y="323927"/>
                </a:lnTo>
                <a:lnTo>
                  <a:pt x="19290" y="323927"/>
                </a:lnTo>
                <a:lnTo>
                  <a:pt x="19291" y="323927"/>
                </a:lnTo>
                <a:lnTo>
                  <a:pt x="306520" y="323927"/>
                </a:lnTo>
                <a:lnTo>
                  <a:pt x="325810" y="323927"/>
                </a:lnTo>
                <a:lnTo>
                  <a:pt x="404476" y="323927"/>
                </a:lnTo>
                <a:lnTo>
                  <a:pt x="423766" y="323927"/>
                </a:lnTo>
                <a:lnTo>
                  <a:pt x="4832481" y="323927"/>
                </a:lnTo>
                <a:lnTo>
                  <a:pt x="4851771" y="323927"/>
                </a:lnTo>
                <a:lnTo>
                  <a:pt x="5139000" y="323927"/>
                </a:lnTo>
                <a:lnTo>
                  <a:pt x="5158290" y="323927"/>
                </a:lnTo>
                <a:lnTo>
                  <a:pt x="6376846" y="323927"/>
                </a:lnTo>
                <a:lnTo>
                  <a:pt x="6396136" y="323927"/>
                </a:lnTo>
                <a:lnTo>
                  <a:pt x="6781322" y="323927"/>
                </a:lnTo>
                <a:lnTo>
                  <a:pt x="6800612" y="323927"/>
                </a:lnTo>
                <a:lnTo>
                  <a:pt x="6800612" y="323920"/>
                </a:lnTo>
                <a:lnTo>
                  <a:pt x="7352841" y="323920"/>
                </a:lnTo>
                <a:lnTo>
                  <a:pt x="7372131" y="323920"/>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a:solidFill>
                <a:schemeClr val="accent3"/>
              </a:solidFill>
            </a:endParaRPr>
          </a:p>
        </p:txBody>
      </p:sp>
      <p:grpSp>
        <p:nvGrpSpPr>
          <p:cNvPr id="2" name="Group 1">
            <a:extLst>
              <a:ext uri="{FF2B5EF4-FFF2-40B4-BE49-F238E27FC236}">
                <a16:creationId xmlns:a16="http://schemas.microsoft.com/office/drawing/2014/main" id="{E044F825-32A7-EE4B-8666-B4BFA1F5116E}"/>
              </a:ext>
            </a:extLst>
          </p:cNvPr>
          <p:cNvGrpSpPr/>
          <p:nvPr userDrawn="1"/>
        </p:nvGrpSpPr>
        <p:grpSpPr>
          <a:xfrm>
            <a:off x="-266701" y="3892184"/>
            <a:ext cx="259364" cy="2552349"/>
            <a:chOff x="-266701" y="3892184"/>
            <a:chExt cx="259364" cy="2552349"/>
          </a:xfrm>
        </p:grpSpPr>
        <p:grpSp>
          <p:nvGrpSpPr>
            <p:cNvPr id="14" name="Group 13">
              <a:extLst>
                <a:ext uri="{FF2B5EF4-FFF2-40B4-BE49-F238E27FC236}">
                  <a16:creationId xmlns:a16="http://schemas.microsoft.com/office/drawing/2014/main" id="{A7A1D6F1-47B6-2D4F-A5EC-E7EA70685A9A}"/>
                </a:ext>
              </a:extLst>
            </p:cNvPr>
            <p:cNvGrpSpPr/>
            <p:nvPr userDrawn="1"/>
          </p:nvGrpSpPr>
          <p:grpSpPr>
            <a:xfrm>
              <a:off x="-266701" y="3892184"/>
              <a:ext cx="259364" cy="1365066"/>
              <a:chOff x="-256404" y="360363"/>
              <a:chExt cx="251461" cy="692152"/>
            </a:xfrm>
          </p:grpSpPr>
          <p:grpSp>
            <p:nvGrpSpPr>
              <p:cNvPr id="15" name="Group 14">
                <a:extLst>
                  <a:ext uri="{FF2B5EF4-FFF2-40B4-BE49-F238E27FC236}">
                    <a16:creationId xmlns:a16="http://schemas.microsoft.com/office/drawing/2014/main" id="{5D298027-A0B6-0B47-9F3C-4771F8511D99}"/>
                  </a:ext>
                </a:extLst>
              </p:cNvPr>
              <p:cNvGrpSpPr/>
              <p:nvPr userDrawn="1"/>
            </p:nvGrpSpPr>
            <p:grpSpPr>
              <a:xfrm rot="16200000">
                <a:off x="-476749" y="580708"/>
                <a:ext cx="692152" cy="251461"/>
                <a:chOff x="431800" y="-235792"/>
                <a:chExt cx="4400551" cy="235792"/>
              </a:xfrm>
            </p:grpSpPr>
            <p:cxnSp>
              <p:nvCxnSpPr>
                <p:cNvPr id="18" name="Straight Connector 17">
                  <a:extLst>
                    <a:ext uri="{FF2B5EF4-FFF2-40B4-BE49-F238E27FC236}">
                      <a16:creationId xmlns:a16="http://schemas.microsoft.com/office/drawing/2014/main" id="{EE244243-B24F-614B-B0DC-CA05EF17A1C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216D1E7-03CD-BD4D-886C-ACE79F5FBD2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74B3AD39-0D61-0F4F-86A5-31F8A0FBDC80}"/>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sp>
            <p:nvSpPr>
              <p:cNvPr id="17" name="TextBox 16">
                <a:extLst>
                  <a:ext uri="{FF2B5EF4-FFF2-40B4-BE49-F238E27FC236}">
                    <a16:creationId xmlns:a16="http://schemas.microsoft.com/office/drawing/2014/main" id="{4D333CAE-7C17-5742-987D-8F3FF786584C}"/>
                  </a:ext>
                </a:extLst>
              </p:cNvPr>
              <p:cNvSpPr txBox="1"/>
              <p:nvPr userDrawn="1"/>
            </p:nvSpPr>
            <p:spPr>
              <a:xfrm rot="16200000">
                <a:off x="-192445" y="662666"/>
                <a:ext cx="123545"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ITLE</a:t>
                </a:r>
              </a:p>
            </p:txBody>
          </p:sp>
        </p:grpSp>
        <p:grpSp>
          <p:nvGrpSpPr>
            <p:cNvPr id="24" name="Group 23">
              <a:extLst>
                <a:ext uri="{FF2B5EF4-FFF2-40B4-BE49-F238E27FC236}">
                  <a16:creationId xmlns:a16="http://schemas.microsoft.com/office/drawing/2014/main" id="{1CA0517E-4F60-ED4F-804A-16FA757BDA91}"/>
                </a:ext>
              </a:extLst>
            </p:cNvPr>
            <p:cNvGrpSpPr/>
            <p:nvPr userDrawn="1"/>
          </p:nvGrpSpPr>
          <p:grpSpPr>
            <a:xfrm>
              <a:off x="-266701" y="6029561"/>
              <a:ext cx="259364" cy="414972"/>
              <a:chOff x="-256404" y="360363"/>
              <a:chExt cx="251461" cy="692152"/>
            </a:xfrm>
          </p:grpSpPr>
          <p:grpSp>
            <p:nvGrpSpPr>
              <p:cNvPr id="25" name="Group 24">
                <a:extLst>
                  <a:ext uri="{FF2B5EF4-FFF2-40B4-BE49-F238E27FC236}">
                    <a16:creationId xmlns:a16="http://schemas.microsoft.com/office/drawing/2014/main" id="{31CA14E0-B2B8-6547-B2FF-02D6D0D2AA28}"/>
                  </a:ext>
                </a:extLst>
              </p:cNvPr>
              <p:cNvGrpSpPr/>
              <p:nvPr userDrawn="1"/>
            </p:nvGrpSpPr>
            <p:grpSpPr>
              <a:xfrm rot="16200000">
                <a:off x="-476749" y="580708"/>
                <a:ext cx="692152" cy="251461"/>
                <a:chOff x="431800" y="-235792"/>
                <a:chExt cx="4400551" cy="235792"/>
              </a:xfrm>
            </p:grpSpPr>
            <p:cxnSp>
              <p:nvCxnSpPr>
                <p:cNvPr id="27" name="Straight Connector 26">
                  <a:extLst>
                    <a:ext uri="{FF2B5EF4-FFF2-40B4-BE49-F238E27FC236}">
                      <a16:creationId xmlns:a16="http://schemas.microsoft.com/office/drawing/2014/main" id="{E17766C4-7F63-E341-9DD3-A8015F5B87B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5CEC5FE-E83E-6344-A543-7C48E4E5807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A81F2A08-CD7A-9F40-9BAD-6D3B470AEF5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a:p>
              </p:txBody>
            </p:sp>
          </p:grpSp>
          <p:sp>
            <p:nvSpPr>
              <p:cNvPr id="26" name="TextBox 25">
                <a:extLst>
                  <a:ext uri="{FF2B5EF4-FFF2-40B4-BE49-F238E27FC236}">
                    <a16:creationId xmlns:a16="http://schemas.microsoft.com/office/drawing/2014/main" id="{A3586E52-67F0-F147-887F-B29479026788}"/>
                  </a:ext>
                </a:extLst>
              </p:cNvPr>
              <p:cNvSpPr txBox="1"/>
              <p:nvPr userDrawn="1"/>
            </p:nvSpPr>
            <p:spPr>
              <a:xfrm rot="16200000">
                <a:off x="-328529" y="662664"/>
                <a:ext cx="395711"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DATE</a:t>
                </a:r>
              </a:p>
            </p:txBody>
          </p:sp>
        </p:grpSp>
      </p:grpSp>
      <p:grpSp>
        <p:nvGrpSpPr>
          <p:cNvPr id="60" name="Group 59">
            <a:extLst>
              <a:ext uri="{FF2B5EF4-FFF2-40B4-BE49-F238E27FC236}">
                <a16:creationId xmlns:a16="http://schemas.microsoft.com/office/drawing/2014/main" id="{3510DCC4-D20A-8449-B097-231410298FBE}"/>
              </a:ext>
            </a:extLst>
          </p:cNvPr>
          <p:cNvGrpSpPr/>
          <p:nvPr userDrawn="1"/>
        </p:nvGrpSpPr>
        <p:grpSpPr>
          <a:xfrm>
            <a:off x="12543473" y="9247"/>
            <a:ext cx="2874210" cy="6858001"/>
            <a:chOff x="9144000" y="-1"/>
            <a:chExt cx="2874210" cy="6858001"/>
          </a:xfrm>
        </p:grpSpPr>
        <p:sp>
          <p:nvSpPr>
            <p:cNvPr id="61" name="Rectangle 60">
              <a:extLst>
                <a:ext uri="{FF2B5EF4-FFF2-40B4-BE49-F238E27FC236}">
                  <a16:creationId xmlns:a16="http://schemas.microsoft.com/office/drawing/2014/main" id="{F6E100C5-9AB8-D948-A826-C94ED473C98F}"/>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grpSp>
          <p:nvGrpSpPr>
            <p:cNvPr id="62" name="Group 61">
              <a:extLst>
                <a:ext uri="{FF2B5EF4-FFF2-40B4-BE49-F238E27FC236}">
                  <a16:creationId xmlns:a16="http://schemas.microsoft.com/office/drawing/2014/main" id="{AC298B88-A844-3940-B677-02BA8711C84A}"/>
                </a:ext>
              </a:extLst>
            </p:cNvPr>
            <p:cNvGrpSpPr/>
            <p:nvPr userDrawn="1"/>
          </p:nvGrpSpPr>
          <p:grpSpPr>
            <a:xfrm>
              <a:off x="9263395" y="150289"/>
              <a:ext cx="2754815" cy="6013825"/>
              <a:chOff x="9266651" y="185338"/>
              <a:chExt cx="2754815" cy="6013825"/>
            </a:xfrm>
          </p:grpSpPr>
          <p:sp>
            <p:nvSpPr>
              <p:cNvPr id="63" name="TextBox 62">
                <a:extLst>
                  <a:ext uri="{FF2B5EF4-FFF2-40B4-BE49-F238E27FC236}">
                    <a16:creationId xmlns:a16="http://schemas.microsoft.com/office/drawing/2014/main" id="{D00FDC46-C358-B748-A611-A793B6AA49D7}"/>
                  </a:ext>
                </a:extLst>
              </p:cNvPr>
              <p:cNvSpPr txBox="1"/>
              <p:nvPr userDrawn="1"/>
            </p:nvSpPr>
            <p:spPr>
              <a:xfrm>
                <a:off x="9303325" y="185338"/>
                <a:ext cx="164468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a:solidFill>
                      <a:schemeClr val="bg1"/>
                    </a:solidFill>
                  </a:rPr>
                  <a:t>HOW TO ADD AN IMAGE</a:t>
                </a:r>
              </a:p>
            </p:txBody>
          </p:sp>
          <p:cxnSp>
            <p:nvCxnSpPr>
              <p:cNvPr id="64" name="Straight Connector 63">
                <a:extLst>
                  <a:ext uri="{FF2B5EF4-FFF2-40B4-BE49-F238E27FC236}">
                    <a16:creationId xmlns:a16="http://schemas.microsoft.com/office/drawing/2014/main" id="{9B2F8C4C-A818-C14E-855D-FAF1213625B7}"/>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3393DA12-86E1-FD46-AF4B-3752A00D0D42}"/>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66" name="Group 65">
                <a:extLst>
                  <a:ext uri="{FF2B5EF4-FFF2-40B4-BE49-F238E27FC236}">
                    <a16:creationId xmlns:a16="http://schemas.microsoft.com/office/drawing/2014/main" id="{C3509BB9-7C08-8D43-8E2D-D9AD55C8A9D3}"/>
                  </a:ext>
                </a:extLst>
              </p:cNvPr>
              <p:cNvGrpSpPr/>
              <p:nvPr userDrawn="1"/>
            </p:nvGrpSpPr>
            <p:grpSpPr>
              <a:xfrm>
                <a:off x="9286315" y="4787848"/>
                <a:ext cx="2735151" cy="1411315"/>
                <a:chOff x="9296567" y="4449432"/>
                <a:chExt cx="2735151" cy="1411315"/>
              </a:xfrm>
            </p:grpSpPr>
            <p:grpSp>
              <p:nvGrpSpPr>
                <p:cNvPr id="81" name="Group 80">
                  <a:extLst>
                    <a:ext uri="{FF2B5EF4-FFF2-40B4-BE49-F238E27FC236}">
                      <a16:creationId xmlns:a16="http://schemas.microsoft.com/office/drawing/2014/main" id="{96EFE2EE-F601-8244-AE48-07015B0AE289}"/>
                    </a:ext>
                  </a:extLst>
                </p:cNvPr>
                <p:cNvGrpSpPr/>
                <p:nvPr userDrawn="1"/>
              </p:nvGrpSpPr>
              <p:grpSpPr>
                <a:xfrm>
                  <a:off x="9296567" y="4449432"/>
                  <a:ext cx="2735151" cy="1411315"/>
                  <a:chOff x="9296567" y="4910411"/>
                  <a:chExt cx="2735151" cy="1411315"/>
                </a:xfrm>
              </p:grpSpPr>
              <p:sp>
                <p:nvSpPr>
                  <p:cNvPr id="83" name="Rectangle 82">
                    <a:extLst>
                      <a:ext uri="{FF2B5EF4-FFF2-40B4-BE49-F238E27FC236}">
                        <a16:creationId xmlns:a16="http://schemas.microsoft.com/office/drawing/2014/main" id="{EBB61242-8BBE-784A-9AAE-9D4E794414EB}"/>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TextBox 83">
                    <a:extLst>
                      <a:ext uri="{FF2B5EF4-FFF2-40B4-BE49-F238E27FC236}">
                        <a16:creationId xmlns:a16="http://schemas.microsoft.com/office/drawing/2014/main" id="{892B12E1-AC82-BE45-A36E-7DB7C9D17391}"/>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85" name="Graphic 84">
                    <a:extLst>
                      <a:ext uri="{FF2B5EF4-FFF2-40B4-BE49-F238E27FC236}">
                        <a16:creationId xmlns:a16="http://schemas.microsoft.com/office/drawing/2014/main" id="{B96270E6-0736-5444-83F4-03B5275C3A0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86" name="TextBox 85">
                    <a:extLst>
                      <a:ext uri="{FF2B5EF4-FFF2-40B4-BE49-F238E27FC236}">
                        <a16:creationId xmlns:a16="http://schemas.microsoft.com/office/drawing/2014/main" id="{7BC55BF9-B9BB-614B-8CA9-B8263E86631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Fix this quickly by pressing the Reset (              ) button.</a:t>
                    </a:r>
                  </a:p>
                </p:txBody>
              </p:sp>
              <p:sp>
                <p:nvSpPr>
                  <p:cNvPr id="87" name="TextBox 86">
                    <a:extLst>
                      <a:ext uri="{FF2B5EF4-FFF2-40B4-BE49-F238E27FC236}">
                        <a16:creationId xmlns:a16="http://schemas.microsoft.com/office/drawing/2014/main" id="{D4DF4191-AD0D-F146-8248-92501938C1B0}"/>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8" name="TextBox 87">
                    <a:extLst>
                      <a:ext uri="{FF2B5EF4-FFF2-40B4-BE49-F238E27FC236}">
                        <a16:creationId xmlns:a16="http://schemas.microsoft.com/office/drawing/2014/main" id="{D3440E5B-CEBC-3F40-B3D8-727005C33F70}"/>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pic>
              <p:nvPicPr>
                <p:cNvPr id="82" name="Picture 81">
                  <a:extLst>
                    <a:ext uri="{FF2B5EF4-FFF2-40B4-BE49-F238E27FC236}">
                      <a16:creationId xmlns:a16="http://schemas.microsoft.com/office/drawing/2014/main" id="{10E06807-E8CE-6143-8252-239BC2A7FBAB}"/>
                    </a:ext>
                  </a:extLst>
                </p:cNvPr>
                <p:cNvPicPr>
                  <a:picLocks noChangeAspect="1"/>
                </p:cNvPicPr>
                <p:nvPr userDrawn="1"/>
              </p:nvPicPr>
              <p:blipFill rotWithShape="1">
                <a:blip r:embed="rId4"/>
                <a:srcRect t="-7688" r="11531" b="-1"/>
                <a:stretch/>
              </p:blipFill>
              <p:spPr>
                <a:xfrm>
                  <a:off x="10807672" y="5395966"/>
                  <a:ext cx="408951" cy="154247"/>
                </a:xfrm>
                <a:prstGeom prst="rect">
                  <a:avLst/>
                </a:prstGeom>
              </p:spPr>
            </p:pic>
          </p:grpSp>
          <p:grpSp>
            <p:nvGrpSpPr>
              <p:cNvPr id="67" name="Group 66">
                <a:extLst>
                  <a:ext uri="{FF2B5EF4-FFF2-40B4-BE49-F238E27FC236}">
                    <a16:creationId xmlns:a16="http://schemas.microsoft.com/office/drawing/2014/main" id="{3913BBDC-1106-FC4A-AC5F-9AB6EB36876B}"/>
                  </a:ext>
                </a:extLst>
              </p:cNvPr>
              <p:cNvGrpSpPr/>
              <p:nvPr userDrawn="1"/>
            </p:nvGrpSpPr>
            <p:grpSpPr>
              <a:xfrm>
                <a:off x="9286315" y="3431192"/>
                <a:ext cx="2735151" cy="1280928"/>
                <a:chOff x="9286315" y="6976989"/>
                <a:chExt cx="2735151" cy="1280928"/>
              </a:xfrm>
            </p:grpSpPr>
            <p:sp>
              <p:nvSpPr>
                <p:cNvPr id="76" name="Rectangle 75">
                  <a:extLst>
                    <a:ext uri="{FF2B5EF4-FFF2-40B4-BE49-F238E27FC236}">
                      <a16:creationId xmlns:a16="http://schemas.microsoft.com/office/drawing/2014/main" id="{36DA19A7-A526-374B-AC83-96238CD69003}"/>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7" name="TextBox 76">
                  <a:extLst>
                    <a:ext uri="{FF2B5EF4-FFF2-40B4-BE49-F238E27FC236}">
                      <a16:creationId xmlns:a16="http://schemas.microsoft.com/office/drawing/2014/main" id="{05EBDD53-1C9B-4A4C-AA80-784DD3D5586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78" name="Graphic 77">
                  <a:extLst>
                    <a:ext uri="{FF2B5EF4-FFF2-40B4-BE49-F238E27FC236}">
                      <a16:creationId xmlns:a16="http://schemas.microsoft.com/office/drawing/2014/main" id="{681EB123-DA79-724B-AF0E-C2CE1502189A}"/>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79" name="TextBox 78">
                  <a:extLst>
                    <a:ext uri="{FF2B5EF4-FFF2-40B4-BE49-F238E27FC236}">
                      <a16:creationId xmlns:a16="http://schemas.microsoft.com/office/drawing/2014/main" id="{DF762745-3F37-AC4B-AD78-1AFB0DCA58A2}"/>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80" name="Picture 79">
                  <a:extLst>
                    <a:ext uri="{FF2B5EF4-FFF2-40B4-BE49-F238E27FC236}">
                      <a16:creationId xmlns:a16="http://schemas.microsoft.com/office/drawing/2014/main" id="{1A3C5401-9FF6-F44C-998D-C9654D7EF217}"/>
                    </a:ext>
                  </a:extLst>
                </p:cNvPr>
                <p:cNvPicPr>
                  <a:picLocks noChangeAspect="1"/>
                </p:cNvPicPr>
                <p:nvPr userDrawn="1"/>
              </p:nvPicPr>
              <p:blipFill rotWithShape="1">
                <a:blip r:embed="rId5"/>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8" name="Group 67">
                <a:extLst>
                  <a:ext uri="{FF2B5EF4-FFF2-40B4-BE49-F238E27FC236}">
                    <a16:creationId xmlns:a16="http://schemas.microsoft.com/office/drawing/2014/main" id="{505146AC-A91B-D74B-9025-66C8C0169311}"/>
                  </a:ext>
                </a:extLst>
              </p:cNvPr>
              <p:cNvGrpSpPr/>
              <p:nvPr userDrawn="1"/>
            </p:nvGrpSpPr>
            <p:grpSpPr>
              <a:xfrm>
                <a:off x="9266651" y="510458"/>
                <a:ext cx="2617883" cy="651460"/>
                <a:chOff x="12352022" y="513115"/>
                <a:chExt cx="2617883" cy="651460"/>
              </a:xfrm>
            </p:grpSpPr>
            <p:sp>
              <p:nvSpPr>
                <p:cNvPr id="73" name="TextBox 72">
                  <a:extLst>
                    <a:ext uri="{FF2B5EF4-FFF2-40B4-BE49-F238E27FC236}">
                      <a16:creationId xmlns:a16="http://schemas.microsoft.com/office/drawing/2014/main" id="{690E2B9A-274A-2844-998B-6F2C7C04D24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74" name="TextBox 73">
                  <a:extLst>
                    <a:ext uri="{FF2B5EF4-FFF2-40B4-BE49-F238E27FC236}">
                      <a16:creationId xmlns:a16="http://schemas.microsoft.com/office/drawing/2014/main" id="{DFFF3287-492B-CD49-8EF4-89E32038571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75" name="TextBox 74">
                  <a:extLst>
                    <a:ext uri="{FF2B5EF4-FFF2-40B4-BE49-F238E27FC236}">
                      <a16:creationId xmlns:a16="http://schemas.microsoft.com/office/drawing/2014/main" id="{D52BB234-7D2A-F046-B3BE-CBBF09E4D79D}"/>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a:t>Select and download images from the Marketing Resource Database.</a:t>
                  </a:r>
                </a:p>
                <a:p>
                  <a:pPr lvl="0"/>
                  <a:r>
                    <a:rPr lang="en-US"/>
                    <a:t>Add the image to the placeholder.</a:t>
                  </a:r>
                </a:p>
              </p:txBody>
            </p:sp>
          </p:grpSp>
          <p:sp>
            <p:nvSpPr>
              <p:cNvPr id="69" name="TextBox 68">
                <a:extLst>
                  <a:ext uri="{FF2B5EF4-FFF2-40B4-BE49-F238E27FC236}">
                    <a16:creationId xmlns:a16="http://schemas.microsoft.com/office/drawing/2014/main" id="{745FAB17-9CC2-B549-8C7A-6C86A166FF58}"/>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70" name="TextBox 69">
                <a:extLst>
                  <a:ext uri="{FF2B5EF4-FFF2-40B4-BE49-F238E27FC236}">
                    <a16:creationId xmlns:a16="http://schemas.microsoft.com/office/drawing/2014/main" id="{60657C4C-637D-8F4D-9EFC-E519210D21F6}"/>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 </a:t>
                </a:r>
              </a:p>
              <a:p>
                <a:pPr lvl="1">
                  <a:buNone/>
                </a:pPr>
                <a:r>
                  <a:rPr lang="en-US" sz="1050"/>
                  <a:t>Right-click or use keyboard shortcuts to paste the image.</a:t>
                </a:r>
              </a:p>
            </p:txBody>
          </p:sp>
          <p:sp>
            <p:nvSpPr>
              <p:cNvPr id="71" name="TextBox 70">
                <a:extLst>
                  <a:ext uri="{FF2B5EF4-FFF2-40B4-BE49-F238E27FC236}">
                    <a16:creationId xmlns:a16="http://schemas.microsoft.com/office/drawing/2014/main" id="{54557CB2-1621-A147-BB34-A36BF8C82CDE}"/>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72" name="TextBox 71">
                <a:extLst>
                  <a:ext uri="{FF2B5EF4-FFF2-40B4-BE49-F238E27FC236}">
                    <a16:creationId xmlns:a16="http://schemas.microsoft.com/office/drawing/2014/main" id="{6A40B7E5-90E8-364C-A60C-445A84A5211F}"/>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 </a:t>
                </a:r>
                <a:br>
                  <a:rPr lang="en-US" sz="700"/>
                </a:br>
                <a:r>
                  <a:rPr lang="en-US" sz="700"/>
                  <a:t>In this case use one of the other methods.</a:t>
                </a:r>
              </a:p>
            </p:txBody>
          </p:sp>
        </p:grpSp>
      </p:grpSp>
      <p:sp>
        <p:nvSpPr>
          <p:cNvPr id="89" name="Text Placeholder 2">
            <a:extLst>
              <a:ext uri="{FF2B5EF4-FFF2-40B4-BE49-F238E27FC236}">
                <a16:creationId xmlns:a16="http://schemas.microsoft.com/office/drawing/2014/main" id="{DB885154-082C-5F4A-983B-F3C7F286F987}"/>
              </a:ext>
            </a:extLst>
          </p:cNvPr>
          <p:cNvSpPr>
            <a:spLocks noGrp="1"/>
          </p:cNvSpPr>
          <p:nvPr>
            <p:ph type="body" sz="quarter" idx="26" hasCustomPrompt="1"/>
          </p:nvPr>
        </p:nvSpPr>
        <p:spPr>
          <a:xfrm>
            <a:off x="569913" y="6061208"/>
            <a:ext cx="3294379" cy="364145"/>
          </a:xfrm>
        </p:spPr>
        <p:txBody>
          <a:bodyPr anchor="ctr"/>
          <a:lstStyle>
            <a:lvl1pPr marL="9525" indent="0">
              <a:buFontTx/>
              <a:buNone/>
              <a:tabLst/>
              <a:defRPr sz="1400" b="0">
                <a:solidFill>
                  <a:srgbClr val="494848"/>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sp>
        <p:nvSpPr>
          <p:cNvPr id="50" name="Caption">
            <a:extLst>
              <a:ext uri="{FF2B5EF4-FFF2-40B4-BE49-F238E27FC236}">
                <a16:creationId xmlns:a16="http://schemas.microsoft.com/office/drawing/2014/main" id="{AC80869A-8CB6-AD41-B907-22C4FFED8DDC}"/>
              </a:ext>
            </a:extLst>
          </p:cNvPr>
          <p:cNvSpPr>
            <a:spLocks noGrp="1"/>
          </p:cNvSpPr>
          <p:nvPr>
            <p:ph type="body" sz="quarter" idx="500" hasCustomPrompt="1"/>
          </p:nvPr>
        </p:nvSpPr>
        <p:spPr>
          <a:xfrm>
            <a:off x="9649790" y="5356375"/>
            <a:ext cx="2254584" cy="152349"/>
          </a:xfrm>
          <a:effectLst/>
        </p:spPr>
        <p:txBody>
          <a:bodyPr wrap="square" anchor="b">
            <a:spAutoFit/>
          </a:bodyPr>
          <a:lstStyle>
            <a:lvl1pPr marL="0" marR="0" indent="0" algn="r" defTabSz="914400" rtl="0" eaLnBrk="1" fontAlgn="auto" latinLnBrk="0" hangingPunct="1">
              <a:lnSpc>
                <a:spcPct val="90000"/>
              </a:lnSpc>
              <a:spcBef>
                <a:spcPts val="0"/>
              </a:spcBef>
              <a:spcAft>
                <a:spcPts val="0"/>
              </a:spcAft>
              <a:buClrTx/>
              <a:buSzTx/>
              <a:buFont typeface="Wingdings" pitchFamily="2" charset="2"/>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pic>
        <p:nvPicPr>
          <p:cNvPr id="51" name="Graphic 6">
            <a:extLst>
              <a:ext uri="{FF2B5EF4-FFF2-40B4-BE49-F238E27FC236}">
                <a16:creationId xmlns:a16="http://schemas.microsoft.com/office/drawing/2014/main" id="{DB64351E-B149-C345-8FEF-DB32A2337C29}"/>
              </a:ext>
            </a:extLst>
          </p:cNvPr>
          <p:cNvPicPr>
            <a:picLocks noChangeAspect="1"/>
          </p:cNvPicPr>
          <p:nvPr userDrawn="1"/>
        </p:nvPicPr>
        <p:blipFill>
          <a:blip r:embed="rId6"/>
          <a:srcRect/>
          <a:stretch/>
        </p:blipFill>
        <p:spPr>
          <a:xfrm>
            <a:off x="9836850" y="6057369"/>
            <a:ext cx="2151409" cy="355304"/>
          </a:xfrm>
          <a:prstGeom prst="rect">
            <a:avLst/>
          </a:prstGeom>
        </p:spPr>
      </p:pic>
    </p:spTree>
    <p:extLst>
      <p:ext uri="{BB962C8B-B14F-4D97-AF65-F5344CB8AC3E}">
        <p14:creationId xmlns:p14="http://schemas.microsoft.com/office/powerpoint/2010/main" val="4043421915"/>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Photos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F7232953-10D7-9346-B58D-EA3D767D05C8}"/>
              </a:ext>
            </a:extLst>
          </p:cNvPr>
          <p:cNvSpPr>
            <a:spLocks noGrp="1"/>
          </p:cNvSpPr>
          <p:nvPr>
            <p:ph type="pic" sz="quarter" idx="13" hasCustomPrompt="1"/>
          </p:nvPr>
        </p:nvSpPr>
        <p:spPr>
          <a:xfrm>
            <a:off x="575711" y="1233641"/>
            <a:ext cx="5255999" cy="2134716"/>
          </a:xfrm>
          <a:solidFill>
            <a:srgbClr val="FFD566"/>
          </a:solidFill>
        </p:spPr>
        <p:txBody>
          <a:bodyPr anchor="ctr"/>
          <a:lstStyle>
            <a:lvl1pPr algn="ctr">
              <a:defRPr b="0">
                <a:solidFill>
                  <a:schemeClr val="bg1"/>
                </a:solidFill>
              </a:defRPr>
            </a:lvl1pPr>
          </a:lstStyle>
          <a:p>
            <a:r>
              <a:rPr lang="en-US"/>
              <a:t>Click icon to add photo</a:t>
            </a:r>
            <a:br>
              <a:rPr lang="en-US"/>
            </a:br>
            <a:br>
              <a:rPr lang="en-US"/>
            </a:br>
            <a:br>
              <a:rPr lang="en-US"/>
            </a:br>
            <a:br>
              <a:rPr lang="en-US"/>
            </a:br>
            <a:br>
              <a:rPr lang="en-US"/>
            </a:br>
            <a:endParaRPr lang="en-US"/>
          </a:p>
        </p:txBody>
      </p:sp>
      <p:sp>
        <p:nvSpPr>
          <p:cNvPr id="12" name="Picture Placeholder 7">
            <a:extLst>
              <a:ext uri="{FF2B5EF4-FFF2-40B4-BE49-F238E27FC236}">
                <a16:creationId xmlns:a16="http://schemas.microsoft.com/office/drawing/2014/main" id="{5852B5E0-86AD-3749-B882-594E0C761812}"/>
              </a:ext>
            </a:extLst>
          </p:cNvPr>
          <p:cNvSpPr>
            <a:spLocks noGrp="1"/>
          </p:cNvSpPr>
          <p:nvPr>
            <p:ph type="pic" sz="quarter" idx="14" hasCustomPrompt="1"/>
          </p:nvPr>
        </p:nvSpPr>
        <p:spPr>
          <a:xfrm>
            <a:off x="6361038" y="1233488"/>
            <a:ext cx="5255229" cy="2134938"/>
          </a:xfrm>
          <a:solidFill>
            <a:srgbClr val="FFD566"/>
          </a:solidFill>
        </p:spPr>
        <p:txBody>
          <a:bodyPr anchor="ctr"/>
          <a:lstStyle>
            <a:lvl1pPr algn="ctr">
              <a:defRPr b="0">
                <a:solidFill>
                  <a:schemeClr val="bg1"/>
                </a:solidFill>
              </a:defRPr>
            </a:lvl1pPr>
          </a:lstStyle>
          <a:p>
            <a:r>
              <a:rPr lang="en-US"/>
              <a:t>Click icon to add photo</a:t>
            </a:r>
            <a:br>
              <a:rPr lang="en-US"/>
            </a:br>
            <a:br>
              <a:rPr lang="en-US"/>
            </a:br>
            <a:br>
              <a:rPr lang="en-US"/>
            </a:br>
            <a:br>
              <a:rPr lang="en-US"/>
            </a:br>
            <a:br>
              <a:rPr lang="en-US"/>
            </a:br>
            <a:endParaRPr lang="en-US"/>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a:off x="6096000" y="1233488"/>
            <a:ext cx="0" cy="4932363"/>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00" name="Caption">
            <a:extLst>
              <a:ext uri="{FF2B5EF4-FFF2-40B4-BE49-F238E27FC236}">
                <a16:creationId xmlns:a16="http://schemas.microsoft.com/office/drawing/2014/main" id="{CF4AE758-84F6-C54D-A7DE-052D01982D22}"/>
              </a:ext>
            </a:extLst>
          </p:cNvPr>
          <p:cNvSpPr>
            <a:spLocks noGrp="1"/>
          </p:cNvSpPr>
          <p:nvPr>
            <p:ph type="body" sz="quarter" idx="500" hasCustomPrompt="1"/>
          </p:nvPr>
        </p:nvSpPr>
        <p:spPr>
          <a:xfrm>
            <a:off x="574967" y="2634840"/>
            <a:ext cx="5255997" cy="733587"/>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502" name="Caption 2">
            <a:extLst>
              <a:ext uri="{FF2B5EF4-FFF2-40B4-BE49-F238E27FC236}">
                <a16:creationId xmlns:a16="http://schemas.microsoft.com/office/drawing/2014/main" id="{AC269ED5-A2B1-6A4F-BE9E-2525E65191C5}"/>
              </a:ext>
            </a:extLst>
          </p:cNvPr>
          <p:cNvSpPr>
            <a:spLocks noGrp="1"/>
          </p:cNvSpPr>
          <p:nvPr>
            <p:ph type="body" sz="quarter" idx="502" hasCustomPrompt="1"/>
          </p:nvPr>
        </p:nvSpPr>
        <p:spPr>
          <a:xfrm>
            <a:off x="6360270" y="2634840"/>
            <a:ext cx="5255997" cy="733587"/>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499" name="Text Placeholder 1">
            <a:extLst>
              <a:ext uri="{FF2B5EF4-FFF2-40B4-BE49-F238E27FC236}">
                <a16:creationId xmlns:a16="http://schemas.microsoft.com/office/drawing/2014/main" id="{41B64066-3F3A-DB41-BCF0-E80DA5C45921}"/>
              </a:ext>
            </a:extLst>
          </p:cNvPr>
          <p:cNvSpPr>
            <a:spLocks noGrp="1"/>
          </p:cNvSpPr>
          <p:nvPr>
            <p:ph type="body" sz="quarter" idx="499"/>
          </p:nvPr>
        </p:nvSpPr>
        <p:spPr>
          <a:xfrm>
            <a:off x="575734" y="3535516"/>
            <a:ext cx="5255684" cy="26303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1" name="Text Placeholder 2">
            <a:extLst>
              <a:ext uri="{FF2B5EF4-FFF2-40B4-BE49-F238E27FC236}">
                <a16:creationId xmlns:a16="http://schemas.microsoft.com/office/drawing/2014/main" id="{260EFF75-E658-614B-A491-3B51B67CB5AB}"/>
              </a:ext>
            </a:extLst>
          </p:cNvPr>
          <p:cNvSpPr>
            <a:spLocks noGrp="1"/>
          </p:cNvSpPr>
          <p:nvPr>
            <p:ph type="body" sz="quarter" idx="501"/>
          </p:nvPr>
        </p:nvSpPr>
        <p:spPr>
          <a:xfrm>
            <a:off x="6360583" y="3535516"/>
            <a:ext cx="5255684" cy="26303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C2462BB1-A914-C04A-8D72-3148BA19C440}"/>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260B3C8A-5655-8B44-8713-F8E0DC8EB268}"/>
              </a:ext>
            </a:extLst>
          </p:cNvPr>
          <p:cNvSpPr>
            <a:spLocks noGrp="1"/>
          </p:cNvSpPr>
          <p:nvPr userDrawn="1">
            <p:ph type="dt" sz="half" idx="112"/>
          </p:nvPr>
        </p:nvSpPr>
        <p:spPr/>
        <p:txBody>
          <a:bodyPr/>
          <a:lstStyle/>
          <a:p>
            <a:endParaRPr lang="en-US"/>
          </a:p>
        </p:txBody>
      </p:sp>
      <p:sp>
        <p:nvSpPr>
          <p:cNvPr id="6" name="Footer Placeholder 5">
            <a:extLst>
              <a:ext uri="{FF2B5EF4-FFF2-40B4-BE49-F238E27FC236}">
                <a16:creationId xmlns:a16="http://schemas.microsoft.com/office/drawing/2014/main" id="{BA55FF92-D07E-284C-BB1E-EFB0F62B0728}"/>
              </a:ext>
            </a:extLst>
          </p:cNvPr>
          <p:cNvSpPr>
            <a:spLocks noGrp="1"/>
          </p:cNvSpPr>
          <p:nvPr userDrawn="1">
            <p:ph type="ftr" sz="quarter" idx="113"/>
          </p:nvPr>
        </p:nvSpPr>
        <p:spPr/>
        <p:txBody>
          <a:bodyPr/>
          <a:lstStyle/>
          <a:p>
            <a:endParaRPr lang="en-US"/>
          </a:p>
        </p:txBody>
      </p:sp>
      <p:sp>
        <p:nvSpPr>
          <p:cNvPr id="7" name="Slide Number Placeholder 6">
            <a:extLst>
              <a:ext uri="{FF2B5EF4-FFF2-40B4-BE49-F238E27FC236}">
                <a16:creationId xmlns:a16="http://schemas.microsoft.com/office/drawing/2014/main" id="{125CB6C4-3F83-8C46-9B51-1523B5214FBC}"/>
              </a:ext>
            </a:extLst>
          </p:cNvPr>
          <p:cNvSpPr>
            <a:spLocks noGrp="1"/>
          </p:cNvSpPr>
          <p:nvPr userDrawn="1">
            <p:ph type="sldNum" sz="quarter" idx="114"/>
          </p:nvPr>
        </p:nvSpPr>
        <p:spPr/>
        <p:txBody>
          <a:bodyPr/>
          <a:lstStyle/>
          <a:p>
            <a:pPr marL="12700"/>
            <a:fld id="{078C017C-E1B9-8443-B047-B08AAA027B45}" type="slidenum">
              <a:rPr lang="en-US" smtClean="0"/>
              <a:pPr marL="12700"/>
              <a:t>‹#›</a:t>
            </a:fld>
            <a:endParaRPr lang="en-US"/>
          </a:p>
        </p:txBody>
      </p:sp>
      <p:grpSp>
        <p:nvGrpSpPr>
          <p:cNvPr id="3" name="Group 2">
            <a:extLst>
              <a:ext uri="{FF2B5EF4-FFF2-40B4-BE49-F238E27FC236}">
                <a16:creationId xmlns:a16="http://schemas.microsoft.com/office/drawing/2014/main" id="{B5DD4673-07D8-2F47-AE16-41FB7DB1F691}"/>
              </a:ext>
            </a:extLst>
          </p:cNvPr>
          <p:cNvGrpSpPr/>
          <p:nvPr userDrawn="1"/>
        </p:nvGrpSpPr>
        <p:grpSpPr>
          <a:xfrm>
            <a:off x="12532243" y="-2"/>
            <a:ext cx="2996228" cy="9769405"/>
            <a:chOff x="9399182" y="-2"/>
            <a:chExt cx="2974470" cy="9769405"/>
          </a:xfrm>
        </p:grpSpPr>
        <p:sp>
          <p:nvSpPr>
            <p:cNvPr id="57" name="Rectangle 56">
              <a:extLst>
                <a:ext uri="{FF2B5EF4-FFF2-40B4-BE49-F238E27FC236}">
                  <a16:creationId xmlns:a16="http://schemas.microsoft.com/office/drawing/2014/main" id="{1EB07126-E360-1041-9164-DD8BA167A8AB}"/>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58" name="Picture 57">
              <a:extLst>
                <a:ext uri="{FF2B5EF4-FFF2-40B4-BE49-F238E27FC236}">
                  <a16:creationId xmlns:a16="http://schemas.microsoft.com/office/drawing/2014/main" id="{6821E402-D350-E444-8856-CC46A758A65E}"/>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9" name="Group 58">
              <a:extLst>
                <a:ext uri="{FF2B5EF4-FFF2-40B4-BE49-F238E27FC236}">
                  <a16:creationId xmlns:a16="http://schemas.microsoft.com/office/drawing/2014/main" id="{66715B48-D70E-A34F-8B62-E282410AAC7D}"/>
                </a:ext>
              </a:extLst>
            </p:cNvPr>
            <p:cNvGrpSpPr/>
            <p:nvPr userDrawn="1"/>
          </p:nvGrpSpPr>
          <p:grpSpPr>
            <a:xfrm>
              <a:off x="9541497" y="162442"/>
              <a:ext cx="2819400" cy="814510"/>
              <a:chOff x="-3644733" y="165205"/>
              <a:chExt cx="2819400" cy="814510"/>
            </a:xfrm>
          </p:grpSpPr>
          <p:sp>
            <p:nvSpPr>
              <p:cNvPr id="87" name="Rectangle 86">
                <a:extLst>
                  <a:ext uri="{FF2B5EF4-FFF2-40B4-BE49-F238E27FC236}">
                    <a16:creationId xmlns:a16="http://schemas.microsoft.com/office/drawing/2014/main" id="{258C8417-A50B-8A40-AAC7-69B29D878C1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8" name="TextBox 87">
                <a:extLst>
                  <a:ext uri="{FF2B5EF4-FFF2-40B4-BE49-F238E27FC236}">
                    <a16:creationId xmlns:a16="http://schemas.microsoft.com/office/drawing/2014/main" id="{D5350C49-A777-6241-98F9-3A4F555D085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89" name="Picture 88">
                <a:extLst>
                  <a:ext uri="{FF2B5EF4-FFF2-40B4-BE49-F238E27FC236}">
                    <a16:creationId xmlns:a16="http://schemas.microsoft.com/office/drawing/2014/main" id="{6602266A-7721-2749-BEF8-F0041AD01BC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0" name="Group 59">
              <a:extLst>
                <a:ext uri="{FF2B5EF4-FFF2-40B4-BE49-F238E27FC236}">
                  <a16:creationId xmlns:a16="http://schemas.microsoft.com/office/drawing/2014/main" id="{CA2A2AE4-DD6D-8844-B557-F45A9D1F1E5E}"/>
                </a:ext>
              </a:extLst>
            </p:cNvPr>
            <p:cNvGrpSpPr/>
            <p:nvPr userDrawn="1"/>
          </p:nvGrpSpPr>
          <p:grpSpPr>
            <a:xfrm>
              <a:off x="9521833" y="3755578"/>
              <a:ext cx="2754815" cy="6013825"/>
              <a:chOff x="9521833" y="2566288"/>
              <a:chExt cx="2754815" cy="6013825"/>
            </a:xfrm>
          </p:grpSpPr>
          <p:sp>
            <p:nvSpPr>
              <p:cNvPr id="63" name="TextBox 62">
                <a:extLst>
                  <a:ext uri="{FF2B5EF4-FFF2-40B4-BE49-F238E27FC236}">
                    <a16:creationId xmlns:a16="http://schemas.microsoft.com/office/drawing/2014/main" id="{399905FA-4468-DE44-8356-F030E128DE0E}"/>
                  </a:ext>
                </a:extLst>
              </p:cNvPr>
              <p:cNvSpPr txBox="1"/>
              <p:nvPr userDrawn="1"/>
            </p:nvSpPr>
            <p:spPr>
              <a:xfrm>
                <a:off x="9558507" y="256628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64" name="Straight Connector 63">
                <a:extLst>
                  <a:ext uri="{FF2B5EF4-FFF2-40B4-BE49-F238E27FC236}">
                    <a16:creationId xmlns:a16="http://schemas.microsoft.com/office/drawing/2014/main" id="{EEB7F7FC-6FB7-6B48-A4C7-1784FFA3B477}"/>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CFB53592-0368-5E42-BA03-98211B0977AE}"/>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66" name="Group 65">
                <a:extLst>
                  <a:ext uri="{FF2B5EF4-FFF2-40B4-BE49-F238E27FC236}">
                    <a16:creationId xmlns:a16="http://schemas.microsoft.com/office/drawing/2014/main" id="{70D6C76B-0CBD-8541-947F-B20A36C671CF}"/>
                  </a:ext>
                </a:extLst>
              </p:cNvPr>
              <p:cNvGrpSpPr/>
              <p:nvPr userDrawn="1"/>
            </p:nvGrpSpPr>
            <p:grpSpPr>
              <a:xfrm>
                <a:off x="9541497" y="7168798"/>
                <a:ext cx="2735151" cy="1411315"/>
                <a:chOff x="9296567" y="4910411"/>
                <a:chExt cx="2735151" cy="1411315"/>
              </a:xfrm>
            </p:grpSpPr>
            <p:sp>
              <p:nvSpPr>
                <p:cNvPr id="81" name="Rectangle 80">
                  <a:extLst>
                    <a:ext uri="{FF2B5EF4-FFF2-40B4-BE49-F238E27FC236}">
                      <a16:creationId xmlns:a16="http://schemas.microsoft.com/office/drawing/2014/main" id="{7B060E3F-3460-1340-A955-A0E0058CA96A}"/>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2" name="TextBox 81">
                  <a:extLst>
                    <a:ext uri="{FF2B5EF4-FFF2-40B4-BE49-F238E27FC236}">
                      <a16:creationId xmlns:a16="http://schemas.microsoft.com/office/drawing/2014/main" id="{CF89F7B0-F650-8844-A28B-9665EB78F56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83" name="Graphic 82">
                  <a:extLst>
                    <a:ext uri="{FF2B5EF4-FFF2-40B4-BE49-F238E27FC236}">
                      <a16:creationId xmlns:a16="http://schemas.microsoft.com/office/drawing/2014/main" id="{AC2297FF-4363-464B-AD47-EFF94E8CC13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4" name="TextBox 83">
                  <a:extLst>
                    <a:ext uri="{FF2B5EF4-FFF2-40B4-BE49-F238E27FC236}">
                      <a16:creationId xmlns:a16="http://schemas.microsoft.com/office/drawing/2014/main" id="{ECD7ABCD-E747-9145-B364-C6EE6679ED8D}"/>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5" name="TextBox 84">
                  <a:extLst>
                    <a:ext uri="{FF2B5EF4-FFF2-40B4-BE49-F238E27FC236}">
                      <a16:creationId xmlns:a16="http://schemas.microsoft.com/office/drawing/2014/main" id="{9D2EDEA1-AFD7-8144-9BFE-E95C524E5D8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6" name="TextBox 85">
                  <a:extLst>
                    <a:ext uri="{FF2B5EF4-FFF2-40B4-BE49-F238E27FC236}">
                      <a16:creationId xmlns:a16="http://schemas.microsoft.com/office/drawing/2014/main" id="{5D7D6192-8EC2-3147-944F-C9990998399D}"/>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67" name="Group 66">
                <a:extLst>
                  <a:ext uri="{FF2B5EF4-FFF2-40B4-BE49-F238E27FC236}">
                    <a16:creationId xmlns:a16="http://schemas.microsoft.com/office/drawing/2014/main" id="{07C54234-03B7-ED4C-95A6-74560FB7E24D}"/>
                  </a:ext>
                </a:extLst>
              </p:cNvPr>
              <p:cNvGrpSpPr/>
              <p:nvPr userDrawn="1"/>
            </p:nvGrpSpPr>
            <p:grpSpPr>
              <a:xfrm>
                <a:off x="9541497" y="5812142"/>
                <a:ext cx="2735151" cy="1280928"/>
                <a:chOff x="9286315" y="6976989"/>
                <a:chExt cx="2735151" cy="1280928"/>
              </a:xfrm>
            </p:grpSpPr>
            <p:sp>
              <p:nvSpPr>
                <p:cNvPr id="76" name="Rectangle 75">
                  <a:extLst>
                    <a:ext uri="{FF2B5EF4-FFF2-40B4-BE49-F238E27FC236}">
                      <a16:creationId xmlns:a16="http://schemas.microsoft.com/office/drawing/2014/main" id="{F53BB598-EA50-564F-ACB0-AF0849D9E4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7" name="TextBox 76">
                  <a:extLst>
                    <a:ext uri="{FF2B5EF4-FFF2-40B4-BE49-F238E27FC236}">
                      <a16:creationId xmlns:a16="http://schemas.microsoft.com/office/drawing/2014/main" id="{5709B753-3BAD-BA41-9041-2E20667632BC}"/>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78" name="Graphic 77">
                  <a:extLst>
                    <a:ext uri="{FF2B5EF4-FFF2-40B4-BE49-F238E27FC236}">
                      <a16:creationId xmlns:a16="http://schemas.microsoft.com/office/drawing/2014/main" id="{506AF462-47AB-2D41-9BC3-AFB0E9F9D82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79" name="TextBox 78">
                  <a:extLst>
                    <a:ext uri="{FF2B5EF4-FFF2-40B4-BE49-F238E27FC236}">
                      <a16:creationId xmlns:a16="http://schemas.microsoft.com/office/drawing/2014/main" id="{9A627AE6-C7F3-334D-A34F-2BC4E58C2E95}"/>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80" name="Picture 79">
                  <a:extLst>
                    <a:ext uri="{FF2B5EF4-FFF2-40B4-BE49-F238E27FC236}">
                      <a16:creationId xmlns:a16="http://schemas.microsoft.com/office/drawing/2014/main" id="{BA46C26C-A1B1-3143-B061-C7CB9671CDE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8" name="Group 67">
                <a:extLst>
                  <a:ext uri="{FF2B5EF4-FFF2-40B4-BE49-F238E27FC236}">
                    <a16:creationId xmlns:a16="http://schemas.microsoft.com/office/drawing/2014/main" id="{B638C602-8F7A-FF4F-9436-99BFF634F80A}"/>
                  </a:ext>
                </a:extLst>
              </p:cNvPr>
              <p:cNvGrpSpPr/>
              <p:nvPr userDrawn="1"/>
            </p:nvGrpSpPr>
            <p:grpSpPr>
              <a:xfrm>
                <a:off x="9521833" y="2891408"/>
                <a:ext cx="2617883" cy="651460"/>
                <a:chOff x="12352022" y="513115"/>
                <a:chExt cx="2617883" cy="651460"/>
              </a:xfrm>
            </p:grpSpPr>
            <p:sp>
              <p:nvSpPr>
                <p:cNvPr id="73" name="TextBox 72">
                  <a:extLst>
                    <a:ext uri="{FF2B5EF4-FFF2-40B4-BE49-F238E27FC236}">
                      <a16:creationId xmlns:a16="http://schemas.microsoft.com/office/drawing/2014/main" id="{F5E8575C-58DF-6F4D-846B-64E64AEAD4B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74" name="TextBox 73">
                  <a:extLst>
                    <a:ext uri="{FF2B5EF4-FFF2-40B4-BE49-F238E27FC236}">
                      <a16:creationId xmlns:a16="http://schemas.microsoft.com/office/drawing/2014/main" id="{7F689E54-3DDE-9146-9E71-0F9EF77EB584}"/>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75" name="TextBox 74">
                  <a:extLst>
                    <a:ext uri="{FF2B5EF4-FFF2-40B4-BE49-F238E27FC236}">
                      <a16:creationId xmlns:a16="http://schemas.microsoft.com/office/drawing/2014/main" id="{E200D3D3-053D-F342-9A67-0E660D73F76B}"/>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Select and download images from the Marketing Resource Database.</a:t>
                  </a:r>
                </a:p>
                <a:p>
                  <a:pPr lvl="0"/>
                  <a:r>
                    <a:rPr lang="en-US" sz="1050"/>
                    <a:t>Add the image to the placeholder.</a:t>
                  </a:r>
                </a:p>
              </p:txBody>
            </p:sp>
          </p:grpSp>
          <p:sp>
            <p:nvSpPr>
              <p:cNvPr id="69" name="TextBox 68">
                <a:extLst>
                  <a:ext uri="{FF2B5EF4-FFF2-40B4-BE49-F238E27FC236}">
                    <a16:creationId xmlns:a16="http://schemas.microsoft.com/office/drawing/2014/main" id="{7C8EB52F-15EB-7449-9FC6-CFECD8E81D6C}"/>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70" name="TextBox 69">
                <a:extLst>
                  <a:ext uri="{FF2B5EF4-FFF2-40B4-BE49-F238E27FC236}">
                    <a16:creationId xmlns:a16="http://schemas.microsoft.com/office/drawing/2014/main" id="{56C11956-D135-0244-8935-77ECF9139C68}"/>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71" name="TextBox 70">
                <a:extLst>
                  <a:ext uri="{FF2B5EF4-FFF2-40B4-BE49-F238E27FC236}">
                    <a16:creationId xmlns:a16="http://schemas.microsoft.com/office/drawing/2014/main" id="{841BDB28-CB56-C346-9DF5-E30F5ADD0CB7}"/>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72" name="TextBox 71">
                <a:extLst>
                  <a:ext uri="{FF2B5EF4-FFF2-40B4-BE49-F238E27FC236}">
                    <a16:creationId xmlns:a16="http://schemas.microsoft.com/office/drawing/2014/main" id="{7841BCCC-4BF1-1644-8598-448D5C40EC05}"/>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sp>
          <p:nvSpPr>
            <p:cNvPr id="61" name="TextBox 60">
              <a:extLst>
                <a:ext uri="{FF2B5EF4-FFF2-40B4-BE49-F238E27FC236}">
                  <a16:creationId xmlns:a16="http://schemas.microsoft.com/office/drawing/2014/main" id="{A0C7E1FE-3DCE-F245-ADBB-D7351343D700}"/>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62" name="Straight Connector 61">
              <a:extLst>
                <a:ext uri="{FF2B5EF4-FFF2-40B4-BE49-F238E27FC236}">
                  <a16:creationId xmlns:a16="http://schemas.microsoft.com/office/drawing/2014/main" id="{47B69573-680F-C847-8FB3-E97B96F0087B}"/>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156E90A0-F5F3-7D4A-BCA0-0B455A043EC4}"/>
                </a:ext>
              </a:extLst>
            </p:cNvPr>
            <p:cNvGrpSpPr/>
            <p:nvPr userDrawn="1"/>
          </p:nvGrpSpPr>
          <p:grpSpPr>
            <a:xfrm>
              <a:off x="9554253" y="2414886"/>
              <a:ext cx="2819399" cy="1181890"/>
              <a:chOff x="9541498" y="3352649"/>
              <a:chExt cx="2819399" cy="1181890"/>
            </a:xfrm>
          </p:grpSpPr>
          <p:grpSp>
            <p:nvGrpSpPr>
              <p:cNvPr id="53" name="Group 52">
                <a:extLst>
                  <a:ext uri="{FF2B5EF4-FFF2-40B4-BE49-F238E27FC236}">
                    <a16:creationId xmlns:a16="http://schemas.microsoft.com/office/drawing/2014/main" id="{E3B8AD0A-9353-E743-98CA-44AFA4D7C166}"/>
                  </a:ext>
                </a:extLst>
              </p:cNvPr>
              <p:cNvGrpSpPr/>
              <p:nvPr userDrawn="1"/>
            </p:nvGrpSpPr>
            <p:grpSpPr>
              <a:xfrm>
                <a:off x="9541498" y="3352649"/>
                <a:ext cx="2735150" cy="1181890"/>
                <a:chOff x="9541498" y="3751132"/>
                <a:chExt cx="2735150" cy="1181890"/>
              </a:xfrm>
            </p:grpSpPr>
            <p:grpSp>
              <p:nvGrpSpPr>
                <p:cNvPr id="55" name="Group 54">
                  <a:extLst>
                    <a:ext uri="{FF2B5EF4-FFF2-40B4-BE49-F238E27FC236}">
                      <a16:creationId xmlns:a16="http://schemas.microsoft.com/office/drawing/2014/main" id="{B0E8F800-E1AB-E746-8851-BE07C9573DF5}"/>
                    </a:ext>
                  </a:extLst>
                </p:cNvPr>
                <p:cNvGrpSpPr/>
                <p:nvPr userDrawn="1"/>
              </p:nvGrpSpPr>
              <p:grpSpPr>
                <a:xfrm>
                  <a:off x="9541498" y="3751132"/>
                  <a:ext cx="2735150" cy="1181890"/>
                  <a:chOff x="9296568" y="4910411"/>
                  <a:chExt cx="2735150" cy="1181890"/>
                </a:xfrm>
              </p:grpSpPr>
              <p:sp>
                <p:nvSpPr>
                  <p:cNvPr id="90" name="Rectangle 89">
                    <a:extLst>
                      <a:ext uri="{FF2B5EF4-FFF2-40B4-BE49-F238E27FC236}">
                        <a16:creationId xmlns:a16="http://schemas.microsoft.com/office/drawing/2014/main" id="{F0341023-B297-EE44-B1E7-3A1B988C0D34}"/>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91" name="TextBox 90">
                    <a:extLst>
                      <a:ext uri="{FF2B5EF4-FFF2-40B4-BE49-F238E27FC236}">
                        <a16:creationId xmlns:a16="http://schemas.microsoft.com/office/drawing/2014/main" id="{004FF57D-84DA-054C-BAE1-86A84ADB8BFA}"/>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92" name="TextBox 91">
                    <a:extLst>
                      <a:ext uri="{FF2B5EF4-FFF2-40B4-BE49-F238E27FC236}">
                        <a16:creationId xmlns:a16="http://schemas.microsoft.com/office/drawing/2014/main" id="{14A089B3-40F5-BA48-9C89-18CED644A608}"/>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56" name="Graphic 55">
                  <a:extLst>
                    <a:ext uri="{FF2B5EF4-FFF2-40B4-BE49-F238E27FC236}">
                      <a16:creationId xmlns:a16="http://schemas.microsoft.com/office/drawing/2014/main" id="{0F683FF8-BB88-8D4C-AFF7-96AC3276CB7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54" name="Picture 53">
                <a:extLst>
                  <a:ext uri="{FF2B5EF4-FFF2-40B4-BE49-F238E27FC236}">
                    <a16:creationId xmlns:a16="http://schemas.microsoft.com/office/drawing/2014/main" id="{CF48C183-4FC2-8B43-8812-4E977634650E}"/>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1676381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Photos and Text (Vertical)">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1" name="Picture Placeholder 7">
            <a:extLst>
              <a:ext uri="{FF2B5EF4-FFF2-40B4-BE49-F238E27FC236}">
                <a16:creationId xmlns:a16="http://schemas.microsoft.com/office/drawing/2014/main" id="{F7232953-10D7-9346-B58D-EA3D767D05C8}"/>
              </a:ext>
            </a:extLst>
          </p:cNvPr>
          <p:cNvSpPr>
            <a:spLocks noGrp="1"/>
          </p:cNvSpPr>
          <p:nvPr>
            <p:ph type="pic" sz="quarter" idx="13" hasCustomPrompt="1"/>
          </p:nvPr>
        </p:nvSpPr>
        <p:spPr>
          <a:xfrm>
            <a:off x="576481" y="1233642"/>
            <a:ext cx="3289905" cy="1466077"/>
          </a:xfrm>
          <a:solidFill>
            <a:srgbClr val="FFD566"/>
          </a:solidFill>
        </p:spPr>
        <p:txBody>
          <a:bodyPr anchor="ctr"/>
          <a:lstStyle>
            <a:lvl1pPr algn="ctr">
              <a:defRPr b="0">
                <a:solidFill>
                  <a:schemeClr val="bg1"/>
                </a:solidFill>
              </a:defRPr>
            </a:lvl1pPr>
          </a:lstStyle>
          <a:p>
            <a:r>
              <a:rPr lang="en-US"/>
              <a:t>Click icon to add photo</a:t>
            </a:r>
            <a:br>
              <a:rPr lang="en-US"/>
            </a:br>
            <a:br>
              <a:rPr lang="en-US"/>
            </a:br>
            <a:br>
              <a:rPr lang="en-US"/>
            </a:br>
            <a:br>
              <a:rPr lang="en-US"/>
            </a:br>
            <a:endParaRPr lang="en-US"/>
          </a:p>
        </p:txBody>
      </p:sp>
      <p:sp>
        <p:nvSpPr>
          <p:cNvPr id="12" name="Picture Placeholder 7">
            <a:extLst>
              <a:ext uri="{FF2B5EF4-FFF2-40B4-BE49-F238E27FC236}">
                <a16:creationId xmlns:a16="http://schemas.microsoft.com/office/drawing/2014/main" id="{5852B5E0-86AD-3749-B882-594E0C761812}"/>
              </a:ext>
            </a:extLst>
          </p:cNvPr>
          <p:cNvSpPr>
            <a:spLocks noGrp="1"/>
          </p:cNvSpPr>
          <p:nvPr>
            <p:ph type="pic" sz="quarter" idx="14" hasCustomPrompt="1"/>
          </p:nvPr>
        </p:nvSpPr>
        <p:spPr>
          <a:xfrm>
            <a:off x="4451900" y="1233488"/>
            <a:ext cx="3289424" cy="1466229"/>
          </a:xfrm>
          <a:solidFill>
            <a:srgbClr val="FFD566"/>
          </a:solidFill>
        </p:spPr>
        <p:txBody>
          <a:bodyPr anchor="ctr"/>
          <a:lstStyle>
            <a:lvl1pPr algn="ctr">
              <a:defRPr b="0">
                <a:solidFill>
                  <a:schemeClr val="bg1"/>
                </a:solidFill>
              </a:defRPr>
            </a:lvl1pPr>
          </a:lstStyle>
          <a:p>
            <a:r>
              <a:rPr lang="en-US"/>
              <a:t>Click icon to add photo</a:t>
            </a:r>
            <a:br>
              <a:rPr lang="en-US"/>
            </a:br>
            <a:br>
              <a:rPr lang="en-US"/>
            </a:br>
            <a:br>
              <a:rPr lang="en-US"/>
            </a:br>
            <a:br>
              <a:rPr lang="en-US"/>
            </a:br>
            <a:endParaRPr lang="en-US"/>
          </a:p>
        </p:txBody>
      </p:sp>
      <p:sp>
        <p:nvSpPr>
          <p:cNvPr id="500" name="Caption">
            <a:extLst>
              <a:ext uri="{FF2B5EF4-FFF2-40B4-BE49-F238E27FC236}">
                <a16:creationId xmlns:a16="http://schemas.microsoft.com/office/drawing/2014/main" id="{CF4AE758-84F6-C54D-A7DE-052D01982D22}"/>
              </a:ext>
            </a:extLst>
          </p:cNvPr>
          <p:cNvSpPr>
            <a:spLocks noGrp="1"/>
          </p:cNvSpPr>
          <p:nvPr>
            <p:ph type="body" sz="quarter" idx="500" hasCustomPrompt="1"/>
          </p:nvPr>
        </p:nvSpPr>
        <p:spPr>
          <a:xfrm>
            <a:off x="575734" y="2147777"/>
            <a:ext cx="328990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502" name="Caption 2">
            <a:extLst>
              <a:ext uri="{FF2B5EF4-FFF2-40B4-BE49-F238E27FC236}">
                <a16:creationId xmlns:a16="http://schemas.microsoft.com/office/drawing/2014/main" id="{AC269ED5-A2B1-6A4F-BE9E-2525E65191C5}"/>
              </a:ext>
            </a:extLst>
          </p:cNvPr>
          <p:cNvSpPr>
            <a:spLocks noGrp="1"/>
          </p:cNvSpPr>
          <p:nvPr>
            <p:ph type="body" sz="quarter" idx="502" hasCustomPrompt="1"/>
          </p:nvPr>
        </p:nvSpPr>
        <p:spPr>
          <a:xfrm>
            <a:off x="4451042" y="2147777"/>
            <a:ext cx="328990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00" name="Photo">
            <a:extLst>
              <a:ext uri="{FF2B5EF4-FFF2-40B4-BE49-F238E27FC236}">
                <a16:creationId xmlns:a16="http://schemas.microsoft.com/office/drawing/2014/main" id="{A5A98BB7-3BBC-BF47-A9BC-1EE83DF5EEF5}"/>
              </a:ext>
            </a:extLst>
          </p:cNvPr>
          <p:cNvSpPr>
            <a:spLocks noGrp="1"/>
          </p:cNvSpPr>
          <p:nvPr>
            <p:ph type="pic" sz="quarter" idx="100" hasCustomPrompt="1"/>
          </p:nvPr>
        </p:nvSpPr>
        <p:spPr>
          <a:xfrm>
            <a:off x="8326839" y="1233488"/>
            <a:ext cx="3289424" cy="1466229"/>
          </a:xfrm>
          <a:solidFill>
            <a:srgbClr val="FFD566"/>
          </a:solidFill>
        </p:spPr>
        <p:txBody>
          <a:bodyPr anchor="ctr"/>
          <a:lstStyle>
            <a:lvl1pPr algn="ctr">
              <a:defRPr b="0">
                <a:solidFill>
                  <a:schemeClr val="bg1"/>
                </a:solidFill>
              </a:defRPr>
            </a:lvl1pPr>
          </a:lstStyle>
          <a:p>
            <a:r>
              <a:rPr lang="en-US"/>
              <a:t>Click icon to add photo</a:t>
            </a:r>
            <a:br>
              <a:rPr lang="en-US"/>
            </a:br>
            <a:br>
              <a:rPr lang="en-US"/>
            </a:br>
            <a:br>
              <a:rPr lang="en-US"/>
            </a:br>
            <a:br>
              <a:rPr lang="en-US"/>
            </a:br>
            <a:endParaRPr lang="en-US"/>
          </a:p>
        </p:txBody>
      </p:sp>
      <p:grpSp>
        <p:nvGrpSpPr>
          <p:cNvPr id="2" name="Group 1">
            <a:extLst>
              <a:ext uri="{FF2B5EF4-FFF2-40B4-BE49-F238E27FC236}">
                <a16:creationId xmlns:a16="http://schemas.microsoft.com/office/drawing/2014/main" id="{88F1C867-7832-304B-B6CD-BF0427937307}"/>
              </a:ext>
            </a:extLst>
          </p:cNvPr>
          <p:cNvGrpSpPr/>
          <p:nvPr userDrawn="1"/>
        </p:nvGrpSpPr>
        <p:grpSpPr>
          <a:xfrm>
            <a:off x="4159142" y="1233488"/>
            <a:ext cx="3874939" cy="4932363"/>
            <a:chOff x="3119357" y="1233487"/>
            <a:chExt cx="2906204" cy="4861079"/>
          </a:xfrm>
        </p:grpSpPr>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a:off x="3119357" y="1233487"/>
              <a:ext cx="0" cy="4861079"/>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a:off x="6025561" y="1233487"/>
              <a:ext cx="0" cy="4861079"/>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
        <p:nvSpPr>
          <p:cNvPr id="504" name="Caption 3">
            <a:extLst>
              <a:ext uri="{FF2B5EF4-FFF2-40B4-BE49-F238E27FC236}">
                <a16:creationId xmlns:a16="http://schemas.microsoft.com/office/drawing/2014/main" id="{42868E29-E783-A54C-A4B5-63DAB28D5BEF}"/>
              </a:ext>
            </a:extLst>
          </p:cNvPr>
          <p:cNvSpPr>
            <a:spLocks noGrp="1"/>
          </p:cNvSpPr>
          <p:nvPr>
            <p:ph type="body" sz="quarter" idx="504" hasCustomPrompt="1"/>
          </p:nvPr>
        </p:nvSpPr>
        <p:spPr>
          <a:xfrm>
            <a:off x="8326357" y="2147777"/>
            <a:ext cx="328990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499" name="Text Placeholder 1">
            <a:extLst>
              <a:ext uri="{FF2B5EF4-FFF2-40B4-BE49-F238E27FC236}">
                <a16:creationId xmlns:a16="http://schemas.microsoft.com/office/drawing/2014/main" id="{092CA0F9-EE9F-8C4F-9A14-8B88D9656C37}"/>
              </a:ext>
            </a:extLst>
          </p:cNvPr>
          <p:cNvSpPr>
            <a:spLocks noGrp="1"/>
          </p:cNvSpPr>
          <p:nvPr>
            <p:ph type="body" sz="quarter" idx="499"/>
          </p:nvPr>
        </p:nvSpPr>
        <p:spPr>
          <a:xfrm>
            <a:off x="575735" y="2866844"/>
            <a:ext cx="3289904"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1" name="Text Placeholder 2">
            <a:extLst>
              <a:ext uri="{FF2B5EF4-FFF2-40B4-BE49-F238E27FC236}">
                <a16:creationId xmlns:a16="http://schemas.microsoft.com/office/drawing/2014/main" id="{781EEB42-430C-9948-97C1-B9A99786D432}"/>
              </a:ext>
            </a:extLst>
          </p:cNvPr>
          <p:cNvSpPr>
            <a:spLocks noGrp="1"/>
          </p:cNvSpPr>
          <p:nvPr>
            <p:ph type="body" sz="quarter" idx="501"/>
          </p:nvPr>
        </p:nvSpPr>
        <p:spPr>
          <a:xfrm>
            <a:off x="4451041" y="2866844"/>
            <a:ext cx="3289904"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3" name="Text Placeholder 3">
            <a:extLst>
              <a:ext uri="{FF2B5EF4-FFF2-40B4-BE49-F238E27FC236}">
                <a16:creationId xmlns:a16="http://schemas.microsoft.com/office/drawing/2014/main" id="{8C3607B2-9D2D-5E49-86D7-3D3FC05F0012}"/>
              </a:ext>
            </a:extLst>
          </p:cNvPr>
          <p:cNvSpPr>
            <a:spLocks noGrp="1"/>
          </p:cNvSpPr>
          <p:nvPr>
            <p:ph type="body" sz="quarter" idx="503"/>
          </p:nvPr>
        </p:nvSpPr>
        <p:spPr>
          <a:xfrm>
            <a:off x="8326357" y="2866844"/>
            <a:ext cx="3289904"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0EF6CB6B-94CC-654E-AE09-4DED2D6EA769}"/>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6" name="Date Placeholder 5">
            <a:extLst>
              <a:ext uri="{FF2B5EF4-FFF2-40B4-BE49-F238E27FC236}">
                <a16:creationId xmlns:a16="http://schemas.microsoft.com/office/drawing/2014/main" id="{D895EACF-4F1C-3842-A7FF-4AC5A2D2E696}"/>
              </a:ext>
            </a:extLst>
          </p:cNvPr>
          <p:cNvSpPr>
            <a:spLocks noGrp="1"/>
          </p:cNvSpPr>
          <p:nvPr>
            <p:ph type="dt" sz="half" idx="116"/>
          </p:nvPr>
        </p:nvSpPr>
        <p:spPr/>
        <p:txBody>
          <a:bodyPr/>
          <a:lstStyle/>
          <a:p>
            <a:endParaRPr lang="en-US"/>
          </a:p>
        </p:txBody>
      </p:sp>
      <p:sp>
        <p:nvSpPr>
          <p:cNvPr id="7" name="Footer Placeholder 6">
            <a:extLst>
              <a:ext uri="{FF2B5EF4-FFF2-40B4-BE49-F238E27FC236}">
                <a16:creationId xmlns:a16="http://schemas.microsoft.com/office/drawing/2014/main" id="{56214F30-9FE6-D845-91CA-9835E0CF8D52}"/>
              </a:ext>
            </a:extLst>
          </p:cNvPr>
          <p:cNvSpPr>
            <a:spLocks noGrp="1"/>
          </p:cNvSpPr>
          <p:nvPr>
            <p:ph type="ftr" sz="quarter" idx="117"/>
          </p:nvPr>
        </p:nvSpPr>
        <p:spPr/>
        <p:txBody>
          <a:bodyPr/>
          <a:lstStyle/>
          <a:p>
            <a:endParaRPr lang="en-US"/>
          </a:p>
        </p:txBody>
      </p:sp>
      <p:sp>
        <p:nvSpPr>
          <p:cNvPr id="8" name="Slide Number Placeholder 7">
            <a:extLst>
              <a:ext uri="{FF2B5EF4-FFF2-40B4-BE49-F238E27FC236}">
                <a16:creationId xmlns:a16="http://schemas.microsoft.com/office/drawing/2014/main" id="{93172460-2E71-5943-A56D-3D902E900BD0}"/>
              </a:ext>
            </a:extLst>
          </p:cNvPr>
          <p:cNvSpPr>
            <a:spLocks noGrp="1"/>
          </p:cNvSpPr>
          <p:nvPr>
            <p:ph type="sldNum" sz="quarter" idx="118"/>
          </p:nvPr>
        </p:nvSpPr>
        <p:spPr/>
        <p:txBody>
          <a:bodyPr/>
          <a:lstStyle/>
          <a:p>
            <a:pPr marL="12700"/>
            <a:fld id="{078C017C-E1B9-8443-B047-B08AAA027B45}" type="slidenum">
              <a:rPr lang="en-US" smtClean="0"/>
              <a:pPr marL="12700"/>
              <a:t>‹#›</a:t>
            </a:fld>
            <a:endParaRPr lang="en-US"/>
          </a:p>
        </p:txBody>
      </p:sp>
      <p:grpSp>
        <p:nvGrpSpPr>
          <p:cNvPr id="61" name="Group 60">
            <a:extLst>
              <a:ext uri="{FF2B5EF4-FFF2-40B4-BE49-F238E27FC236}">
                <a16:creationId xmlns:a16="http://schemas.microsoft.com/office/drawing/2014/main" id="{E8CCE097-7F01-0944-9491-8E0CFE74CBB7}"/>
              </a:ext>
            </a:extLst>
          </p:cNvPr>
          <p:cNvGrpSpPr/>
          <p:nvPr userDrawn="1"/>
        </p:nvGrpSpPr>
        <p:grpSpPr>
          <a:xfrm>
            <a:off x="12532243" y="-2"/>
            <a:ext cx="2996228" cy="9769405"/>
            <a:chOff x="9399182" y="-2"/>
            <a:chExt cx="2974470" cy="9769405"/>
          </a:xfrm>
        </p:grpSpPr>
        <p:sp>
          <p:nvSpPr>
            <p:cNvPr id="62" name="Rectangle 61">
              <a:extLst>
                <a:ext uri="{FF2B5EF4-FFF2-40B4-BE49-F238E27FC236}">
                  <a16:creationId xmlns:a16="http://schemas.microsoft.com/office/drawing/2014/main" id="{A9963C13-224B-9F46-BBE3-AC0014612986}"/>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63" name="Picture 62">
              <a:extLst>
                <a:ext uri="{FF2B5EF4-FFF2-40B4-BE49-F238E27FC236}">
                  <a16:creationId xmlns:a16="http://schemas.microsoft.com/office/drawing/2014/main" id="{76850337-8F82-5B4F-8A50-3CC634D7A7E1}"/>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4" name="Group 63">
              <a:extLst>
                <a:ext uri="{FF2B5EF4-FFF2-40B4-BE49-F238E27FC236}">
                  <a16:creationId xmlns:a16="http://schemas.microsoft.com/office/drawing/2014/main" id="{56F9F20D-3786-9646-9665-930FF726625D}"/>
                </a:ext>
              </a:extLst>
            </p:cNvPr>
            <p:cNvGrpSpPr/>
            <p:nvPr userDrawn="1"/>
          </p:nvGrpSpPr>
          <p:grpSpPr>
            <a:xfrm>
              <a:off x="9541497" y="162442"/>
              <a:ext cx="2819400" cy="814510"/>
              <a:chOff x="-3644733" y="165205"/>
              <a:chExt cx="2819400" cy="814510"/>
            </a:xfrm>
          </p:grpSpPr>
          <p:sp>
            <p:nvSpPr>
              <p:cNvPr id="139" name="Rectangle 138">
                <a:extLst>
                  <a:ext uri="{FF2B5EF4-FFF2-40B4-BE49-F238E27FC236}">
                    <a16:creationId xmlns:a16="http://schemas.microsoft.com/office/drawing/2014/main" id="{0C9C751B-13F9-2D4D-AC1E-835BD4989C6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40" name="TextBox 139">
                <a:extLst>
                  <a:ext uri="{FF2B5EF4-FFF2-40B4-BE49-F238E27FC236}">
                    <a16:creationId xmlns:a16="http://schemas.microsoft.com/office/drawing/2014/main" id="{3723F786-881D-8C4C-A059-6C00AE6B348C}"/>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41" name="Picture 140">
                <a:extLst>
                  <a:ext uri="{FF2B5EF4-FFF2-40B4-BE49-F238E27FC236}">
                    <a16:creationId xmlns:a16="http://schemas.microsoft.com/office/drawing/2014/main" id="{6A5600FF-67C3-C04F-998E-0B741D6A31B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5" name="Group 64">
              <a:extLst>
                <a:ext uri="{FF2B5EF4-FFF2-40B4-BE49-F238E27FC236}">
                  <a16:creationId xmlns:a16="http://schemas.microsoft.com/office/drawing/2014/main" id="{6E0AC89E-B471-0440-B5F6-2F3C0B4FA469}"/>
                </a:ext>
              </a:extLst>
            </p:cNvPr>
            <p:cNvGrpSpPr/>
            <p:nvPr userDrawn="1"/>
          </p:nvGrpSpPr>
          <p:grpSpPr>
            <a:xfrm>
              <a:off x="9521833" y="3755578"/>
              <a:ext cx="2754815" cy="6013825"/>
              <a:chOff x="9521833" y="2566288"/>
              <a:chExt cx="2754815" cy="6013825"/>
            </a:xfrm>
          </p:grpSpPr>
          <p:sp>
            <p:nvSpPr>
              <p:cNvPr id="76" name="TextBox 75">
                <a:extLst>
                  <a:ext uri="{FF2B5EF4-FFF2-40B4-BE49-F238E27FC236}">
                    <a16:creationId xmlns:a16="http://schemas.microsoft.com/office/drawing/2014/main" id="{F1F6551C-4478-4845-8734-DC236A5EF84D}"/>
                  </a:ext>
                </a:extLst>
              </p:cNvPr>
              <p:cNvSpPr txBox="1"/>
              <p:nvPr userDrawn="1"/>
            </p:nvSpPr>
            <p:spPr>
              <a:xfrm>
                <a:off x="9558507" y="256628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77" name="Straight Connector 76">
                <a:extLst>
                  <a:ext uri="{FF2B5EF4-FFF2-40B4-BE49-F238E27FC236}">
                    <a16:creationId xmlns:a16="http://schemas.microsoft.com/office/drawing/2014/main" id="{C65AF4D7-1589-4241-85BB-EDCA7F6A9805}"/>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B7680516-68E2-F740-B11C-9E5DED258632}"/>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79" name="Group 78">
                <a:extLst>
                  <a:ext uri="{FF2B5EF4-FFF2-40B4-BE49-F238E27FC236}">
                    <a16:creationId xmlns:a16="http://schemas.microsoft.com/office/drawing/2014/main" id="{D58B5304-34E1-944E-97AF-84374C3BD476}"/>
                  </a:ext>
                </a:extLst>
              </p:cNvPr>
              <p:cNvGrpSpPr/>
              <p:nvPr userDrawn="1"/>
            </p:nvGrpSpPr>
            <p:grpSpPr>
              <a:xfrm>
                <a:off x="9541497" y="7168798"/>
                <a:ext cx="2735151" cy="1411315"/>
                <a:chOff x="9296567" y="4910411"/>
                <a:chExt cx="2735151" cy="1411315"/>
              </a:xfrm>
            </p:grpSpPr>
            <p:sp>
              <p:nvSpPr>
                <p:cNvPr id="94" name="Rectangle 93">
                  <a:extLst>
                    <a:ext uri="{FF2B5EF4-FFF2-40B4-BE49-F238E27FC236}">
                      <a16:creationId xmlns:a16="http://schemas.microsoft.com/office/drawing/2014/main" id="{AE2B8409-FB8E-0142-AE76-079F858861D9}"/>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22" name="TextBox 121">
                  <a:extLst>
                    <a:ext uri="{FF2B5EF4-FFF2-40B4-BE49-F238E27FC236}">
                      <a16:creationId xmlns:a16="http://schemas.microsoft.com/office/drawing/2014/main" id="{66EF1411-0296-564D-B3B9-4049956E719A}"/>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123" name="Graphic 122">
                  <a:extLst>
                    <a:ext uri="{FF2B5EF4-FFF2-40B4-BE49-F238E27FC236}">
                      <a16:creationId xmlns:a16="http://schemas.microsoft.com/office/drawing/2014/main" id="{FC0F72EC-3865-F047-8166-F7E050A887E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24" name="TextBox 123">
                  <a:extLst>
                    <a:ext uri="{FF2B5EF4-FFF2-40B4-BE49-F238E27FC236}">
                      <a16:creationId xmlns:a16="http://schemas.microsoft.com/office/drawing/2014/main" id="{715D3026-36F9-D848-A2C6-1A2329E4B6E4}"/>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25" name="TextBox 124">
                  <a:extLst>
                    <a:ext uri="{FF2B5EF4-FFF2-40B4-BE49-F238E27FC236}">
                      <a16:creationId xmlns:a16="http://schemas.microsoft.com/office/drawing/2014/main" id="{D85B8110-F2C6-3542-B320-775694A4A5ED}"/>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38" name="TextBox 137">
                  <a:extLst>
                    <a:ext uri="{FF2B5EF4-FFF2-40B4-BE49-F238E27FC236}">
                      <a16:creationId xmlns:a16="http://schemas.microsoft.com/office/drawing/2014/main" id="{4D99A0D4-2514-074F-97B1-BB482168D3A2}"/>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80" name="Group 79">
                <a:extLst>
                  <a:ext uri="{FF2B5EF4-FFF2-40B4-BE49-F238E27FC236}">
                    <a16:creationId xmlns:a16="http://schemas.microsoft.com/office/drawing/2014/main" id="{79CF3B39-1172-2042-A13E-9F66F8F22BD8}"/>
                  </a:ext>
                </a:extLst>
              </p:cNvPr>
              <p:cNvGrpSpPr/>
              <p:nvPr userDrawn="1"/>
            </p:nvGrpSpPr>
            <p:grpSpPr>
              <a:xfrm>
                <a:off x="9541497" y="5812142"/>
                <a:ext cx="2735151" cy="1280928"/>
                <a:chOff x="9286315" y="6976989"/>
                <a:chExt cx="2735151" cy="1280928"/>
              </a:xfrm>
            </p:grpSpPr>
            <p:sp>
              <p:nvSpPr>
                <p:cNvPr id="89" name="Rectangle 88">
                  <a:extLst>
                    <a:ext uri="{FF2B5EF4-FFF2-40B4-BE49-F238E27FC236}">
                      <a16:creationId xmlns:a16="http://schemas.microsoft.com/office/drawing/2014/main" id="{7D5E7A92-46AD-E84B-B943-3989163E1168}"/>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90" name="TextBox 89">
                  <a:extLst>
                    <a:ext uri="{FF2B5EF4-FFF2-40B4-BE49-F238E27FC236}">
                      <a16:creationId xmlns:a16="http://schemas.microsoft.com/office/drawing/2014/main" id="{313CB304-E6A6-544C-B5B9-2D55D7565137}"/>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91" name="Graphic 90">
                  <a:extLst>
                    <a:ext uri="{FF2B5EF4-FFF2-40B4-BE49-F238E27FC236}">
                      <a16:creationId xmlns:a16="http://schemas.microsoft.com/office/drawing/2014/main" id="{C71D94F9-F7AD-FC41-9974-437126629C2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92" name="TextBox 91">
                  <a:extLst>
                    <a:ext uri="{FF2B5EF4-FFF2-40B4-BE49-F238E27FC236}">
                      <a16:creationId xmlns:a16="http://schemas.microsoft.com/office/drawing/2014/main" id="{C811FFDB-5A2E-D845-881D-007C316AE75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93" name="Picture 92">
                  <a:extLst>
                    <a:ext uri="{FF2B5EF4-FFF2-40B4-BE49-F238E27FC236}">
                      <a16:creationId xmlns:a16="http://schemas.microsoft.com/office/drawing/2014/main" id="{9AE1CFE1-1677-9F48-8418-B9F8C830816B}"/>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81" name="Group 80">
                <a:extLst>
                  <a:ext uri="{FF2B5EF4-FFF2-40B4-BE49-F238E27FC236}">
                    <a16:creationId xmlns:a16="http://schemas.microsoft.com/office/drawing/2014/main" id="{4ACA87B6-7FCF-2C4B-8464-12EE241A8478}"/>
                  </a:ext>
                </a:extLst>
              </p:cNvPr>
              <p:cNvGrpSpPr/>
              <p:nvPr userDrawn="1"/>
            </p:nvGrpSpPr>
            <p:grpSpPr>
              <a:xfrm>
                <a:off x="9521833" y="2891408"/>
                <a:ext cx="2617883" cy="651460"/>
                <a:chOff x="12352022" y="513115"/>
                <a:chExt cx="2617883" cy="651460"/>
              </a:xfrm>
            </p:grpSpPr>
            <p:sp>
              <p:nvSpPr>
                <p:cNvPr id="86" name="TextBox 85">
                  <a:extLst>
                    <a:ext uri="{FF2B5EF4-FFF2-40B4-BE49-F238E27FC236}">
                      <a16:creationId xmlns:a16="http://schemas.microsoft.com/office/drawing/2014/main" id="{5649080B-44CF-2046-B8CC-8CC878871A51}"/>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87" name="TextBox 86">
                  <a:extLst>
                    <a:ext uri="{FF2B5EF4-FFF2-40B4-BE49-F238E27FC236}">
                      <a16:creationId xmlns:a16="http://schemas.microsoft.com/office/drawing/2014/main" id="{2907AF6F-C2CE-454D-AEDC-7455D0D1B1E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88" name="TextBox 87">
                  <a:extLst>
                    <a:ext uri="{FF2B5EF4-FFF2-40B4-BE49-F238E27FC236}">
                      <a16:creationId xmlns:a16="http://schemas.microsoft.com/office/drawing/2014/main" id="{F474D00A-51B5-F244-9B5B-C7D2A43C3F3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Select and download images from the Marketing Resource Database.</a:t>
                  </a:r>
                </a:p>
                <a:p>
                  <a:pPr lvl="0"/>
                  <a:r>
                    <a:rPr lang="en-US" sz="1050"/>
                    <a:t>Add the image to the placeholder.</a:t>
                  </a:r>
                </a:p>
              </p:txBody>
            </p:sp>
          </p:grpSp>
          <p:sp>
            <p:nvSpPr>
              <p:cNvPr id="82" name="TextBox 81">
                <a:extLst>
                  <a:ext uri="{FF2B5EF4-FFF2-40B4-BE49-F238E27FC236}">
                    <a16:creationId xmlns:a16="http://schemas.microsoft.com/office/drawing/2014/main" id="{BBEDC49F-63AE-614C-BB4B-E7F780A3D08C}"/>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83" name="TextBox 82">
                <a:extLst>
                  <a:ext uri="{FF2B5EF4-FFF2-40B4-BE49-F238E27FC236}">
                    <a16:creationId xmlns:a16="http://schemas.microsoft.com/office/drawing/2014/main" id="{BF341EDC-D8BC-F941-8A33-2B2D33CB014F}"/>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84" name="TextBox 83">
                <a:extLst>
                  <a:ext uri="{FF2B5EF4-FFF2-40B4-BE49-F238E27FC236}">
                    <a16:creationId xmlns:a16="http://schemas.microsoft.com/office/drawing/2014/main" id="{FFCA113D-B711-2841-B7E1-44F36D053560}"/>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85" name="TextBox 84">
                <a:extLst>
                  <a:ext uri="{FF2B5EF4-FFF2-40B4-BE49-F238E27FC236}">
                    <a16:creationId xmlns:a16="http://schemas.microsoft.com/office/drawing/2014/main" id="{008061AC-BE04-AA4F-BECE-42C257987C23}"/>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sp>
          <p:nvSpPr>
            <p:cNvPr id="66" name="TextBox 65">
              <a:extLst>
                <a:ext uri="{FF2B5EF4-FFF2-40B4-BE49-F238E27FC236}">
                  <a16:creationId xmlns:a16="http://schemas.microsoft.com/office/drawing/2014/main" id="{EB0D6810-968E-9346-8055-791C31501101}"/>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67" name="Straight Connector 66">
              <a:extLst>
                <a:ext uri="{FF2B5EF4-FFF2-40B4-BE49-F238E27FC236}">
                  <a16:creationId xmlns:a16="http://schemas.microsoft.com/office/drawing/2014/main" id="{11BFD583-D996-324B-AC0E-72DF09F69F40}"/>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8" name="Group 67">
              <a:extLst>
                <a:ext uri="{FF2B5EF4-FFF2-40B4-BE49-F238E27FC236}">
                  <a16:creationId xmlns:a16="http://schemas.microsoft.com/office/drawing/2014/main" id="{A1814D4A-20C6-334B-AEA0-7DCCCE20ACE7}"/>
                </a:ext>
              </a:extLst>
            </p:cNvPr>
            <p:cNvGrpSpPr/>
            <p:nvPr userDrawn="1"/>
          </p:nvGrpSpPr>
          <p:grpSpPr>
            <a:xfrm>
              <a:off x="9554253" y="2414886"/>
              <a:ext cx="2819399" cy="1181890"/>
              <a:chOff x="9541498" y="3352649"/>
              <a:chExt cx="2819399" cy="1181890"/>
            </a:xfrm>
          </p:grpSpPr>
          <p:grpSp>
            <p:nvGrpSpPr>
              <p:cNvPr id="69" name="Group 68">
                <a:extLst>
                  <a:ext uri="{FF2B5EF4-FFF2-40B4-BE49-F238E27FC236}">
                    <a16:creationId xmlns:a16="http://schemas.microsoft.com/office/drawing/2014/main" id="{23B8A346-9E67-1C46-B828-F82162A5C04D}"/>
                  </a:ext>
                </a:extLst>
              </p:cNvPr>
              <p:cNvGrpSpPr/>
              <p:nvPr userDrawn="1"/>
            </p:nvGrpSpPr>
            <p:grpSpPr>
              <a:xfrm>
                <a:off x="9541498" y="3352649"/>
                <a:ext cx="2735150" cy="1181890"/>
                <a:chOff x="9541498" y="3751132"/>
                <a:chExt cx="2735150" cy="1181890"/>
              </a:xfrm>
            </p:grpSpPr>
            <p:grpSp>
              <p:nvGrpSpPr>
                <p:cNvPr id="71" name="Group 70">
                  <a:extLst>
                    <a:ext uri="{FF2B5EF4-FFF2-40B4-BE49-F238E27FC236}">
                      <a16:creationId xmlns:a16="http://schemas.microsoft.com/office/drawing/2014/main" id="{D25B9B37-3E3B-184A-AD23-8BD1B0EE2518}"/>
                    </a:ext>
                  </a:extLst>
                </p:cNvPr>
                <p:cNvGrpSpPr/>
                <p:nvPr userDrawn="1"/>
              </p:nvGrpSpPr>
              <p:grpSpPr>
                <a:xfrm>
                  <a:off x="9541498" y="3751132"/>
                  <a:ext cx="2735150" cy="1181890"/>
                  <a:chOff x="9296568" y="4910411"/>
                  <a:chExt cx="2735150" cy="1181890"/>
                </a:xfrm>
              </p:grpSpPr>
              <p:sp>
                <p:nvSpPr>
                  <p:cNvPr id="73" name="Rectangle 72">
                    <a:extLst>
                      <a:ext uri="{FF2B5EF4-FFF2-40B4-BE49-F238E27FC236}">
                        <a16:creationId xmlns:a16="http://schemas.microsoft.com/office/drawing/2014/main" id="{9B460D1F-92A1-3646-9A3F-97F4FD683BFD}"/>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4" name="TextBox 73">
                    <a:extLst>
                      <a:ext uri="{FF2B5EF4-FFF2-40B4-BE49-F238E27FC236}">
                        <a16:creationId xmlns:a16="http://schemas.microsoft.com/office/drawing/2014/main" id="{B25478AD-F5A0-BE47-92A1-8E9EF567779E}"/>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75" name="TextBox 74">
                    <a:extLst>
                      <a:ext uri="{FF2B5EF4-FFF2-40B4-BE49-F238E27FC236}">
                        <a16:creationId xmlns:a16="http://schemas.microsoft.com/office/drawing/2014/main" id="{5C0FB84D-D7B7-0544-BE9F-5D32EED0AC06}"/>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72" name="Graphic 71">
                  <a:extLst>
                    <a:ext uri="{FF2B5EF4-FFF2-40B4-BE49-F238E27FC236}">
                      <a16:creationId xmlns:a16="http://schemas.microsoft.com/office/drawing/2014/main" id="{053D4E16-0700-AD4D-B22E-AF8187F8DC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70" name="Picture 69">
                <a:extLst>
                  <a:ext uri="{FF2B5EF4-FFF2-40B4-BE49-F238E27FC236}">
                    <a16:creationId xmlns:a16="http://schemas.microsoft.com/office/drawing/2014/main" id="{417A974B-CF00-F740-83DE-4FC8D5BAF895}"/>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95142074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Photos and Text (Horizontal)">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rot="5400000">
            <a:off x="6082599" y="-2675693"/>
            <a:ext cx="0" cy="1101378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rot="5400000">
            <a:off x="6082599" y="-946202"/>
            <a:ext cx="0" cy="1101378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499" name="Text Placeholder 1">
            <a:extLst>
              <a:ext uri="{FF2B5EF4-FFF2-40B4-BE49-F238E27FC236}">
                <a16:creationId xmlns:a16="http://schemas.microsoft.com/office/drawing/2014/main" id="{EA8D8CC5-DDED-9445-8A9A-D06B2B9A91DE}"/>
              </a:ext>
            </a:extLst>
          </p:cNvPr>
          <p:cNvSpPr>
            <a:spLocks noGrp="1"/>
          </p:cNvSpPr>
          <p:nvPr>
            <p:ph type="body" sz="quarter" idx="499"/>
          </p:nvPr>
        </p:nvSpPr>
        <p:spPr>
          <a:xfrm>
            <a:off x="3805768" y="1233488"/>
            <a:ext cx="7809985"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1" name="Text Placeholder 2">
            <a:extLst>
              <a:ext uri="{FF2B5EF4-FFF2-40B4-BE49-F238E27FC236}">
                <a16:creationId xmlns:a16="http://schemas.microsoft.com/office/drawing/2014/main" id="{65A45B82-A28A-C541-9948-969822196900}"/>
              </a:ext>
            </a:extLst>
          </p:cNvPr>
          <p:cNvSpPr>
            <a:spLocks noGrp="1"/>
          </p:cNvSpPr>
          <p:nvPr>
            <p:ph type="body" sz="quarter" idx="501"/>
          </p:nvPr>
        </p:nvSpPr>
        <p:spPr>
          <a:xfrm>
            <a:off x="3805768" y="2962517"/>
            <a:ext cx="7809985"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03" name="Text Placeholder 3">
            <a:extLst>
              <a:ext uri="{FF2B5EF4-FFF2-40B4-BE49-F238E27FC236}">
                <a16:creationId xmlns:a16="http://schemas.microsoft.com/office/drawing/2014/main" id="{8B46136D-9E6B-7348-A230-0C0B61F4043F}"/>
              </a:ext>
            </a:extLst>
          </p:cNvPr>
          <p:cNvSpPr>
            <a:spLocks noGrp="1"/>
          </p:cNvSpPr>
          <p:nvPr>
            <p:ph type="body" sz="quarter" idx="503"/>
          </p:nvPr>
        </p:nvSpPr>
        <p:spPr>
          <a:xfrm>
            <a:off x="3805768" y="4691546"/>
            <a:ext cx="7809985"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A9BB490B-C309-B748-9B19-AF93AAACA3CF}"/>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8" name="Picture Placeholder 7">
            <a:extLst>
              <a:ext uri="{FF2B5EF4-FFF2-40B4-BE49-F238E27FC236}">
                <a16:creationId xmlns:a16="http://schemas.microsoft.com/office/drawing/2014/main" id="{6F749DAD-56A6-D649-9F35-5B56FF579CB0}"/>
              </a:ext>
            </a:extLst>
          </p:cNvPr>
          <p:cNvSpPr>
            <a:spLocks noGrp="1"/>
          </p:cNvSpPr>
          <p:nvPr userDrawn="1">
            <p:ph type="pic" sz="quarter" idx="13" hasCustomPrompt="1"/>
          </p:nvPr>
        </p:nvSpPr>
        <p:spPr>
          <a:xfrm>
            <a:off x="576481" y="1233642"/>
            <a:ext cx="2896393" cy="1466077"/>
          </a:xfrm>
          <a:solidFill>
            <a:srgbClr val="FFD566"/>
          </a:solidFill>
        </p:spPr>
        <p:txBody>
          <a:bodyPr anchor="ctr"/>
          <a:lstStyle>
            <a:lvl1pPr algn="ctr">
              <a:defRPr b="0">
                <a:solidFill>
                  <a:schemeClr val="bg1"/>
                </a:solidFill>
              </a:defRPr>
            </a:lvl1pPr>
          </a:lstStyle>
          <a:p>
            <a:r>
              <a:rPr lang="en-US"/>
              <a:t>Click icon to add photo</a:t>
            </a:r>
            <a:br>
              <a:rPr lang="en-US"/>
            </a:br>
            <a:br>
              <a:rPr lang="en-US"/>
            </a:br>
            <a:br>
              <a:rPr lang="en-US"/>
            </a:br>
            <a:br>
              <a:rPr lang="en-US"/>
            </a:br>
            <a:endParaRPr lang="en-US"/>
          </a:p>
        </p:txBody>
      </p:sp>
      <p:sp>
        <p:nvSpPr>
          <p:cNvPr id="500" name="Caption">
            <a:extLst>
              <a:ext uri="{FF2B5EF4-FFF2-40B4-BE49-F238E27FC236}">
                <a16:creationId xmlns:a16="http://schemas.microsoft.com/office/drawing/2014/main" id="{D94C6D6D-4FAA-B44F-ACF0-6E5AB0A38656}"/>
              </a:ext>
            </a:extLst>
          </p:cNvPr>
          <p:cNvSpPr>
            <a:spLocks noGrp="1"/>
          </p:cNvSpPr>
          <p:nvPr userDrawn="1">
            <p:ph type="body" sz="quarter" idx="500" hasCustomPrompt="1"/>
          </p:nvPr>
        </p:nvSpPr>
        <p:spPr>
          <a:xfrm>
            <a:off x="575734" y="2147777"/>
            <a:ext cx="2896393"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60" name="Picture Placeholder 7">
            <a:extLst>
              <a:ext uri="{FF2B5EF4-FFF2-40B4-BE49-F238E27FC236}">
                <a16:creationId xmlns:a16="http://schemas.microsoft.com/office/drawing/2014/main" id="{2D1E164C-A44E-6C43-B08A-9A9E7394EE60}"/>
              </a:ext>
            </a:extLst>
          </p:cNvPr>
          <p:cNvSpPr>
            <a:spLocks noGrp="1"/>
          </p:cNvSpPr>
          <p:nvPr userDrawn="1">
            <p:ph type="pic" sz="quarter" idx="121" hasCustomPrompt="1"/>
          </p:nvPr>
        </p:nvSpPr>
        <p:spPr>
          <a:xfrm>
            <a:off x="576481" y="2962056"/>
            <a:ext cx="2896393" cy="1466077"/>
          </a:xfrm>
          <a:solidFill>
            <a:srgbClr val="FFD566"/>
          </a:solidFill>
        </p:spPr>
        <p:txBody>
          <a:bodyPr anchor="ctr"/>
          <a:lstStyle>
            <a:lvl1pPr algn="ctr">
              <a:defRPr b="0">
                <a:solidFill>
                  <a:schemeClr val="bg1"/>
                </a:solidFill>
              </a:defRPr>
            </a:lvl1pPr>
          </a:lstStyle>
          <a:p>
            <a:r>
              <a:rPr lang="en-US"/>
              <a:t>Click icon to add photo</a:t>
            </a:r>
            <a:br>
              <a:rPr lang="en-US"/>
            </a:br>
            <a:br>
              <a:rPr lang="en-US"/>
            </a:br>
            <a:br>
              <a:rPr lang="en-US"/>
            </a:br>
            <a:br>
              <a:rPr lang="en-US"/>
            </a:br>
            <a:endParaRPr lang="en-US"/>
          </a:p>
        </p:txBody>
      </p:sp>
      <p:sp>
        <p:nvSpPr>
          <p:cNvPr id="502" name="Caption 2">
            <a:extLst>
              <a:ext uri="{FF2B5EF4-FFF2-40B4-BE49-F238E27FC236}">
                <a16:creationId xmlns:a16="http://schemas.microsoft.com/office/drawing/2014/main" id="{72DD6B82-4027-214C-907A-917585DE52E2}"/>
              </a:ext>
            </a:extLst>
          </p:cNvPr>
          <p:cNvSpPr>
            <a:spLocks noGrp="1"/>
          </p:cNvSpPr>
          <p:nvPr userDrawn="1">
            <p:ph type="body" sz="quarter" idx="502" hasCustomPrompt="1"/>
          </p:nvPr>
        </p:nvSpPr>
        <p:spPr>
          <a:xfrm>
            <a:off x="575734" y="3876191"/>
            <a:ext cx="2896393"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62" name="Picture Placeholder 7">
            <a:extLst>
              <a:ext uri="{FF2B5EF4-FFF2-40B4-BE49-F238E27FC236}">
                <a16:creationId xmlns:a16="http://schemas.microsoft.com/office/drawing/2014/main" id="{12ACC18C-7823-4243-80B6-3AD22ABEB0F0}"/>
              </a:ext>
            </a:extLst>
          </p:cNvPr>
          <p:cNvSpPr>
            <a:spLocks noGrp="1"/>
          </p:cNvSpPr>
          <p:nvPr userDrawn="1">
            <p:ph type="pic" sz="quarter" idx="123" hasCustomPrompt="1"/>
          </p:nvPr>
        </p:nvSpPr>
        <p:spPr>
          <a:xfrm>
            <a:off x="576481" y="4691545"/>
            <a:ext cx="2896393" cy="1466077"/>
          </a:xfrm>
          <a:solidFill>
            <a:srgbClr val="FFD566"/>
          </a:solidFill>
        </p:spPr>
        <p:txBody>
          <a:bodyPr anchor="ctr"/>
          <a:lstStyle>
            <a:lvl1pPr algn="ctr">
              <a:defRPr b="0">
                <a:solidFill>
                  <a:schemeClr val="bg1"/>
                </a:solidFill>
              </a:defRPr>
            </a:lvl1pPr>
          </a:lstStyle>
          <a:p>
            <a:r>
              <a:rPr lang="en-US"/>
              <a:t>Click icon to add photo</a:t>
            </a:r>
            <a:br>
              <a:rPr lang="en-US"/>
            </a:br>
            <a:br>
              <a:rPr lang="en-US"/>
            </a:br>
            <a:br>
              <a:rPr lang="en-US"/>
            </a:br>
            <a:br>
              <a:rPr lang="en-US"/>
            </a:br>
            <a:endParaRPr lang="en-US"/>
          </a:p>
        </p:txBody>
      </p:sp>
      <p:sp>
        <p:nvSpPr>
          <p:cNvPr id="504" name="Caption 3">
            <a:extLst>
              <a:ext uri="{FF2B5EF4-FFF2-40B4-BE49-F238E27FC236}">
                <a16:creationId xmlns:a16="http://schemas.microsoft.com/office/drawing/2014/main" id="{BFF4272A-93C5-194D-96DD-141C47B60F8F}"/>
              </a:ext>
            </a:extLst>
          </p:cNvPr>
          <p:cNvSpPr>
            <a:spLocks noGrp="1"/>
          </p:cNvSpPr>
          <p:nvPr userDrawn="1">
            <p:ph type="body" sz="quarter" idx="504" hasCustomPrompt="1"/>
          </p:nvPr>
        </p:nvSpPr>
        <p:spPr>
          <a:xfrm>
            <a:off x="575734" y="5605680"/>
            <a:ext cx="2896393"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8" name="Date Placeholder 7">
            <a:extLst>
              <a:ext uri="{FF2B5EF4-FFF2-40B4-BE49-F238E27FC236}">
                <a16:creationId xmlns:a16="http://schemas.microsoft.com/office/drawing/2014/main" id="{5D5C0E79-A3BD-5144-8C77-5A57F1DFDA10}"/>
              </a:ext>
            </a:extLst>
          </p:cNvPr>
          <p:cNvSpPr>
            <a:spLocks noGrp="1"/>
          </p:cNvSpPr>
          <p:nvPr userDrawn="1">
            <p:ph type="dt" sz="half" idx="125"/>
          </p:nvPr>
        </p:nvSpPr>
        <p:spPr/>
        <p:txBody>
          <a:bodyPr/>
          <a:lstStyle/>
          <a:p>
            <a:endParaRPr lang="en-US"/>
          </a:p>
        </p:txBody>
      </p:sp>
      <p:sp>
        <p:nvSpPr>
          <p:cNvPr id="10" name="Footer Placeholder 9">
            <a:extLst>
              <a:ext uri="{FF2B5EF4-FFF2-40B4-BE49-F238E27FC236}">
                <a16:creationId xmlns:a16="http://schemas.microsoft.com/office/drawing/2014/main" id="{AA4A8FA1-CC46-7144-84B1-17C00BC259EB}"/>
              </a:ext>
            </a:extLst>
          </p:cNvPr>
          <p:cNvSpPr>
            <a:spLocks noGrp="1"/>
          </p:cNvSpPr>
          <p:nvPr userDrawn="1">
            <p:ph type="ftr" sz="quarter" idx="126"/>
          </p:nvPr>
        </p:nvSpPr>
        <p:spPr/>
        <p:txBody>
          <a:bodyPr/>
          <a:lstStyle/>
          <a:p>
            <a:endParaRPr lang="en-US"/>
          </a:p>
        </p:txBody>
      </p:sp>
      <p:sp>
        <p:nvSpPr>
          <p:cNvPr id="14" name="Slide Number Placeholder 13">
            <a:extLst>
              <a:ext uri="{FF2B5EF4-FFF2-40B4-BE49-F238E27FC236}">
                <a16:creationId xmlns:a16="http://schemas.microsoft.com/office/drawing/2014/main" id="{ACB2D2FD-3057-D74D-B44D-0EB64193CE1C}"/>
              </a:ext>
            </a:extLst>
          </p:cNvPr>
          <p:cNvSpPr>
            <a:spLocks noGrp="1"/>
          </p:cNvSpPr>
          <p:nvPr userDrawn="1">
            <p:ph type="sldNum" sz="quarter" idx="127"/>
          </p:nvPr>
        </p:nvSpPr>
        <p:spPr/>
        <p:txBody>
          <a:bodyPr/>
          <a:lstStyle/>
          <a:p>
            <a:pPr marL="12700"/>
            <a:fld id="{078C017C-E1B9-8443-B047-B08AAA027B45}" type="slidenum">
              <a:rPr lang="en-US" smtClean="0"/>
              <a:pPr marL="12700"/>
              <a:t>‹#›</a:t>
            </a:fld>
            <a:endParaRPr lang="en-US"/>
          </a:p>
        </p:txBody>
      </p:sp>
      <p:grpSp>
        <p:nvGrpSpPr>
          <p:cNvPr id="89" name="Group 88">
            <a:extLst>
              <a:ext uri="{FF2B5EF4-FFF2-40B4-BE49-F238E27FC236}">
                <a16:creationId xmlns:a16="http://schemas.microsoft.com/office/drawing/2014/main" id="{B89873E2-014B-B94E-A069-E61196AC1B36}"/>
              </a:ext>
            </a:extLst>
          </p:cNvPr>
          <p:cNvGrpSpPr/>
          <p:nvPr userDrawn="1"/>
        </p:nvGrpSpPr>
        <p:grpSpPr>
          <a:xfrm>
            <a:off x="12532243" y="-2"/>
            <a:ext cx="2996228" cy="9769405"/>
            <a:chOff x="9399182" y="-2"/>
            <a:chExt cx="2974470" cy="9769405"/>
          </a:xfrm>
        </p:grpSpPr>
        <p:sp>
          <p:nvSpPr>
            <p:cNvPr id="90" name="Rectangle 89">
              <a:extLst>
                <a:ext uri="{FF2B5EF4-FFF2-40B4-BE49-F238E27FC236}">
                  <a16:creationId xmlns:a16="http://schemas.microsoft.com/office/drawing/2014/main" id="{1EA9A7AE-234B-9041-974A-62BDF46C4331}"/>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91" name="Picture 90">
              <a:extLst>
                <a:ext uri="{FF2B5EF4-FFF2-40B4-BE49-F238E27FC236}">
                  <a16:creationId xmlns:a16="http://schemas.microsoft.com/office/drawing/2014/main" id="{5A25FAEA-87EC-354C-98E7-8BECDC16BE60}"/>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92" name="Group 91">
              <a:extLst>
                <a:ext uri="{FF2B5EF4-FFF2-40B4-BE49-F238E27FC236}">
                  <a16:creationId xmlns:a16="http://schemas.microsoft.com/office/drawing/2014/main" id="{DEFFC784-495D-F641-848A-7249C7A142D6}"/>
                </a:ext>
              </a:extLst>
            </p:cNvPr>
            <p:cNvGrpSpPr/>
            <p:nvPr userDrawn="1"/>
          </p:nvGrpSpPr>
          <p:grpSpPr>
            <a:xfrm>
              <a:off x="9541497" y="162442"/>
              <a:ext cx="2819400" cy="814510"/>
              <a:chOff x="-3644733" y="165205"/>
              <a:chExt cx="2819400" cy="814510"/>
            </a:xfrm>
          </p:grpSpPr>
          <p:sp>
            <p:nvSpPr>
              <p:cNvPr id="140" name="Rectangle 139">
                <a:extLst>
                  <a:ext uri="{FF2B5EF4-FFF2-40B4-BE49-F238E27FC236}">
                    <a16:creationId xmlns:a16="http://schemas.microsoft.com/office/drawing/2014/main" id="{7CE56AD2-CECC-6B4A-ADF7-49E2F94977A3}"/>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41" name="TextBox 140">
                <a:extLst>
                  <a:ext uri="{FF2B5EF4-FFF2-40B4-BE49-F238E27FC236}">
                    <a16:creationId xmlns:a16="http://schemas.microsoft.com/office/drawing/2014/main" id="{9AAF3685-8803-DA45-8BCB-2DEB3CCFC992}"/>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42" name="Picture 141">
                <a:extLst>
                  <a:ext uri="{FF2B5EF4-FFF2-40B4-BE49-F238E27FC236}">
                    <a16:creationId xmlns:a16="http://schemas.microsoft.com/office/drawing/2014/main" id="{861DAFC1-33C2-D74A-B045-0F3B17EB4172}"/>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93" name="Group 92">
              <a:extLst>
                <a:ext uri="{FF2B5EF4-FFF2-40B4-BE49-F238E27FC236}">
                  <a16:creationId xmlns:a16="http://schemas.microsoft.com/office/drawing/2014/main" id="{FD09E6DA-8AAE-0A4E-B971-AB971A2F1339}"/>
                </a:ext>
              </a:extLst>
            </p:cNvPr>
            <p:cNvGrpSpPr/>
            <p:nvPr userDrawn="1"/>
          </p:nvGrpSpPr>
          <p:grpSpPr>
            <a:xfrm>
              <a:off x="9521833" y="3755578"/>
              <a:ext cx="2754815" cy="6013825"/>
              <a:chOff x="9521833" y="2566288"/>
              <a:chExt cx="2754815" cy="6013825"/>
            </a:xfrm>
          </p:grpSpPr>
          <p:sp>
            <p:nvSpPr>
              <p:cNvPr id="104" name="TextBox 103">
                <a:extLst>
                  <a:ext uri="{FF2B5EF4-FFF2-40B4-BE49-F238E27FC236}">
                    <a16:creationId xmlns:a16="http://schemas.microsoft.com/office/drawing/2014/main" id="{A18CB00E-70C5-A24E-9155-CA0167C9E3EE}"/>
                  </a:ext>
                </a:extLst>
              </p:cNvPr>
              <p:cNvSpPr txBox="1"/>
              <p:nvPr userDrawn="1"/>
            </p:nvSpPr>
            <p:spPr>
              <a:xfrm>
                <a:off x="9558507" y="256628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105" name="Straight Connector 104">
                <a:extLst>
                  <a:ext uri="{FF2B5EF4-FFF2-40B4-BE49-F238E27FC236}">
                    <a16:creationId xmlns:a16="http://schemas.microsoft.com/office/drawing/2014/main" id="{F6981E9A-EA66-604A-A8CE-81F15C17C83F}"/>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6" name="TextBox 105">
                <a:extLst>
                  <a:ext uri="{FF2B5EF4-FFF2-40B4-BE49-F238E27FC236}">
                    <a16:creationId xmlns:a16="http://schemas.microsoft.com/office/drawing/2014/main" id="{DE02E2BD-D72E-E943-9B60-37DF9814B208}"/>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107" name="Group 106">
                <a:extLst>
                  <a:ext uri="{FF2B5EF4-FFF2-40B4-BE49-F238E27FC236}">
                    <a16:creationId xmlns:a16="http://schemas.microsoft.com/office/drawing/2014/main" id="{B47EDF65-E8FF-F143-B8F8-A0D27BF423D0}"/>
                  </a:ext>
                </a:extLst>
              </p:cNvPr>
              <p:cNvGrpSpPr/>
              <p:nvPr userDrawn="1"/>
            </p:nvGrpSpPr>
            <p:grpSpPr>
              <a:xfrm>
                <a:off x="9541497" y="7168798"/>
                <a:ext cx="2735151" cy="1411315"/>
                <a:chOff x="9296567" y="4910411"/>
                <a:chExt cx="2735151" cy="1411315"/>
              </a:xfrm>
            </p:grpSpPr>
            <p:sp>
              <p:nvSpPr>
                <p:cNvPr id="122" name="Rectangle 121">
                  <a:extLst>
                    <a:ext uri="{FF2B5EF4-FFF2-40B4-BE49-F238E27FC236}">
                      <a16:creationId xmlns:a16="http://schemas.microsoft.com/office/drawing/2014/main" id="{3C9CC544-F83D-3645-8188-FCDE087127C7}"/>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23" name="TextBox 122">
                  <a:extLst>
                    <a:ext uri="{FF2B5EF4-FFF2-40B4-BE49-F238E27FC236}">
                      <a16:creationId xmlns:a16="http://schemas.microsoft.com/office/drawing/2014/main" id="{B4A62126-51B1-7A4F-B224-0709C129C3DE}"/>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124" name="Graphic 123">
                  <a:extLst>
                    <a:ext uri="{FF2B5EF4-FFF2-40B4-BE49-F238E27FC236}">
                      <a16:creationId xmlns:a16="http://schemas.microsoft.com/office/drawing/2014/main" id="{0E7DAF02-55A1-F34E-9357-C6B0E027FB1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25" name="TextBox 124">
                  <a:extLst>
                    <a:ext uri="{FF2B5EF4-FFF2-40B4-BE49-F238E27FC236}">
                      <a16:creationId xmlns:a16="http://schemas.microsoft.com/office/drawing/2014/main" id="{01FBA687-7850-ED4E-A5A4-2B322C7426D0}"/>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26" name="TextBox 125">
                  <a:extLst>
                    <a:ext uri="{FF2B5EF4-FFF2-40B4-BE49-F238E27FC236}">
                      <a16:creationId xmlns:a16="http://schemas.microsoft.com/office/drawing/2014/main" id="{B07BF3B8-8954-2D44-ACA0-DCC2948BB31C}"/>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39" name="TextBox 138">
                  <a:extLst>
                    <a:ext uri="{FF2B5EF4-FFF2-40B4-BE49-F238E27FC236}">
                      <a16:creationId xmlns:a16="http://schemas.microsoft.com/office/drawing/2014/main" id="{D0D23FF5-1B42-424E-9BBC-B4FB2895BF8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108" name="Group 107">
                <a:extLst>
                  <a:ext uri="{FF2B5EF4-FFF2-40B4-BE49-F238E27FC236}">
                    <a16:creationId xmlns:a16="http://schemas.microsoft.com/office/drawing/2014/main" id="{1BD1F93F-C129-2E49-AB2D-5379723E5D17}"/>
                  </a:ext>
                </a:extLst>
              </p:cNvPr>
              <p:cNvGrpSpPr/>
              <p:nvPr userDrawn="1"/>
            </p:nvGrpSpPr>
            <p:grpSpPr>
              <a:xfrm>
                <a:off x="9541497" y="5812142"/>
                <a:ext cx="2735151" cy="1280928"/>
                <a:chOff x="9286315" y="6976989"/>
                <a:chExt cx="2735151" cy="1280928"/>
              </a:xfrm>
            </p:grpSpPr>
            <p:sp>
              <p:nvSpPr>
                <p:cNvPr id="117" name="Rectangle 116">
                  <a:extLst>
                    <a:ext uri="{FF2B5EF4-FFF2-40B4-BE49-F238E27FC236}">
                      <a16:creationId xmlns:a16="http://schemas.microsoft.com/office/drawing/2014/main" id="{2C2D81CE-1EBB-A74D-9C9B-CF004000366B}"/>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18" name="TextBox 117">
                  <a:extLst>
                    <a:ext uri="{FF2B5EF4-FFF2-40B4-BE49-F238E27FC236}">
                      <a16:creationId xmlns:a16="http://schemas.microsoft.com/office/drawing/2014/main" id="{F8B6F191-C321-D441-A7E6-364C6A262AA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119" name="Graphic 118">
                  <a:extLst>
                    <a:ext uri="{FF2B5EF4-FFF2-40B4-BE49-F238E27FC236}">
                      <a16:creationId xmlns:a16="http://schemas.microsoft.com/office/drawing/2014/main" id="{A06CF648-C9FC-6347-B0B5-76ED892C162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20" name="TextBox 119">
                  <a:extLst>
                    <a:ext uri="{FF2B5EF4-FFF2-40B4-BE49-F238E27FC236}">
                      <a16:creationId xmlns:a16="http://schemas.microsoft.com/office/drawing/2014/main" id="{F25E93A3-3E4E-044B-A46A-2B19EC5A1331}"/>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121" name="Picture 120">
                  <a:extLst>
                    <a:ext uri="{FF2B5EF4-FFF2-40B4-BE49-F238E27FC236}">
                      <a16:creationId xmlns:a16="http://schemas.microsoft.com/office/drawing/2014/main" id="{719075E0-B7E0-924A-8867-3BD6A72F0501}"/>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09" name="Group 108">
                <a:extLst>
                  <a:ext uri="{FF2B5EF4-FFF2-40B4-BE49-F238E27FC236}">
                    <a16:creationId xmlns:a16="http://schemas.microsoft.com/office/drawing/2014/main" id="{6803679B-DCCF-9748-A9C9-94E6CE25364D}"/>
                  </a:ext>
                </a:extLst>
              </p:cNvPr>
              <p:cNvGrpSpPr/>
              <p:nvPr userDrawn="1"/>
            </p:nvGrpSpPr>
            <p:grpSpPr>
              <a:xfrm>
                <a:off x="9521833" y="2891408"/>
                <a:ext cx="2617883" cy="651460"/>
                <a:chOff x="12352022" y="513115"/>
                <a:chExt cx="2617883" cy="651460"/>
              </a:xfrm>
            </p:grpSpPr>
            <p:sp>
              <p:nvSpPr>
                <p:cNvPr id="114" name="TextBox 113">
                  <a:extLst>
                    <a:ext uri="{FF2B5EF4-FFF2-40B4-BE49-F238E27FC236}">
                      <a16:creationId xmlns:a16="http://schemas.microsoft.com/office/drawing/2014/main" id="{3359BCFA-BB79-454A-95AC-C276F334FE9C}"/>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15" name="TextBox 114">
                  <a:extLst>
                    <a:ext uri="{FF2B5EF4-FFF2-40B4-BE49-F238E27FC236}">
                      <a16:creationId xmlns:a16="http://schemas.microsoft.com/office/drawing/2014/main" id="{8AF897FA-21C4-4D44-8374-841CF9DE8F70}"/>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16" name="TextBox 115">
                  <a:extLst>
                    <a:ext uri="{FF2B5EF4-FFF2-40B4-BE49-F238E27FC236}">
                      <a16:creationId xmlns:a16="http://schemas.microsoft.com/office/drawing/2014/main" id="{F0510343-9945-C64F-A4DA-F42E59E5AA2D}"/>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Select and download images from the Marketing Resource Database.</a:t>
                  </a:r>
                </a:p>
                <a:p>
                  <a:pPr lvl="0"/>
                  <a:r>
                    <a:rPr lang="en-US" sz="1050"/>
                    <a:t>Add the image to the placeholder.</a:t>
                  </a:r>
                </a:p>
              </p:txBody>
            </p:sp>
          </p:grpSp>
          <p:sp>
            <p:nvSpPr>
              <p:cNvPr id="110" name="TextBox 109">
                <a:extLst>
                  <a:ext uri="{FF2B5EF4-FFF2-40B4-BE49-F238E27FC236}">
                    <a16:creationId xmlns:a16="http://schemas.microsoft.com/office/drawing/2014/main" id="{711B2EA8-A21B-CF4F-A88D-4F993A512372}"/>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111" name="TextBox 110">
                <a:extLst>
                  <a:ext uri="{FF2B5EF4-FFF2-40B4-BE49-F238E27FC236}">
                    <a16:creationId xmlns:a16="http://schemas.microsoft.com/office/drawing/2014/main" id="{BCE3E4C0-CA84-2B42-A6D0-97DE9112CECA}"/>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112" name="TextBox 111">
                <a:extLst>
                  <a:ext uri="{FF2B5EF4-FFF2-40B4-BE49-F238E27FC236}">
                    <a16:creationId xmlns:a16="http://schemas.microsoft.com/office/drawing/2014/main" id="{F822E0AB-EE24-9945-A63D-B83D096FFE13}"/>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113" name="TextBox 112">
                <a:extLst>
                  <a:ext uri="{FF2B5EF4-FFF2-40B4-BE49-F238E27FC236}">
                    <a16:creationId xmlns:a16="http://schemas.microsoft.com/office/drawing/2014/main" id="{52AD51AA-A48F-3E4F-944E-AB1B1167C754}"/>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sp>
          <p:nvSpPr>
            <p:cNvPr id="94" name="TextBox 93">
              <a:extLst>
                <a:ext uri="{FF2B5EF4-FFF2-40B4-BE49-F238E27FC236}">
                  <a16:creationId xmlns:a16="http://schemas.microsoft.com/office/drawing/2014/main" id="{C2B632C0-84D1-014A-AADC-BDB79FECB29C}"/>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95" name="Straight Connector 94">
              <a:extLst>
                <a:ext uri="{FF2B5EF4-FFF2-40B4-BE49-F238E27FC236}">
                  <a16:creationId xmlns:a16="http://schemas.microsoft.com/office/drawing/2014/main" id="{D152B0D3-C869-074F-A700-F5089D28F219}"/>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8D2F62ED-6995-D442-A93E-B4AED23F0147}"/>
                </a:ext>
              </a:extLst>
            </p:cNvPr>
            <p:cNvGrpSpPr/>
            <p:nvPr userDrawn="1"/>
          </p:nvGrpSpPr>
          <p:grpSpPr>
            <a:xfrm>
              <a:off x="9554253" y="2414886"/>
              <a:ext cx="2819399" cy="1181890"/>
              <a:chOff x="9541498" y="3352649"/>
              <a:chExt cx="2819399" cy="1181890"/>
            </a:xfrm>
          </p:grpSpPr>
          <p:grpSp>
            <p:nvGrpSpPr>
              <p:cNvPr id="97" name="Group 96">
                <a:extLst>
                  <a:ext uri="{FF2B5EF4-FFF2-40B4-BE49-F238E27FC236}">
                    <a16:creationId xmlns:a16="http://schemas.microsoft.com/office/drawing/2014/main" id="{A04260C6-7AD7-9F4C-BFEF-EAF63A90664D}"/>
                  </a:ext>
                </a:extLst>
              </p:cNvPr>
              <p:cNvGrpSpPr/>
              <p:nvPr userDrawn="1"/>
            </p:nvGrpSpPr>
            <p:grpSpPr>
              <a:xfrm>
                <a:off x="9541498" y="3352649"/>
                <a:ext cx="2735150" cy="1181890"/>
                <a:chOff x="9541498" y="3751132"/>
                <a:chExt cx="2735150" cy="1181890"/>
              </a:xfrm>
            </p:grpSpPr>
            <p:grpSp>
              <p:nvGrpSpPr>
                <p:cNvPr id="99" name="Group 98">
                  <a:extLst>
                    <a:ext uri="{FF2B5EF4-FFF2-40B4-BE49-F238E27FC236}">
                      <a16:creationId xmlns:a16="http://schemas.microsoft.com/office/drawing/2014/main" id="{44372818-771E-6746-A24C-E77134A4D04B}"/>
                    </a:ext>
                  </a:extLst>
                </p:cNvPr>
                <p:cNvGrpSpPr/>
                <p:nvPr userDrawn="1"/>
              </p:nvGrpSpPr>
              <p:grpSpPr>
                <a:xfrm>
                  <a:off x="9541498" y="3751132"/>
                  <a:ext cx="2735150" cy="1181890"/>
                  <a:chOff x="9296568" y="4910411"/>
                  <a:chExt cx="2735150" cy="1181890"/>
                </a:xfrm>
              </p:grpSpPr>
              <p:sp>
                <p:nvSpPr>
                  <p:cNvPr id="101" name="Rectangle 100">
                    <a:extLst>
                      <a:ext uri="{FF2B5EF4-FFF2-40B4-BE49-F238E27FC236}">
                        <a16:creationId xmlns:a16="http://schemas.microsoft.com/office/drawing/2014/main" id="{7F754F7E-1959-F04C-B41A-A266EA5B5C1A}"/>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02" name="TextBox 101">
                    <a:extLst>
                      <a:ext uri="{FF2B5EF4-FFF2-40B4-BE49-F238E27FC236}">
                        <a16:creationId xmlns:a16="http://schemas.microsoft.com/office/drawing/2014/main" id="{2255F0A7-00C1-394D-ADAF-DF0D5B5EA1BF}"/>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103" name="TextBox 102">
                    <a:extLst>
                      <a:ext uri="{FF2B5EF4-FFF2-40B4-BE49-F238E27FC236}">
                        <a16:creationId xmlns:a16="http://schemas.microsoft.com/office/drawing/2014/main" id="{EB01244D-FAF0-7A48-8F8D-80F4F5C8F554}"/>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00" name="Graphic 99">
                  <a:extLst>
                    <a:ext uri="{FF2B5EF4-FFF2-40B4-BE49-F238E27FC236}">
                      <a16:creationId xmlns:a16="http://schemas.microsoft.com/office/drawing/2014/main" id="{3FFAC94A-F888-524F-8E85-1FEECE44FBB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98" name="Picture 97">
                <a:extLst>
                  <a:ext uri="{FF2B5EF4-FFF2-40B4-BE49-F238E27FC236}">
                    <a16:creationId xmlns:a16="http://schemas.microsoft.com/office/drawing/2014/main" id="{3DAC4832-EA4F-0948-8D95-7F6356936BC1}"/>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24381682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3 Logos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rot="5400000">
            <a:off x="6082599" y="-2675693"/>
            <a:ext cx="0" cy="1101378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rot="5400000">
            <a:off x="6082599" y="-946202"/>
            <a:ext cx="0" cy="1101378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EA8D8CC5-DDED-9445-8A9A-D06B2B9A91DE}"/>
              </a:ext>
            </a:extLst>
          </p:cNvPr>
          <p:cNvSpPr>
            <a:spLocks noGrp="1"/>
          </p:cNvSpPr>
          <p:nvPr>
            <p:ph type="body" sz="quarter" idx="115"/>
          </p:nvPr>
        </p:nvSpPr>
        <p:spPr>
          <a:xfrm>
            <a:off x="3805768" y="1233488"/>
            <a:ext cx="7809985"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65A45B82-A28A-C541-9948-969822196900}"/>
              </a:ext>
            </a:extLst>
          </p:cNvPr>
          <p:cNvSpPr>
            <a:spLocks noGrp="1"/>
          </p:cNvSpPr>
          <p:nvPr>
            <p:ph type="body" sz="quarter" idx="116"/>
          </p:nvPr>
        </p:nvSpPr>
        <p:spPr>
          <a:xfrm>
            <a:off x="3805768" y="2962517"/>
            <a:ext cx="7809985"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8B46136D-9E6B-7348-A230-0C0B61F4043F}"/>
              </a:ext>
            </a:extLst>
          </p:cNvPr>
          <p:cNvSpPr>
            <a:spLocks noGrp="1"/>
          </p:cNvSpPr>
          <p:nvPr>
            <p:ph type="body" sz="quarter" idx="117"/>
          </p:nvPr>
        </p:nvSpPr>
        <p:spPr>
          <a:xfrm>
            <a:off x="3805768" y="4691546"/>
            <a:ext cx="7809985"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A9BB490B-C309-B748-9B19-AF93AAACA3CF}"/>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8" name="Date Placeholder 7">
            <a:extLst>
              <a:ext uri="{FF2B5EF4-FFF2-40B4-BE49-F238E27FC236}">
                <a16:creationId xmlns:a16="http://schemas.microsoft.com/office/drawing/2014/main" id="{5D5C0E79-A3BD-5144-8C77-5A57F1DFDA10}"/>
              </a:ext>
            </a:extLst>
          </p:cNvPr>
          <p:cNvSpPr>
            <a:spLocks noGrp="1"/>
          </p:cNvSpPr>
          <p:nvPr>
            <p:ph type="dt" sz="half" idx="125"/>
          </p:nvPr>
        </p:nvSpPr>
        <p:spPr/>
        <p:txBody>
          <a:bodyPr/>
          <a:lstStyle/>
          <a:p>
            <a:endParaRPr lang="en-US"/>
          </a:p>
        </p:txBody>
      </p:sp>
      <p:sp>
        <p:nvSpPr>
          <p:cNvPr id="10" name="Footer Placeholder 9">
            <a:extLst>
              <a:ext uri="{FF2B5EF4-FFF2-40B4-BE49-F238E27FC236}">
                <a16:creationId xmlns:a16="http://schemas.microsoft.com/office/drawing/2014/main" id="{AA4A8FA1-CC46-7144-84B1-17C00BC259EB}"/>
              </a:ext>
            </a:extLst>
          </p:cNvPr>
          <p:cNvSpPr>
            <a:spLocks noGrp="1"/>
          </p:cNvSpPr>
          <p:nvPr>
            <p:ph type="ftr" sz="quarter" idx="126"/>
          </p:nvPr>
        </p:nvSpPr>
        <p:spPr/>
        <p:txBody>
          <a:bodyPr/>
          <a:lstStyle/>
          <a:p>
            <a:endParaRPr lang="en-US"/>
          </a:p>
        </p:txBody>
      </p:sp>
      <p:sp>
        <p:nvSpPr>
          <p:cNvPr id="14" name="Slide Number Placeholder 13">
            <a:extLst>
              <a:ext uri="{FF2B5EF4-FFF2-40B4-BE49-F238E27FC236}">
                <a16:creationId xmlns:a16="http://schemas.microsoft.com/office/drawing/2014/main" id="{ACB2D2FD-3057-D74D-B44D-0EB64193CE1C}"/>
              </a:ext>
            </a:extLst>
          </p:cNvPr>
          <p:cNvSpPr>
            <a:spLocks noGrp="1"/>
          </p:cNvSpPr>
          <p:nvPr>
            <p:ph type="sldNum" sz="quarter" idx="127"/>
          </p:nvPr>
        </p:nvSpPr>
        <p:spPr/>
        <p:txBody>
          <a:bodyPr/>
          <a:lstStyle/>
          <a:p>
            <a:pPr marL="12700"/>
            <a:fld id="{078C017C-E1B9-8443-B047-B08AAA027B45}" type="slidenum">
              <a:rPr lang="en-US" smtClean="0"/>
              <a:pPr marL="12700"/>
              <a:t>‹#›</a:t>
            </a:fld>
            <a:endParaRPr lang="en-US"/>
          </a:p>
        </p:txBody>
      </p:sp>
      <p:sp>
        <p:nvSpPr>
          <p:cNvPr id="5" name="Content Placeholder 4">
            <a:extLst>
              <a:ext uri="{FF2B5EF4-FFF2-40B4-BE49-F238E27FC236}">
                <a16:creationId xmlns:a16="http://schemas.microsoft.com/office/drawing/2014/main" id="{97ACE0C3-0640-2343-BA09-F3EFC7CFB949}"/>
              </a:ext>
            </a:extLst>
          </p:cNvPr>
          <p:cNvSpPr>
            <a:spLocks noGrp="1"/>
          </p:cNvSpPr>
          <p:nvPr>
            <p:ph sz="quarter" idx="128" hasCustomPrompt="1"/>
          </p:nvPr>
        </p:nvSpPr>
        <p:spPr>
          <a:xfrm>
            <a:off x="575734" y="1233488"/>
            <a:ext cx="2984500" cy="1466850"/>
          </a:xfrm>
        </p:spPr>
        <p:txBody>
          <a:bodyPr/>
          <a:lstStyle>
            <a:lvl1pPr algn="ctr">
              <a:defRPr b="0">
                <a:solidFill>
                  <a:schemeClr val="tx1">
                    <a:lumMod val="50000"/>
                    <a:lumOff val="50000"/>
                  </a:schemeClr>
                </a:solidFill>
              </a:defRPr>
            </a:lvl1pPr>
          </a:lstStyle>
          <a:p>
            <a:pPr lvl="0"/>
            <a:r>
              <a:rPr lang="en-US"/>
              <a:t>Click image icon to add logo (do not add any other types of content)</a:t>
            </a:r>
          </a:p>
        </p:txBody>
      </p:sp>
      <p:sp>
        <p:nvSpPr>
          <p:cNvPr id="56" name="Content Placeholder 4">
            <a:extLst>
              <a:ext uri="{FF2B5EF4-FFF2-40B4-BE49-F238E27FC236}">
                <a16:creationId xmlns:a16="http://schemas.microsoft.com/office/drawing/2014/main" id="{3B8A4E6F-E1C9-9641-B3D3-BDB9B2012DBB}"/>
              </a:ext>
            </a:extLst>
          </p:cNvPr>
          <p:cNvSpPr>
            <a:spLocks noGrp="1"/>
          </p:cNvSpPr>
          <p:nvPr>
            <p:ph sz="quarter" idx="129" hasCustomPrompt="1"/>
          </p:nvPr>
        </p:nvSpPr>
        <p:spPr>
          <a:xfrm>
            <a:off x="575734" y="2962517"/>
            <a:ext cx="2984500" cy="1466850"/>
          </a:xfrm>
        </p:spPr>
        <p:txBody>
          <a:bodyPr/>
          <a:lstStyle>
            <a:lvl1pPr algn="ctr">
              <a:defRPr b="0">
                <a:solidFill>
                  <a:schemeClr val="tx1">
                    <a:lumMod val="50000"/>
                    <a:lumOff val="50000"/>
                  </a:schemeClr>
                </a:solidFill>
              </a:defRPr>
            </a:lvl1pPr>
          </a:lstStyle>
          <a:p>
            <a:pPr lvl="0"/>
            <a:r>
              <a:rPr lang="en-US"/>
              <a:t>Click image icon to add logo (do not add any other types of content)</a:t>
            </a:r>
          </a:p>
        </p:txBody>
      </p:sp>
      <p:sp>
        <p:nvSpPr>
          <p:cNvPr id="57" name="Content Placeholder 4">
            <a:extLst>
              <a:ext uri="{FF2B5EF4-FFF2-40B4-BE49-F238E27FC236}">
                <a16:creationId xmlns:a16="http://schemas.microsoft.com/office/drawing/2014/main" id="{04F52250-2F95-E448-A157-BA7D33261555}"/>
              </a:ext>
            </a:extLst>
          </p:cNvPr>
          <p:cNvSpPr>
            <a:spLocks noGrp="1"/>
          </p:cNvSpPr>
          <p:nvPr>
            <p:ph sz="quarter" idx="130" hasCustomPrompt="1"/>
          </p:nvPr>
        </p:nvSpPr>
        <p:spPr>
          <a:xfrm>
            <a:off x="575734" y="4691546"/>
            <a:ext cx="2984500" cy="1466850"/>
          </a:xfrm>
        </p:spPr>
        <p:txBody>
          <a:bodyPr/>
          <a:lstStyle>
            <a:lvl1pPr algn="ctr">
              <a:defRPr b="0">
                <a:solidFill>
                  <a:schemeClr val="tx1">
                    <a:lumMod val="50000"/>
                    <a:lumOff val="50000"/>
                  </a:schemeClr>
                </a:solidFill>
              </a:defRPr>
            </a:lvl1pPr>
          </a:lstStyle>
          <a:p>
            <a:pPr lvl="0"/>
            <a:r>
              <a:rPr lang="en-US"/>
              <a:t>Click image icon to add logo (do not add any other types of content)</a:t>
            </a:r>
          </a:p>
        </p:txBody>
      </p:sp>
      <p:grpSp>
        <p:nvGrpSpPr>
          <p:cNvPr id="58" name="Group 57">
            <a:extLst>
              <a:ext uri="{FF2B5EF4-FFF2-40B4-BE49-F238E27FC236}">
                <a16:creationId xmlns:a16="http://schemas.microsoft.com/office/drawing/2014/main" id="{6528BC44-201E-CE4A-B5F8-CE4FF914DC88}"/>
              </a:ext>
            </a:extLst>
          </p:cNvPr>
          <p:cNvGrpSpPr/>
          <p:nvPr userDrawn="1"/>
        </p:nvGrpSpPr>
        <p:grpSpPr>
          <a:xfrm>
            <a:off x="12532243" y="-2"/>
            <a:ext cx="2996228" cy="9769405"/>
            <a:chOff x="9399182" y="-2"/>
            <a:chExt cx="2974470" cy="9769405"/>
          </a:xfrm>
        </p:grpSpPr>
        <p:sp>
          <p:nvSpPr>
            <p:cNvPr id="59" name="Rectangle 58">
              <a:extLst>
                <a:ext uri="{FF2B5EF4-FFF2-40B4-BE49-F238E27FC236}">
                  <a16:creationId xmlns:a16="http://schemas.microsoft.com/office/drawing/2014/main" id="{47EF50E3-38DC-8F4F-BAC3-B2FAF2875E45}"/>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60" name="Picture 59">
              <a:extLst>
                <a:ext uri="{FF2B5EF4-FFF2-40B4-BE49-F238E27FC236}">
                  <a16:creationId xmlns:a16="http://schemas.microsoft.com/office/drawing/2014/main" id="{41CF11FF-745E-F64E-BF71-E2C3A988D551}"/>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1" name="Group 60">
              <a:extLst>
                <a:ext uri="{FF2B5EF4-FFF2-40B4-BE49-F238E27FC236}">
                  <a16:creationId xmlns:a16="http://schemas.microsoft.com/office/drawing/2014/main" id="{D1CC236E-9763-A94E-B66D-65323CC05287}"/>
                </a:ext>
              </a:extLst>
            </p:cNvPr>
            <p:cNvGrpSpPr/>
            <p:nvPr userDrawn="1"/>
          </p:nvGrpSpPr>
          <p:grpSpPr>
            <a:xfrm>
              <a:off x="9541497" y="162442"/>
              <a:ext cx="2819400" cy="814510"/>
              <a:chOff x="-3644733" y="165205"/>
              <a:chExt cx="2819400" cy="814510"/>
            </a:xfrm>
          </p:grpSpPr>
          <p:sp>
            <p:nvSpPr>
              <p:cNvPr id="102" name="Rectangle 101">
                <a:extLst>
                  <a:ext uri="{FF2B5EF4-FFF2-40B4-BE49-F238E27FC236}">
                    <a16:creationId xmlns:a16="http://schemas.microsoft.com/office/drawing/2014/main" id="{12C724B8-3CC4-5349-9510-DE3C1BC109D6}"/>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03" name="TextBox 102">
                <a:extLst>
                  <a:ext uri="{FF2B5EF4-FFF2-40B4-BE49-F238E27FC236}">
                    <a16:creationId xmlns:a16="http://schemas.microsoft.com/office/drawing/2014/main" id="{D756C508-3E88-C740-BAC0-ABE8048D7DE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04" name="Picture 103">
                <a:extLst>
                  <a:ext uri="{FF2B5EF4-FFF2-40B4-BE49-F238E27FC236}">
                    <a16:creationId xmlns:a16="http://schemas.microsoft.com/office/drawing/2014/main" id="{961000D5-33D7-AC45-9023-F79D8AB3AEAF}"/>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5" name="Group 64">
              <a:extLst>
                <a:ext uri="{FF2B5EF4-FFF2-40B4-BE49-F238E27FC236}">
                  <a16:creationId xmlns:a16="http://schemas.microsoft.com/office/drawing/2014/main" id="{C78BF329-F52A-C94F-A505-E86D46EE46E7}"/>
                </a:ext>
              </a:extLst>
            </p:cNvPr>
            <p:cNvGrpSpPr/>
            <p:nvPr userDrawn="1"/>
          </p:nvGrpSpPr>
          <p:grpSpPr>
            <a:xfrm>
              <a:off x="9521833" y="3755578"/>
              <a:ext cx="2754815" cy="6013825"/>
              <a:chOff x="9521833" y="2566288"/>
              <a:chExt cx="2754815" cy="6013825"/>
            </a:xfrm>
          </p:grpSpPr>
          <p:sp>
            <p:nvSpPr>
              <p:cNvPr id="78" name="TextBox 77">
                <a:extLst>
                  <a:ext uri="{FF2B5EF4-FFF2-40B4-BE49-F238E27FC236}">
                    <a16:creationId xmlns:a16="http://schemas.microsoft.com/office/drawing/2014/main" id="{33B6F6C3-5A69-914E-AB29-A4AD6A2475A9}"/>
                  </a:ext>
                </a:extLst>
              </p:cNvPr>
              <p:cNvSpPr txBox="1"/>
              <p:nvPr userDrawn="1"/>
            </p:nvSpPr>
            <p:spPr>
              <a:xfrm>
                <a:off x="9558507" y="256628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79" name="Straight Connector 78">
                <a:extLst>
                  <a:ext uri="{FF2B5EF4-FFF2-40B4-BE49-F238E27FC236}">
                    <a16:creationId xmlns:a16="http://schemas.microsoft.com/office/drawing/2014/main" id="{D0CE54EE-E7EE-994E-A215-8754922B5675}"/>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0" name="TextBox 79">
                <a:extLst>
                  <a:ext uri="{FF2B5EF4-FFF2-40B4-BE49-F238E27FC236}">
                    <a16:creationId xmlns:a16="http://schemas.microsoft.com/office/drawing/2014/main" id="{52A90254-F786-4E4B-9C2C-D9798293A4C8}"/>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81" name="Group 80">
                <a:extLst>
                  <a:ext uri="{FF2B5EF4-FFF2-40B4-BE49-F238E27FC236}">
                    <a16:creationId xmlns:a16="http://schemas.microsoft.com/office/drawing/2014/main" id="{D27B6070-74B3-AC4F-B220-F55C65FD6036}"/>
                  </a:ext>
                </a:extLst>
              </p:cNvPr>
              <p:cNvGrpSpPr/>
              <p:nvPr userDrawn="1"/>
            </p:nvGrpSpPr>
            <p:grpSpPr>
              <a:xfrm>
                <a:off x="9541497" y="7168798"/>
                <a:ext cx="2735151" cy="1411315"/>
                <a:chOff x="9296567" y="4910411"/>
                <a:chExt cx="2735151" cy="1411315"/>
              </a:xfrm>
            </p:grpSpPr>
            <p:sp>
              <p:nvSpPr>
                <p:cNvPr id="96" name="Rectangle 95">
                  <a:extLst>
                    <a:ext uri="{FF2B5EF4-FFF2-40B4-BE49-F238E27FC236}">
                      <a16:creationId xmlns:a16="http://schemas.microsoft.com/office/drawing/2014/main" id="{95778A23-1B7F-FD40-A19C-AE4986EAFEC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97" name="TextBox 96">
                  <a:extLst>
                    <a:ext uri="{FF2B5EF4-FFF2-40B4-BE49-F238E27FC236}">
                      <a16:creationId xmlns:a16="http://schemas.microsoft.com/office/drawing/2014/main" id="{45F59381-8F7F-C04D-85E8-B8F02D89F56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98" name="Graphic 97">
                  <a:extLst>
                    <a:ext uri="{FF2B5EF4-FFF2-40B4-BE49-F238E27FC236}">
                      <a16:creationId xmlns:a16="http://schemas.microsoft.com/office/drawing/2014/main" id="{381140AF-DA85-1B4B-A8D9-9969F505F3C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99" name="TextBox 98">
                  <a:extLst>
                    <a:ext uri="{FF2B5EF4-FFF2-40B4-BE49-F238E27FC236}">
                      <a16:creationId xmlns:a16="http://schemas.microsoft.com/office/drawing/2014/main" id="{C02C02B2-C596-604B-A815-DF7DC8CB09B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00" name="TextBox 99">
                  <a:extLst>
                    <a:ext uri="{FF2B5EF4-FFF2-40B4-BE49-F238E27FC236}">
                      <a16:creationId xmlns:a16="http://schemas.microsoft.com/office/drawing/2014/main" id="{3A552A70-BBF9-EC40-B628-9A09C81219F0}"/>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01" name="TextBox 100">
                  <a:extLst>
                    <a:ext uri="{FF2B5EF4-FFF2-40B4-BE49-F238E27FC236}">
                      <a16:creationId xmlns:a16="http://schemas.microsoft.com/office/drawing/2014/main" id="{8E0E3D47-DC63-C749-8785-931D046E30BB}"/>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82" name="Group 81">
                <a:extLst>
                  <a:ext uri="{FF2B5EF4-FFF2-40B4-BE49-F238E27FC236}">
                    <a16:creationId xmlns:a16="http://schemas.microsoft.com/office/drawing/2014/main" id="{526C6B76-4C66-9648-A0EA-BAEFEC196359}"/>
                  </a:ext>
                </a:extLst>
              </p:cNvPr>
              <p:cNvGrpSpPr/>
              <p:nvPr userDrawn="1"/>
            </p:nvGrpSpPr>
            <p:grpSpPr>
              <a:xfrm>
                <a:off x="9541497" y="5812142"/>
                <a:ext cx="2735151" cy="1280928"/>
                <a:chOff x="9286315" y="6976989"/>
                <a:chExt cx="2735151" cy="1280928"/>
              </a:xfrm>
            </p:grpSpPr>
            <p:sp>
              <p:nvSpPr>
                <p:cNvPr id="91" name="Rectangle 90">
                  <a:extLst>
                    <a:ext uri="{FF2B5EF4-FFF2-40B4-BE49-F238E27FC236}">
                      <a16:creationId xmlns:a16="http://schemas.microsoft.com/office/drawing/2014/main" id="{3C9DF220-2CD2-DC4A-BD6B-F91489DC1FAF}"/>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92" name="TextBox 91">
                  <a:extLst>
                    <a:ext uri="{FF2B5EF4-FFF2-40B4-BE49-F238E27FC236}">
                      <a16:creationId xmlns:a16="http://schemas.microsoft.com/office/drawing/2014/main" id="{DDB100BF-1FAA-F245-9675-A1E5ADDEF3A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93" name="Graphic 92">
                  <a:extLst>
                    <a:ext uri="{FF2B5EF4-FFF2-40B4-BE49-F238E27FC236}">
                      <a16:creationId xmlns:a16="http://schemas.microsoft.com/office/drawing/2014/main" id="{53FC855F-083A-124C-AD2E-9C09F0D602C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94" name="TextBox 93">
                  <a:extLst>
                    <a:ext uri="{FF2B5EF4-FFF2-40B4-BE49-F238E27FC236}">
                      <a16:creationId xmlns:a16="http://schemas.microsoft.com/office/drawing/2014/main" id="{9A8DC3B7-B38D-2A4F-B061-6DF04265528C}"/>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95" name="Picture 94">
                  <a:extLst>
                    <a:ext uri="{FF2B5EF4-FFF2-40B4-BE49-F238E27FC236}">
                      <a16:creationId xmlns:a16="http://schemas.microsoft.com/office/drawing/2014/main" id="{541EFFEF-8BC8-004F-A61B-E446AA4111B3}"/>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83" name="Group 82">
                <a:extLst>
                  <a:ext uri="{FF2B5EF4-FFF2-40B4-BE49-F238E27FC236}">
                    <a16:creationId xmlns:a16="http://schemas.microsoft.com/office/drawing/2014/main" id="{F21F2A22-AADC-0948-B181-7CEFD8086EDA}"/>
                  </a:ext>
                </a:extLst>
              </p:cNvPr>
              <p:cNvGrpSpPr/>
              <p:nvPr userDrawn="1"/>
            </p:nvGrpSpPr>
            <p:grpSpPr>
              <a:xfrm>
                <a:off x="9521833" y="2891408"/>
                <a:ext cx="2617883" cy="651460"/>
                <a:chOff x="12352022" y="513115"/>
                <a:chExt cx="2617883" cy="651460"/>
              </a:xfrm>
            </p:grpSpPr>
            <p:sp>
              <p:nvSpPr>
                <p:cNvPr id="88" name="TextBox 87">
                  <a:extLst>
                    <a:ext uri="{FF2B5EF4-FFF2-40B4-BE49-F238E27FC236}">
                      <a16:creationId xmlns:a16="http://schemas.microsoft.com/office/drawing/2014/main" id="{58C42904-86F3-3849-B609-DF3AC20594B1}"/>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89" name="TextBox 88">
                  <a:extLst>
                    <a:ext uri="{FF2B5EF4-FFF2-40B4-BE49-F238E27FC236}">
                      <a16:creationId xmlns:a16="http://schemas.microsoft.com/office/drawing/2014/main" id="{B2F6836A-E9BC-4A4A-9C02-0EE688636635}"/>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90" name="TextBox 89">
                  <a:extLst>
                    <a:ext uri="{FF2B5EF4-FFF2-40B4-BE49-F238E27FC236}">
                      <a16:creationId xmlns:a16="http://schemas.microsoft.com/office/drawing/2014/main" id="{3DD40AD9-868A-1641-A7DA-0A1B3DF67C99}"/>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Select and download images from the Marketing Resource Database.</a:t>
                  </a:r>
                </a:p>
                <a:p>
                  <a:pPr lvl="0"/>
                  <a:r>
                    <a:rPr lang="en-US" sz="1050"/>
                    <a:t>Add the image to the placeholder.</a:t>
                  </a:r>
                </a:p>
              </p:txBody>
            </p:sp>
          </p:grpSp>
          <p:sp>
            <p:nvSpPr>
              <p:cNvPr id="84" name="TextBox 83">
                <a:extLst>
                  <a:ext uri="{FF2B5EF4-FFF2-40B4-BE49-F238E27FC236}">
                    <a16:creationId xmlns:a16="http://schemas.microsoft.com/office/drawing/2014/main" id="{F41C5DF1-462B-8F4C-8224-9D2B536F6467}"/>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85" name="TextBox 84">
                <a:extLst>
                  <a:ext uri="{FF2B5EF4-FFF2-40B4-BE49-F238E27FC236}">
                    <a16:creationId xmlns:a16="http://schemas.microsoft.com/office/drawing/2014/main" id="{AE78D067-B9AA-2B44-9F49-8FF8C62C0D0C}"/>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86" name="TextBox 85">
                <a:extLst>
                  <a:ext uri="{FF2B5EF4-FFF2-40B4-BE49-F238E27FC236}">
                    <a16:creationId xmlns:a16="http://schemas.microsoft.com/office/drawing/2014/main" id="{D63035E6-9186-9149-BD71-C7F631328BFF}"/>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87" name="TextBox 86">
                <a:extLst>
                  <a:ext uri="{FF2B5EF4-FFF2-40B4-BE49-F238E27FC236}">
                    <a16:creationId xmlns:a16="http://schemas.microsoft.com/office/drawing/2014/main" id="{844C1259-5553-464A-A4F9-04B8ED5C4042}"/>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sp>
          <p:nvSpPr>
            <p:cNvPr id="66" name="TextBox 65">
              <a:extLst>
                <a:ext uri="{FF2B5EF4-FFF2-40B4-BE49-F238E27FC236}">
                  <a16:creationId xmlns:a16="http://schemas.microsoft.com/office/drawing/2014/main" id="{ECA0776D-D52A-AD4F-9B1D-AE429FAF390A}"/>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67" name="Straight Connector 66">
              <a:extLst>
                <a:ext uri="{FF2B5EF4-FFF2-40B4-BE49-F238E27FC236}">
                  <a16:creationId xmlns:a16="http://schemas.microsoft.com/office/drawing/2014/main" id="{F531DD75-FD6B-C348-B918-ADB5B34329BB}"/>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70" name="Group 69">
              <a:extLst>
                <a:ext uri="{FF2B5EF4-FFF2-40B4-BE49-F238E27FC236}">
                  <a16:creationId xmlns:a16="http://schemas.microsoft.com/office/drawing/2014/main" id="{F834496E-7CAE-5946-A086-B94F2618C51B}"/>
                </a:ext>
              </a:extLst>
            </p:cNvPr>
            <p:cNvGrpSpPr/>
            <p:nvPr userDrawn="1"/>
          </p:nvGrpSpPr>
          <p:grpSpPr>
            <a:xfrm>
              <a:off x="9554253" y="2414886"/>
              <a:ext cx="2819399" cy="1181890"/>
              <a:chOff x="9541498" y="3352649"/>
              <a:chExt cx="2819399" cy="1181890"/>
            </a:xfrm>
          </p:grpSpPr>
          <p:grpSp>
            <p:nvGrpSpPr>
              <p:cNvPr id="71" name="Group 70">
                <a:extLst>
                  <a:ext uri="{FF2B5EF4-FFF2-40B4-BE49-F238E27FC236}">
                    <a16:creationId xmlns:a16="http://schemas.microsoft.com/office/drawing/2014/main" id="{AEEB9DA5-3796-9F49-B4D6-BABB15593E40}"/>
                  </a:ext>
                </a:extLst>
              </p:cNvPr>
              <p:cNvGrpSpPr/>
              <p:nvPr userDrawn="1"/>
            </p:nvGrpSpPr>
            <p:grpSpPr>
              <a:xfrm>
                <a:off x="9541498" y="3352649"/>
                <a:ext cx="2735150" cy="1181890"/>
                <a:chOff x="9541498" y="3751132"/>
                <a:chExt cx="2735150" cy="1181890"/>
              </a:xfrm>
            </p:grpSpPr>
            <p:grpSp>
              <p:nvGrpSpPr>
                <p:cNvPr id="73" name="Group 72">
                  <a:extLst>
                    <a:ext uri="{FF2B5EF4-FFF2-40B4-BE49-F238E27FC236}">
                      <a16:creationId xmlns:a16="http://schemas.microsoft.com/office/drawing/2014/main" id="{B7BA9CD8-A3FA-EF4A-9769-C4583F2568CA}"/>
                    </a:ext>
                  </a:extLst>
                </p:cNvPr>
                <p:cNvGrpSpPr/>
                <p:nvPr userDrawn="1"/>
              </p:nvGrpSpPr>
              <p:grpSpPr>
                <a:xfrm>
                  <a:off x="9541498" y="3751132"/>
                  <a:ext cx="2735150" cy="1181890"/>
                  <a:chOff x="9296568" y="4910411"/>
                  <a:chExt cx="2735150" cy="1181890"/>
                </a:xfrm>
              </p:grpSpPr>
              <p:sp>
                <p:nvSpPr>
                  <p:cNvPr id="75" name="Rectangle 74">
                    <a:extLst>
                      <a:ext uri="{FF2B5EF4-FFF2-40B4-BE49-F238E27FC236}">
                        <a16:creationId xmlns:a16="http://schemas.microsoft.com/office/drawing/2014/main" id="{FF9AAE6D-8632-024B-BE3D-AB76C97068DE}"/>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6" name="TextBox 75">
                    <a:extLst>
                      <a:ext uri="{FF2B5EF4-FFF2-40B4-BE49-F238E27FC236}">
                        <a16:creationId xmlns:a16="http://schemas.microsoft.com/office/drawing/2014/main" id="{1C13AD2B-E729-2C41-8BD5-C2947897918D}"/>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77" name="TextBox 76">
                    <a:extLst>
                      <a:ext uri="{FF2B5EF4-FFF2-40B4-BE49-F238E27FC236}">
                        <a16:creationId xmlns:a16="http://schemas.microsoft.com/office/drawing/2014/main" id="{C989990E-139D-8B47-A77A-B6FB1C7C3737}"/>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74" name="Graphic 73">
                  <a:extLst>
                    <a:ext uri="{FF2B5EF4-FFF2-40B4-BE49-F238E27FC236}">
                      <a16:creationId xmlns:a16="http://schemas.microsoft.com/office/drawing/2014/main" id="{5AE8092A-C6E2-D648-94F1-A49F0612196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72" name="Picture 71">
                <a:extLst>
                  <a:ext uri="{FF2B5EF4-FFF2-40B4-BE49-F238E27FC236}">
                    <a16:creationId xmlns:a16="http://schemas.microsoft.com/office/drawing/2014/main" id="{7520A92C-C74F-9744-B7A6-A6F110D937D8}"/>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51324572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4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A2048-EDD2-F745-AD54-211B30AB720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EEC714A-A2AD-484A-890B-76F9195C93E6}"/>
              </a:ext>
            </a:extLst>
          </p:cNvPr>
          <p:cNvSpPr>
            <a:spLocks noGrp="1"/>
          </p:cNvSpPr>
          <p:nvPr>
            <p:ph type="dt" sz="half" idx="10"/>
          </p:nvPr>
        </p:nvSpPr>
        <p:spPr/>
        <p:txBody>
          <a:bodyPr/>
          <a:lstStyle/>
          <a:p>
            <a:endParaRPr lang="en-US"/>
          </a:p>
        </p:txBody>
      </p:sp>
      <p:sp>
        <p:nvSpPr>
          <p:cNvPr id="4" name="Slide Number Placeholder 3">
            <a:extLst>
              <a:ext uri="{FF2B5EF4-FFF2-40B4-BE49-F238E27FC236}">
                <a16:creationId xmlns:a16="http://schemas.microsoft.com/office/drawing/2014/main" id="{93BD8BF2-2AF8-9541-BC63-26C010B37A70}"/>
              </a:ext>
            </a:extLst>
          </p:cNvPr>
          <p:cNvSpPr>
            <a:spLocks noGrp="1"/>
          </p:cNvSpPr>
          <p:nvPr>
            <p:ph type="sldNum" sz="quarter" idx="11"/>
          </p:nvPr>
        </p:nvSpPr>
        <p:spPr/>
        <p:txBody>
          <a:bodyPr/>
          <a:lstStyle/>
          <a:p>
            <a:pPr marL="12700"/>
            <a:fld id="{078C017C-E1B9-8443-B047-B08AAA027B45}" type="slidenum">
              <a:rPr lang="en-US" smtClean="0"/>
              <a:pPr marL="12700"/>
              <a:t>‹#›</a:t>
            </a:fld>
            <a:endParaRPr lang="en-US"/>
          </a:p>
        </p:txBody>
      </p:sp>
      <p:sp>
        <p:nvSpPr>
          <p:cNvPr id="5" name="Footer Placeholder 4">
            <a:extLst>
              <a:ext uri="{FF2B5EF4-FFF2-40B4-BE49-F238E27FC236}">
                <a16:creationId xmlns:a16="http://schemas.microsoft.com/office/drawing/2014/main" id="{AFE1AB2A-232B-AF48-94F1-8052F8A8C02C}"/>
              </a:ext>
            </a:extLst>
          </p:cNvPr>
          <p:cNvSpPr>
            <a:spLocks noGrp="1"/>
          </p:cNvSpPr>
          <p:nvPr>
            <p:ph type="ftr" sz="quarter" idx="12"/>
          </p:nvPr>
        </p:nvSpPr>
        <p:spPr/>
        <p:txBody>
          <a:bodyPr/>
          <a:lstStyle/>
          <a:p>
            <a:endParaRPr lang="en-US"/>
          </a:p>
        </p:txBody>
      </p:sp>
      <p:sp>
        <p:nvSpPr>
          <p:cNvPr id="6" name="Picture Placeholder 7">
            <a:extLst>
              <a:ext uri="{FF2B5EF4-FFF2-40B4-BE49-F238E27FC236}">
                <a16:creationId xmlns:a16="http://schemas.microsoft.com/office/drawing/2014/main" id="{F1CC87B0-C7F2-9F44-9F26-7CF2550160B4}"/>
              </a:ext>
            </a:extLst>
          </p:cNvPr>
          <p:cNvSpPr>
            <a:spLocks noGrp="1"/>
          </p:cNvSpPr>
          <p:nvPr>
            <p:ph type="pic" sz="quarter" idx="13" hasCustomPrompt="1"/>
          </p:nvPr>
        </p:nvSpPr>
        <p:spPr>
          <a:xfrm>
            <a:off x="1" y="1233642"/>
            <a:ext cx="3048000" cy="4931851"/>
          </a:xfrm>
          <a:solidFill>
            <a:srgbClr val="FFD566"/>
          </a:solidFill>
        </p:spPr>
        <p:txBody>
          <a:bodyPr anchor="ctr"/>
          <a:lstStyle>
            <a:lvl1pPr algn="ctr">
              <a:defRPr b="0">
                <a:solidFill>
                  <a:schemeClr val="bg1"/>
                </a:solidFill>
              </a:defRPr>
            </a:lvl1pPr>
          </a:lstStyle>
          <a:p>
            <a:r>
              <a:rPr lang="en-US"/>
              <a:t>Click icon to add photo</a:t>
            </a:r>
            <a:br>
              <a:rPr lang="en-US"/>
            </a:br>
            <a:br>
              <a:rPr lang="en-US"/>
            </a:br>
            <a:br>
              <a:rPr lang="en-US"/>
            </a:br>
            <a:br>
              <a:rPr lang="en-US"/>
            </a:br>
            <a:endParaRPr lang="en-US"/>
          </a:p>
        </p:txBody>
      </p:sp>
      <p:sp>
        <p:nvSpPr>
          <p:cNvPr id="7" name="Picture Placeholder 7">
            <a:extLst>
              <a:ext uri="{FF2B5EF4-FFF2-40B4-BE49-F238E27FC236}">
                <a16:creationId xmlns:a16="http://schemas.microsoft.com/office/drawing/2014/main" id="{41F3EA96-E39D-0348-A1BC-0B903B535508}"/>
              </a:ext>
            </a:extLst>
          </p:cNvPr>
          <p:cNvSpPr>
            <a:spLocks noGrp="1"/>
          </p:cNvSpPr>
          <p:nvPr>
            <p:ph type="pic" sz="quarter" idx="14" hasCustomPrompt="1"/>
          </p:nvPr>
        </p:nvSpPr>
        <p:spPr>
          <a:xfrm>
            <a:off x="3048112" y="1233488"/>
            <a:ext cx="3048000" cy="4932362"/>
          </a:xfrm>
          <a:solidFill>
            <a:srgbClr val="FFD566"/>
          </a:solidFill>
        </p:spPr>
        <p:txBody>
          <a:bodyPr anchor="ctr"/>
          <a:lstStyle>
            <a:lvl1pPr algn="ctr">
              <a:defRPr b="0">
                <a:solidFill>
                  <a:schemeClr val="bg1"/>
                </a:solidFill>
              </a:defRPr>
            </a:lvl1pPr>
          </a:lstStyle>
          <a:p>
            <a:r>
              <a:rPr lang="en-US"/>
              <a:t>Click icon to add photo</a:t>
            </a:r>
            <a:br>
              <a:rPr lang="en-US"/>
            </a:br>
            <a:br>
              <a:rPr lang="en-US"/>
            </a:br>
            <a:br>
              <a:rPr lang="en-US"/>
            </a:br>
            <a:br>
              <a:rPr lang="en-US"/>
            </a:br>
            <a:endParaRPr lang="en-US"/>
          </a:p>
        </p:txBody>
      </p:sp>
      <p:sp>
        <p:nvSpPr>
          <p:cNvPr id="8" name="Caption">
            <a:extLst>
              <a:ext uri="{FF2B5EF4-FFF2-40B4-BE49-F238E27FC236}">
                <a16:creationId xmlns:a16="http://schemas.microsoft.com/office/drawing/2014/main" id="{FF765415-C64D-0745-B0AB-3D196208D3B5}"/>
              </a:ext>
            </a:extLst>
          </p:cNvPr>
          <p:cNvSpPr>
            <a:spLocks noGrp="1"/>
          </p:cNvSpPr>
          <p:nvPr>
            <p:ph type="body" sz="quarter" idx="500" hasCustomPrompt="1"/>
          </p:nvPr>
        </p:nvSpPr>
        <p:spPr>
          <a:xfrm>
            <a:off x="-745" y="4545106"/>
            <a:ext cx="3048000" cy="1620744"/>
          </a:xfrm>
          <a:gradFill>
            <a:gsLst>
              <a:gs pos="0">
                <a:schemeClr val="tx2">
                  <a:alpha val="0"/>
                </a:schemeClr>
              </a:gs>
              <a:gs pos="100000">
                <a:schemeClr val="tx1">
                  <a:alpha val="67000"/>
                </a:schemeClr>
              </a:gs>
            </a:gsLst>
            <a:lin ang="5400000" scaled="1"/>
          </a:gradFill>
          <a:effectLst/>
        </p:spPr>
        <p:txBody>
          <a:bodyPr wrap="square" lIns="288000" tIns="0" rIns="288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9" name="Caption 2">
            <a:extLst>
              <a:ext uri="{FF2B5EF4-FFF2-40B4-BE49-F238E27FC236}">
                <a16:creationId xmlns:a16="http://schemas.microsoft.com/office/drawing/2014/main" id="{A058AF6A-478D-C446-8FDA-BB66BB40EFDC}"/>
              </a:ext>
            </a:extLst>
          </p:cNvPr>
          <p:cNvSpPr>
            <a:spLocks noGrp="1"/>
          </p:cNvSpPr>
          <p:nvPr>
            <p:ph type="body" sz="quarter" idx="502" hasCustomPrompt="1"/>
          </p:nvPr>
        </p:nvSpPr>
        <p:spPr>
          <a:xfrm>
            <a:off x="3047255" y="4545106"/>
            <a:ext cx="3048000" cy="1620744"/>
          </a:xfrm>
          <a:gradFill>
            <a:gsLst>
              <a:gs pos="0">
                <a:schemeClr val="tx2">
                  <a:alpha val="0"/>
                </a:schemeClr>
              </a:gs>
              <a:gs pos="100000">
                <a:schemeClr val="tx1">
                  <a:alpha val="67000"/>
                </a:schemeClr>
              </a:gs>
            </a:gsLst>
            <a:lin ang="5400000" scaled="1"/>
          </a:gradFill>
          <a:effectLst/>
        </p:spPr>
        <p:txBody>
          <a:bodyPr wrap="square" lIns="288000" tIns="0" rIns="288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10" name="Photo">
            <a:extLst>
              <a:ext uri="{FF2B5EF4-FFF2-40B4-BE49-F238E27FC236}">
                <a16:creationId xmlns:a16="http://schemas.microsoft.com/office/drawing/2014/main" id="{512A0202-78E1-D741-BC82-143227E8914D}"/>
              </a:ext>
            </a:extLst>
          </p:cNvPr>
          <p:cNvSpPr>
            <a:spLocks noGrp="1"/>
          </p:cNvSpPr>
          <p:nvPr>
            <p:ph type="pic" sz="quarter" idx="100" hasCustomPrompt="1"/>
          </p:nvPr>
        </p:nvSpPr>
        <p:spPr>
          <a:xfrm>
            <a:off x="6094989" y="1233488"/>
            <a:ext cx="3048000" cy="4932362"/>
          </a:xfrm>
          <a:solidFill>
            <a:srgbClr val="FFD566"/>
          </a:solidFill>
        </p:spPr>
        <p:txBody>
          <a:bodyPr anchor="ctr"/>
          <a:lstStyle>
            <a:lvl1pPr algn="ctr">
              <a:defRPr b="0">
                <a:solidFill>
                  <a:schemeClr val="bg1"/>
                </a:solidFill>
              </a:defRPr>
            </a:lvl1pPr>
          </a:lstStyle>
          <a:p>
            <a:r>
              <a:rPr lang="en-US"/>
              <a:t>Click icon to add photo</a:t>
            </a:r>
            <a:br>
              <a:rPr lang="en-US"/>
            </a:br>
            <a:br>
              <a:rPr lang="en-US"/>
            </a:br>
            <a:br>
              <a:rPr lang="en-US"/>
            </a:br>
            <a:br>
              <a:rPr lang="en-US"/>
            </a:br>
            <a:endParaRPr lang="en-US"/>
          </a:p>
        </p:txBody>
      </p:sp>
      <p:sp>
        <p:nvSpPr>
          <p:cNvPr id="14" name="Caption 3">
            <a:extLst>
              <a:ext uri="{FF2B5EF4-FFF2-40B4-BE49-F238E27FC236}">
                <a16:creationId xmlns:a16="http://schemas.microsoft.com/office/drawing/2014/main" id="{3D533D84-C7F7-CA45-8D50-AF88F17CA887}"/>
              </a:ext>
            </a:extLst>
          </p:cNvPr>
          <p:cNvSpPr>
            <a:spLocks noGrp="1"/>
          </p:cNvSpPr>
          <p:nvPr>
            <p:ph type="body" sz="quarter" idx="504" hasCustomPrompt="1"/>
          </p:nvPr>
        </p:nvSpPr>
        <p:spPr>
          <a:xfrm>
            <a:off x="6094508" y="4545106"/>
            <a:ext cx="3048000" cy="1620744"/>
          </a:xfrm>
          <a:gradFill>
            <a:gsLst>
              <a:gs pos="0">
                <a:schemeClr val="tx2">
                  <a:alpha val="0"/>
                </a:schemeClr>
              </a:gs>
              <a:gs pos="100000">
                <a:schemeClr val="tx1">
                  <a:alpha val="67000"/>
                </a:schemeClr>
              </a:gs>
            </a:gsLst>
            <a:lin ang="5400000" scaled="1"/>
          </a:gradFill>
          <a:effectLst/>
        </p:spPr>
        <p:txBody>
          <a:bodyPr wrap="square" lIns="288000" tIns="0" rIns="288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21" name="Photo">
            <a:extLst>
              <a:ext uri="{FF2B5EF4-FFF2-40B4-BE49-F238E27FC236}">
                <a16:creationId xmlns:a16="http://schemas.microsoft.com/office/drawing/2014/main" id="{8A6B6870-A91D-CD4C-849D-824612FE6646}"/>
              </a:ext>
            </a:extLst>
          </p:cNvPr>
          <p:cNvSpPr>
            <a:spLocks noGrp="1"/>
          </p:cNvSpPr>
          <p:nvPr>
            <p:ph type="pic" sz="quarter" idx="505" hasCustomPrompt="1"/>
          </p:nvPr>
        </p:nvSpPr>
        <p:spPr>
          <a:xfrm>
            <a:off x="9144000" y="1233488"/>
            <a:ext cx="3048000" cy="4932362"/>
          </a:xfrm>
          <a:solidFill>
            <a:srgbClr val="FFD566"/>
          </a:solidFill>
        </p:spPr>
        <p:txBody>
          <a:bodyPr anchor="ctr"/>
          <a:lstStyle>
            <a:lvl1pPr algn="ctr">
              <a:defRPr b="0">
                <a:solidFill>
                  <a:schemeClr val="bg1"/>
                </a:solidFill>
              </a:defRPr>
            </a:lvl1pPr>
          </a:lstStyle>
          <a:p>
            <a:r>
              <a:rPr lang="en-US"/>
              <a:t>Click icon to add photo</a:t>
            </a:r>
            <a:br>
              <a:rPr lang="en-US"/>
            </a:br>
            <a:br>
              <a:rPr lang="en-US"/>
            </a:br>
            <a:br>
              <a:rPr lang="en-US"/>
            </a:br>
            <a:br>
              <a:rPr lang="en-US"/>
            </a:br>
            <a:endParaRPr lang="en-US"/>
          </a:p>
        </p:txBody>
      </p:sp>
      <p:sp>
        <p:nvSpPr>
          <p:cNvPr id="22" name="Caption 3">
            <a:extLst>
              <a:ext uri="{FF2B5EF4-FFF2-40B4-BE49-F238E27FC236}">
                <a16:creationId xmlns:a16="http://schemas.microsoft.com/office/drawing/2014/main" id="{8DACDE04-BA10-A24B-9665-9686CF8ADBC8}"/>
              </a:ext>
            </a:extLst>
          </p:cNvPr>
          <p:cNvSpPr>
            <a:spLocks noGrp="1"/>
          </p:cNvSpPr>
          <p:nvPr>
            <p:ph type="body" sz="quarter" idx="506" hasCustomPrompt="1"/>
          </p:nvPr>
        </p:nvSpPr>
        <p:spPr>
          <a:xfrm>
            <a:off x="9143519" y="4545106"/>
            <a:ext cx="3048000" cy="1620744"/>
          </a:xfrm>
          <a:gradFill>
            <a:gsLst>
              <a:gs pos="0">
                <a:schemeClr val="tx2">
                  <a:alpha val="0"/>
                </a:schemeClr>
              </a:gs>
              <a:gs pos="100000">
                <a:schemeClr val="tx1">
                  <a:alpha val="67000"/>
                </a:schemeClr>
              </a:gs>
            </a:gsLst>
            <a:lin ang="5400000" scaled="1"/>
          </a:gradFill>
          <a:effectLst/>
        </p:spPr>
        <p:txBody>
          <a:bodyPr wrap="square" lIns="288000" tIns="0" rIns="288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a:t>Click to add photo caption</a:t>
            </a:r>
          </a:p>
        </p:txBody>
      </p:sp>
      <p:grpSp>
        <p:nvGrpSpPr>
          <p:cNvPr id="29" name="Group 28">
            <a:extLst>
              <a:ext uri="{FF2B5EF4-FFF2-40B4-BE49-F238E27FC236}">
                <a16:creationId xmlns:a16="http://schemas.microsoft.com/office/drawing/2014/main" id="{6BE6425A-D6B1-9C42-9FF8-6B1BDD2111E9}"/>
              </a:ext>
            </a:extLst>
          </p:cNvPr>
          <p:cNvGrpSpPr/>
          <p:nvPr userDrawn="1"/>
        </p:nvGrpSpPr>
        <p:grpSpPr>
          <a:xfrm>
            <a:off x="12532243" y="-1"/>
            <a:ext cx="2898257" cy="6858001"/>
            <a:chOff x="9144000" y="-1"/>
            <a:chExt cx="2874210" cy="6858001"/>
          </a:xfrm>
        </p:grpSpPr>
        <p:sp>
          <p:nvSpPr>
            <p:cNvPr id="30" name="Rectangle 29">
              <a:extLst>
                <a:ext uri="{FF2B5EF4-FFF2-40B4-BE49-F238E27FC236}">
                  <a16:creationId xmlns:a16="http://schemas.microsoft.com/office/drawing/2014/main" id="{A7F06CD3-CF26-EE4B-AB60-DED6C8D6F9CC}"/>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grpSp>
          <p:nvGrpSpPr>
            <p:cNvPr id="31" name="Group 30">
              <a:extLst>
                <a:ext uri="{FF2B5EF4-FFF2-40B4-BE49-F238E27FC236}">
                  <a16:creationId xmlns:a16="http://schemas.microsoft.com/office/drawing/2014/main" id="{217B8F47-0053-A745-BC3E-BCEAB1D8AEE6}"/>
                </a:ext>
              </a:extLst>
            </p:cNvPr>
            <p:cNvGrpSpPr/>
            <p:nvPr userDrawn="1"/>
          </p:nvGrpSpPr>
          <p:grpSpPr>
            <a:xfrm>
              <a:off x="9263395" y="150289"/>
              <a:ext cx="2754815" cy="6013825"/>
              <a:chOff x="9266651" y="185338"/>
              <a:chExt cx="2754815" cy="6013825"/>
            </a:xfrm>
          </p:grpSpPr>
          <p:sp>
            <p:nvSpPr>
              <p:cNvPr id="32" name="TextBox 31">
                <a:extLst>
                  <a:ext uri="{FF2B5EF4-FFF2-40B4-BE49-F238E27FC236}">
                    <a16:creationId xmlns:a16="http://schemas.microsoft.com/office/drawing/2014/main" id="{28FE4F0B-DDA2-8A4A-B29A-667129CFB748}"/>
                  </a:ext>
                </a:extLst>
              </p:cNvPr>
              <p:cNvSpPr txBox="1"/>
              <p:nvPr userDrawn="1"/>
            </p:nvSpPr>
            <p:spPr>
              <a:xfrm>
                <a:off x="9303325" y="18533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33" name="Straight Connector 32">
                <a:extLst>
                  <a:ext uri="{FF2B5EF4-FFF2-40B4-BE49-F238E27FC236}">
                    <a16:creationId xmlns:a16="http://schemas.microsoft.com/office/drawing/2014/main" id="{E121F88A-F599-904C-A272-C9075C810E00}"/>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1E2A20B4-C22E-1E43-AC20-7640AF790E7F}"/>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35" name="Group 34">
                <a:extLst>
                  <a:ext uri="{FF2B5EF4-FFF2-40B4-BE49-F238E27FC236}">
                    <a16:creationId xmlns:a16="http://schemas.microsoft.com/office/drawing/2014/main" id="{F09AC02A-BB41-5548-8D57-D0FEF0DA6D92}"/>
                  </a:ext>
                </a:extLst>
              </p:cNvPr>
              <p:cNvGrpSpPr/>
              <p:nvPr userDrawn="1"/>
            </p:nvGrpSpPr>
            <p:grpSpPr>
              <a:xfrm>
                <a:off x="9286315" y="4787848"/>
                <a:ext cx="2735151" cy="1411315"/>
                <a:chOff x="9296567" y="4910411"/>
                <a:chExt cx="2735151" cy="1411315"/>
              </a:xfrm>
            </p:grpSpPr>
            <p:sp>
              <p:nvSpPr>
                <p:cNvPr id="50" name="Rectangle 49">
                  <a:extLst>
                    <a:ext uri="{FF2B5EF4-FFF2-40B4-BE49-F238E27FC236}">
                      <a16:creationId xmlns:a16="http://schemas.microsoft.com/office/drawing/2014/main" id="{A2683D67-4490-A94E-AE4F-6D1857C59756}"/>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1" name="TextBox 50">
                  <a:extLst>
                    <a:ext uri="{FF2B5EF4-FFF2-40B4-BE49-F238E27FC236}">
                      <a16:creationId xmlns:a16="http://schemas.microsoft.com/office/drawing/2014/main" id="{12A1897F-4969-9E45-86B4-067CA6602E6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52" name="Graphic 51">
                  <a:extLst>
                    <a:ext uri="{FF2B5EF4-FFF2-40B4-BE49-F238E27FC236}">
                      <a16:creationId xmlns:a16="http://schemas.microsoft.com/office/drawing/2014/main" id="{35439718-B1E3-AB45-AB2F-F8E48DE0FF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53" name="TextBox 52">
                  <a:extLst>
                    <a:ext uri="{FF2B5EF4-FFF2-40B4-BE49-F238E27FC236}">
                      <a16:creationId xmlns:a16="http://schemas.microsoft.com/office/drawing/2014/main" id="{A522DBD7-CBEB-9B4E-8695-A6A03805465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4" name="TextBox 53">
                  <a:extLst>
                    <a:ext uri="{FF2B5EF4-FFF2-40B4-BE49-F238E27FC236}">
                      <a16:creationId xmlns:a16="http://schemas.microsoft.com/office/drawing/2014/main" id="{98CFD1B1-8CD1-0542-9C92-6F1880C4EB6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5" name="TextBox 54">
                  <a:extLst>
                    <a:ext uri="{FF2B5EF4-FFF2-40B4-BE49-F238E27FC236}">
                      <a16:creationId xmlns:a16="http://schemas.microsoft.com/office/drawing/2014/main" id="{0344AA54-A017-0344-AD5A-AF7F251893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36" name="Group 35">
                <a:extLst>
                  <a:ext uri="{FF2B5EF4-FFF2-40B4-BE49-F238E27FC236}">
                    <a16:creationId xmlns:a16="http://schemas.microsoft.com/office/drawing/2014/main" id="{99C4C35A-48AA-1544-8019-14E037D79E1D}"/>
                  </a:ext>
                </a:extLst>
              </p:cNvPr>
              <p:cNvGrpSpPr/>
              <p:nvPr userDrawn="1"/>
            </p:nvGrpSpPr>
            <p:grpSpPr>
              <a:xfrm>
                <a:off x="9286315" y="3431192"/>
                <a:ext cx="2735151" cy="1280928"/>
                <a:chOff x="9286315" y="6976989"/>
                <a:chExt cx="2735151" cy="1280928"/>
              </a:xfrm>
            </p:grpSpPr>
            <p:sp>
              <p:nvSpPr>
                <p:cNvPr id="45" name="Rectangle 44">
                  <a:extLst>
                    <a:ext uri="{FF2B5EF4-FFF2-40B4-BE49-F238E27FC236}">
                      <a16:creationId xmlns:a16="http://schemas.microsoft.com/office/drawing/2014/main" id="{271FFA37-2AB4-2B40-A550-905F9F08D77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6" name="TextBox 45">
                  <a:extLst>
                    <a:ext uri="{FF2B5EF4-FFF2-40B4-BE49-F238E27FC236}">
                      <a16:creationId xmlns:a16="http://schemas.microsoft.com/office/drawing/2014/main" id="{34AF0656-4B26-B84A-8E33-57265E5F7B8C}"/>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47" name="Graphic 46">
                  <a:extLst>
                    <a:ext uri="{FF2B5EF4-FFF2-40B4-BE49-F238E27FC236}">
                      <a16:creationId xmlns:a16="http://schemas.microsoft.com/office/drawing/2014/main" id="{BB8498F9-B3B1-2549-B8AF-550228F9FF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8" name="TextBox 47">
                  <a:extLst>
                    <a:ext uri="{FF2B5EF4-FFF2-40B4-BE49-F238E27FC236}">
                      <a16:creationId xmlns:a16="http://schemas.microsoft.com/office/drawing/2014/main" id="{F28684BB-60A4-6244-8ACD-8932E203844A}"/>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49" name="Picture 48">
                  <a:extLst>
                    <a:ext uri="{FF2B5EF4-FFF2-40B4-BE49-F238E27FC236}">
                      <a16:creationId xmlns:a16="http://schemas.microsoft.com/office/drawing/2014/main" id="{D7AB3508-106A-0C4F-B290-C3FBA222A5E2}"/>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7" name="Group 36">
                <a:extLst>
                  <a:ext uri="{FF2B5EF4-FFF2-40B4-BE49-F238E27FC236}">
                    <a16:creationId xmlns:a16="http://schemas.microsoft.com/office/drawing/2014/main" id="{71727728-ED63-FC48-ACDE-061C8C673F89}"/>
                  </a:ext>
                </a:extLst>
              </p:cNvPr>
              <p:cNvGrpSpPr/>
              <p:nvPr userDrawn="1"/>
            </p:nvGrpSpPr>
            <p:grpSpPr>
              <a:xfrm>
                <a:off x="9266651" y="510458"/>
                <a:ext cx="2617883" cy="651460"/>
                <a:chOff x="12352022" y="513115"/>
                <a:chExt cx="2617883" cy="651460"/>
              </a:xfrm>
            </p:grpSpPr>
            <p:sp>
              <p:nvSpPr>
                <p:cNvPr id="42" name="TextBox 41">
                  <a:extLst>
                    <a:ext uri="{FF2B5EF4-FFF2-40B4-BE49-F238E27FC236}">
                      <a16:creationId xmlns:a16="http://schemas.microsoft.com/office/drawing/2014/main" id="{2FB9D382-9D7F-1D47-8087-B98355D54A4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43" name="TextBox 42">
                  <a:extLst>
                    <a:ext uri="{FF2B5EF4-FFF2-40B4-BE49-F238E27FC236}">
                      <a16:creationId xmlns:a16="http://schemas.microsoft.com/office/drawing/2014/main" id="{7B579028-EE0C-DC47-AB28-DFF135019071}"/>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44" name="TextBox 43">
                  <a:extLst>
                    <a:ext uri="{FF2B5EF4-FFF2-40B4-BE49-F238E27FC236}">
                      <a16:creationId xmlns:a16="http://schemas.microsoft.com/office/drawing/2014/main" id="{DB620138-9FB3-B145-8A69-1A634C89385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Select and download images from the Marketing Resource Database.</a:t>
                  </a:r>
                </a:p>
                <a:p>
                  <a:pPr lvl="0"/>
                  <a:r>
                    <a:rPr lang="en-US" sz="1050"/>
                    <a:t>Add the image to the placeholder.</a:t>
                  </a:r>
                </a:p>
              </p:txBody>
            </p:sp>
          </p:grpSp>
          <p:sp>
            <p:nvSpPr>
              <p:cNvPr id="38" name="TextBox 37">
                <a:extLst>
                  <a:ext uri="{FF2B5EF4-FFF2-40B4-BE49-F238E27FC236}">
                    <a16:creationId xmlns:a16="http://schemas.microsoft.com/office/drawing/2014/main" id="{C8D89CE9-6754-7A40-B9BD-2DF033C4391A}"/>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39" name="TextBox 38">
                <a:extLst>
                  <a:ext uri="{FF2B5EF4-FFF2-40B4-BE49-F238E27FC236}">
                    <a16:creationId xmlns:a16="http://schemas.microsoft.com/office/drawing/2014/main" id="{D2FF0306-7D0A-034E-A536-BECA596486DD}"/>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40" name="TextBox 39">
                <a:extLst>
                  <a:ext uri="{FF2B5EF4-FFF2-40B4-BE49-F238E27FC236}">
                    <a16:creationId xmlns:a16="http://schemas.microsoft.com/office/drawing/2014/main" id="{97CD2AB1-6289-C941-96B2-D6EE69AE6141}"/>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41" name="TextBox 40">
                <a:extLst>
                  <a:ext uri="{FF2B5EF4-FFF2-40B4-BE49-F238E27FC236}">
                    <a16:creationId xmlns:a16="http://schemas.microsoft.com/office/drawing/2014/main" id="{9754A378-846E-7E44-B72A-0009F5AF6D76}"/>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grpSp>
    </p:spTree>
    <p:extLst>
      <p:ext uri="{BB962C8B-B14F-4D97-AF65-F5344CB8AC3E}">
        <p14:creationId xmlns:p14="http://schemas.microsoft.com/office/powerpoint/2010/main" val="38912686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and Photo">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423DF32C-150B-B744-A7E1-5C3269E4E6AA}"/>
              </a:ext>
            </a:extLst>
          </p:cNvPr>
          <p:cNvSpPr>
            <a:spLocks noGrp="1"/>
          </p:cNvSpPr>
          <p:nvPr>
            <p:ph type="pic" sz="quarter" idx="25" hasCustomPrompt="1"/>
          </p:nvPr>
        </p:nvSpPr>
        <p:spPr>
          <a:xfrm>
            <a:off x="6383867" y="1112839"/>
            <a:ext cx="5808133" cy="5053013"/>
          </a:xfrm>
          <a:prstGeom prst="rect">
            <a:avLst/>
          </a:prstGeom>
          <a:solidFill>
            <a:srgbClr val="FFD566"/>
          </a:solidFill>
        </p:spPr>
        <p:txBody>
          <a:bodyPr wrap="square" rIns="432000" anchor="ctr">
            <a:noAutofit/>
          </a:bodyPr>
          <a:lstStyle>
            <a:lvl1pPr marL="0" indent="0" algn="r">
              <a:spcBef>
                <a:spcPts val="0"/>
              </a:spcBef>
              <a:spcAft>
                <a:spcPts val="0"/>
              </a:spcAft>
              <a:buNone/>
              <a:defRPr b="0">
                <a:solidFill>
                  <a:schemeClr val="bg1"/>
                </a:solidFill>
              </a:defRPr>
            </a:lvl1pPr>
          </a:lstStyle>
          <a:p>
            <a:r>
              <a:rPr lang="en-US"/>
              <a:t>Click icon to add photo</a:t>
            </a:r>
          </a:p>
        </p:txBody>
      </p:sp>
      <p:sp>
        <p:nvSpPr>
          <p:cNvPr id="3" name="Title 2">
            <a:extLst>
              <a:ext uri="{FF2B5EF4-FFF2-40B4-BE49-F238E27FC236}">
                <a16:creationId xmlns:a16="http://schemas.microsoft.com/office/drawing/2014/main" id="{44C2598A-7FBA-894D-9FD9-C59942BC6A93}"/>
              </a:ext>
            </a:extLst>
          </p:cNvPr>
          <p:cNvSpPr>
            <a:spLocks noGrp="1"/>
          </p:cNvSpPr>
          <p:nvPr>
            <p:ph type="title" hasCustomPrompt="1"/>
          </p:nvPr>
        </p:nvSpPr>
        <p:spPr/>
        <p:txBody>
          <a:bodyPr/>
          <a:lstStyle>
            <a:lvl1pPr>
              <a:defRPr/>
            </a:lvl1pPr>
          </a:lstStyle>
          <a:p>
            <a:r>
              <a:rPr lang="en-US"/>
              <a:t>CLICK TO ADD Slide TITLE. ALL CAPS. TWO LINES max.</a:t>
            </a:r>
          </a:p>
        </p:txBody>
      </p:sp>
      <p:sp>
        <p:nvSpPr>
          <p:cNvPr id="1000" name="Footnotes Placeholder">
            <a:extLst>
              <a:ext uri="{FF2B5EF4-FFF2-40B4-BE49-F238E27FC236}">
                <a16:creationId xmlns:a16="http://schemas.microsoft.com/office/drawing/2014/main" id="{78B27A02-1C02-184E-8B71-04A32B7B0FFF}"/>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00" name="Caption">
            <a:extLst>
              <a:ext uri="{FF2B5EF4-FFF2-40B4-BE49-F238E27FC236}">
                <a16:creationId xmlns:a16="http://schemas.microsoft.com/office/drawing/2014/main" id="{E3703CA0-7C6E-BE4A-9549-3CD18BE408F5}"/>
              </a:ext>
            </a:extLst>
          </p:cNvPr>
          <p:cNvSpPr>
            <a:spLocks noGrp="1"/>
          </p:cNvSpPr>
          <p:nvPr>
            <p:ph type="body" sz="quarter" idx="500" hasCustomPrompt="1"/>
          </p:nvPr>
        </p:nvSpPr>
        <p:spPr>
          <a:xfrm>
            <a:off x="7947046" y="5812143"/>
            <a:ext cx="3657167"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6" name="Date Placeholder 5">
            <a:extLst>
              <a:ext uri="{FF2B5EF4-FFF2-40B4-BE49-F238E27FC236}">
                <a16:creationId xmlns:a16="http://schemas.microsoft.com/office/drawing/2014/main" id="{77B9ACC9-FEEA-594F-95EA-7E74907FD326}"/>
              </a:ext>
            </a:extLst>
          </p:cNvPr>
          <p:cNvSpPr>
            <a:spLocks noGrp="1"/>
          </p:cNvSpPr>
          <p:nvPr>
            <p:ph type="dt" sz="half" idx="101"/>
          </p:nvPr>
        </p:nvSpPr>
        <p:spPr/>
        <p:txBody>
          <a:bodyPr/>
          <a:lstStyle/>
          <a:p>
            <a:endParaRPr lang="en-US"/>
          </a:p>
        </p:txBody>
      </p:sp>
      <p:sp>
        <p:nvSpPr>
          <p:cNvPr id="7" name="Footer Placeholder 6">
            <a:extLst>
              <a:ext uri="{FF2B5EF4-FFF2-40B4-BE49-F238E27FC236}">
                <a16:creationId xmlns:a16="http://schemas.microsoft.com/office/drawing/2014/main" id="{4DC1EDE3-F4CF-9F41-BC8A-2E7BCECD6FFF}"/>
              </a:ext>
            </a:extLst>
          </p:cNvPr>
          <p:cNvSpPr>
            <a:spLocks noGrp="1"/>
          </p:cNvSpPr>
          <p:nvPr>
            <p:ph type="ftr" sz="quarter" idx="102"/>
          </p:nvPr>
        </p:nvSpPr>
        <p:spPr/>
        <p:txBody>
          <a:bodyPr/>
          <a:lstStyle/>
          <a:p>
            <a:endParaRPr lang="en-US"/>
          </a:p>
        </p:txBody>
      </p:sp>
      <p:sp>
        <p:nvSpPr>
          <p:cNvPr id="9" name="Slide Number Placeholder 8">
            <a:extLst>
              <a:ext uri="{FF2B5EF4-FFF2-40B4-BE49-F238E27FC236}">
                <a16:creationId xmlns:a16="http://schemas.microsoft.com/office/drawing/2014/main" id="{ADC54D9D-3175-B84D-96C6-75A1EF65E81A}"/>
              </a:ext>
            </a:extLst>
          </p:cNvPr>
          <p:cNvSpPr>
            <a:spLocks noGrp="1"/>
          </p:cNvSpPr>
          <p:nvPr>
            <p:ph type="sldNum" sz="quarter" idx="103"/>
          </p:nvPr>
        </p:nvSpPr>
        <p:spPr/>
        <p:txBody>
          <a:bodyPr/>
          <a:lstStyle/>
          <a:p>
            <a:pPr marL="12700"/>
            <a:fld id="{078C017C-E1B9-8443-B047-B08AAA027B45}" type="slidenum">
              <a:rPr lang="en-US" smtClean="0"/>
              <a:pPr marL="12700"/>
              <a:t>‹#›</a:t>
            </a:fld>
            <a:endParaRPr lang="en-US"/>
          </a:p>
        </p:txBody>
      </p:sp>
      <p:sp>
        <p:nvSpPr>
          <p:cNvPr id="200" name="First Content Placeholder">
            <a:extLst>
              <a:ext uri="{FF2B5EF4-FFF2-40B4-BE49-F238E27FC236}">
                <a16:creationId xmlns:a16="http://schemas.microsoft.com/office/drawing/2014/main" id="{1C1B5872-F27A-8540-9155-0506D8591D38}"/>
              </a:ext>
            </a:extLst>
          </p:cNvPr>
          <p:cNvSpPr>
            <a:spLocks noGrp="1"/>
          </p:cNvSpPr>
          <p:nvPr>
            <p:ph type="body" sz="quarter" idx="200"/>
          </p:nvPr>
        </p:nvSpPr>
        <p:spPr>
          <a:xfrm>
            <a:off x="575733" y="1233488"/>
            <a:ext cx="5520267"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4" name="Group 123">
            <a:extLst>
              <a:ext uri="{FF2B5EF4-FFF2-40B4-BE49-F238E27FC236}">
                <a16:creationId xmlns:a16="http://schemas.microsoft.com/office/drawing/2014/main" id="{4733A701-C28D-D14B-8A54-4FABF63CD244}"/>
              </a:ext>
            </a:extLst>
          </p:cNvPr>
          <p:cNvGrpSpPr/>
          <p:nvPr userDrawn="1"/>
        </p:nvGrpSpPr>
        <p:grpSpPr>
          <a:xfrm>
            <a:off x="12532242" y="-2"/>
            <a:ext cx="2996229" cy="9769405"/>
            <a:chOff x="9399182" y="-2"/>
            <a:chExt cx="2974470" cy="9769405"/>
          </a:xfrm>
        </p:grpSpPr>
        <p:sp>
          <p:nvSpPr>
            <p:cNvPr id="125" name="Rectangle 124">
              <a:extLst>
                <a:ext uri="{FF2B5EF4-FFF2-40B4-BE49-F238E27FC236}">
                  <a16:creationId xmlns:a16="http://schemas.microsoft.com/office/drawing/2014/main" id="{751DA6CE-8EF3-4A45-8D22-D0DF488812BC}"/>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126" name="Picture 125">
              <a:extLst>
                <a:ext uri="{FF2B5EF4-FFF2-40B4-BE49-F238E27FC236}">
                  <a16:creationId xmlns:a16="http://schemas.microsoft.com/office/drawing/2014/main" id="{B1044BAF-5A45-8449-B9C7-80FE332259FA}"/>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127" name="Group 126">
              <a:extLst>
                <a:ext uri="{FF2B5EF4-FFF2-40B4-BE49-F238E27FC236}">
                  <a16:creationId xmlns:a16="http://schemas.microsoft.com/office/drawing/2014/main" id="{BA68E120-F0E4-E945-800D-04C9368C1492}"/>
                </a:ext>
              </a:extLst>
            </p:cNvPr>
            <p:cNvGrpSpPr/>
            <p:nvPr userDrawn="1"/>
          </p:nvGrpSpPr>
          <p:grpSpPr>
            <a:xfrm>
              <a:off x="9541497" y="162442"/>
              <a:ext cx="2819400" cy="814510"/>
              <a:chOff x="-3644733" y="165205"/>
              <a:chExt cx="2819400" cy="814510"/>
            </a:xfrm>
          </p:grpSpPr>
          <p:sp>
            <p:nvSpPr>
              <p:cNvPr id="163" name="Rectangle 162">
                <a:extLst>
                  <a:ext uri="{FF2B5EF4-FFF2-40B4-BE49-F238E27FC236}">
                    <a16:creationId xmlns:a16="http://schemas.microsoft.com/office/drawing/2014/main" id="{A2492CFD-ACE4-D440-8AB8-5C71505FB95A}"/>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64" name="TextBox 163">
                <a:extLst>
                  <a:ext uri="{FF2B5EF4-FFF2-40B4-BE49-F238E27FC236}">
                    <a16:creationId xmlns:a16="http://schemas.microsoft.com/office/drawing/2014/main" id="{D4154661-313C-224F-BD94-A7239272105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65" name="Picture 164">
                <a:extLst>
                  <a:ext uri="{FF2B5EF4-FFF2-40B4-BE49-F238E27FC236}">
                    <a16:creationId xmlns:a16="http://schemas.microsoft.com/office/drawing/2014/main" id="{73A77609-877B-8A42-8CB0-F890A6AF4803}"/>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128" name="Group 127">
              <a:extLst>
                <a:ext uri="{FF2B5EF4-FFF2-40B4-BE49-F238E27FC236}">
                  <a16:creationId xmlns:a16="http://schemas.microsoft.com/office/drawing/2014/main" id="{B5788AF6-D5BE-4D46-A7FD-EEA5EC2271BC}"/>
                </a:ext>
              </a:extLst>
            </p:cNvPr>
            <p:cNvGrpSpPr/>
            <p:nvPr userDrawn="1"/>
          </p:nvGrpSpPr>
          <p:grpSpPr>
            <a:xfrm>
              <a:off x="9521833" y="3755578"/>
              <a:ext cx="2754815" cy="6013825"/>
              <a:chOff x="9521833" y="2566288"/>
              <a:chExt cx="2754815" cy="6013825"/>
            </a:xfrm>
          </p:grpSpPr>
          <p:sp>
            <p:nvSpPr>
              <p:cNvPr id="139" name="TextBox 138">
                <a:extLst>
                  <a:ext uri="{FF2B5EF4-FFF2-40B4-BE49-F238E27FC236}">
                    <a16:creationId xmlns:a16="http://schemas.microsoft.com/office/drawing/2014/main" id="{40357B56-9945-894E-8D94-FE78A1E1BBDA}"/>
                  </a:ext>
                </a:extLst>
              </p:cNvPr>
              <p:cNvSpPr txBox="1"/>
              <p:nvPr userDrawn="1"/>
            </p:nvSpPr>
            <p:spPr>
              <a:xfrm>
                <a:off x="9558507" y="256628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140" name="Straight Connector 139">
                <a:extLst>
                  <a:ext uri="{FF2B5EF4-FFF2-40B4-BE49-F238E27FC236}">
                    <a16:creationId xmlns:a16="http://schemas.microsoft.com/office/drawing/2014/main" id="{C48E1D43-565E-C748-AA09-8B2024B0024A}"/>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9609B6B1-808D-2F47-BA9D-5471F55D00F3}"/>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142" name="Group 141">
                <a:extLst>
                  <a:ext uri="{FF2B5EF4-FFF2-40B4-BE49-F238E27FC236}">
                    <a16:creationId xmlns:a16="http://schemas.microsoft.com/office/drawing/2014/main" id="{B05A4C93-6C32-F549-B7C2-5264AE3CC159}"/>
                  </a:ext>
                </a:extLst>
              </p:cNvPr>
              <p:cNvGrpSpPr/>
              <p:nvPr userDrawn="1"/>
            </p:nvGrpSpPr>
            <p:grpSpPr>
              <a:xfrm>
                <a:off x="9541497" y="7168798"/>
                <a:ext cx="2735151" cy="1411315"/>
                <a:chOff x="9296567" y="4910411"/>
                <a:chExt cx="2735151" cy="1411315"/>
              </a:xfrm>
            </p:grpSpPr>
            <p:sp>
              <p:nvSpPr>
                <p:cNvPr id="157" name="Rectangle 156">
                  <a:extLst>
                    <a:ext uri="{FF2B5EF4-FFF2-40B4-BE49-F238E27FC236}">
                      <a16:creationId xmlns:a16="http://schemas.microsoft.com/office/drawing/2014/main" id="{BDC5CF10-ABF4-3548-B7A9-AFF61FDC6756}"/>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58" name="TextBox 157">
                  <a:extLst>
                    <a:ext uri="{FF2B5EF4-FFF2-40B4-BE49-F238E27FC236}">
                      <a16:creationId xmlns:a16="http://schemas.microsoft.com/office/drawing/2014/main" id="{697C1DF9-78D8-F946-8AEA-97C6739BC23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159" name="Graphic 158">
                  <a:extLst>
                    <a:ext uri="{FF2B5EF4-FFF2-40B4-BE49-F238E27FC236}">
                      <a16:creationId xmlns:a16="http://schemas.microsoft.com/office/drawing/2014/main" id="{5C2FF1FF-B1B7-6545-806F-1BDC3027171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60" name="TextBox 159">
                  <a:extLst>
                    <a:ext uri="{FF2B5EF4-FFF2-40B4-BE49-F238E27FC236}">
                      <a16:creationId xmlns:a16="http://schemas.microsoft.com/office/drawing/2014/main" id="{FA3C0A73-D511-3B49-8AC7-02179A31268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1" name="TextBox 160">
                  <a:extLst>
                    <a:ext uri="{FF2B5EF4-FFF2-40B4-BE49-F238E27FC236}">
                      <a16:creationId xmlns:a16="http://schemas.microsoft.com/office/drawing/2014/main" id="{8EA9CE81-F075-DE47-82D8-6F158387D04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2" name="TextBox 161">
                  <a:extLst>
                    <a:ext uri="{FF2B5EF4-FFF2-40B4-BE49-F238E27FC236}">
                      <a16:creationId xmlns:a16="http://schemas.microsoft.com/office/drawing/2014/main" id="{78807420-9DBC-9A45-8A89-7CD0F4D92B9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143" name="Group 142">
                <a:extLst>
                  <a:ext uri="{FF2B5EF4-FFF2-40B4-BE49-F238E27FC236}">
                    <a16:creationId xmlns:a16="http://schemas.microsoft.com/office/drawing/2014/main" id="{5C351591-2472-904B-8759-942A88D16B9D}"/>
                  </a:ext>
                </a:extLst>
              </p:cNvPr>
              <p:cNvGrpSpPr/>
              <p:nvPr userDrawn="1"/>
            </p:nvGrpSpPr>
            <p:grpSpPr>
              <a:xfrm>
                <a:off x="9541497" y="5812142"/>
                <a:ext cx="2735151" cy="1280928"/>
                <a:chOff x="9286315" y="6976989"/>
                <a:chExt cx="2735151" cy="1280928"/>
              </a:xfrm>
            </p:grpSpPr>
            <p:sp>
              <p:nvSpPr>
                <p:cNvPr id="152" name="Rectangle 151">
                  <a:extLst>
                    <a:ext uri="{FF2B5EF4-FFF2-40B4-BE49-F238E27FC236}">
                      <a16:creationId xmlns:a16="http://schemas.microsoft.com/office/drawing/2014/main" id="{BE2203C4-AADF-9846-8B18-491BE1A24360}"/>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53" name="TextBox 152">
                  <a:extLst>
                    <a:ext uri="{FF2B5EF4-FFF2-40B4-BE49-F238E27FC236}">
                      <a16:creationId xmlns:a16="http://schemas.microsoft.com/office/drawing/2014/main" id="{0030A937-6F39-054A-AED5-ADF5A04739AF}"/>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154" name="Graphic 153">
                  <a:extLst>
                    <a:ext uri="{FF2B5EF4-FFF2-40B4-BE49-F238E27FC236}">
                      <a16:creationId xmlns:a16="http://schemas.microsoft.com/office/drawing/2014/main" id="{0537737C-2115-B947-9A78-0777F840E7B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55" name="TextBox 154">
                  <a:extLst>
                    <a:ext uri="{FF2B5EF4-FFF2-40B4-BE49-F238E27FC236}">
                      <a16:creationId xmlns:a16="http://schemas.microsoft.com/office/drawing/2014/main" id="{8BA15225-069B-8742-A8D7-CAC9185D509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156" name="Picture 155">
                  <a:extLst>
                    <a:ext uri="{FF2B5EF4-FFF2-40B4-BE49-F238E27FC236}">
                      <a16:creationId xmlns:a16="http://schemas.microsoft.com/office/drawing/2014/main" id="{8144153B-0D79-E944-B51D-5835E26BED66}"/>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44" name="Group 143">
                <a:extLst>
                  <a:ext uri="{FF2B5EF4-FFF2-40B4-BE49-F238E27FC236}">
                    <a16:creationId xmlns:a16="http://schemas.microsoft.com/office/drawing/2014/main" id="{E9E4EBA5-7235-1749-BE4E-7F57283F44A6}"/>
                  </a:ext>
                </a:extLst>
              </p:cNvPr>
              <p:cNvGrpSpPr/>
              <p:nvPr userDrawn="1"/>
            </p:nvGrpSpPr>
            <p:grpSpPr>
              <a:xfrm>
                <a:off x="9521833" y="2891408"/>
                <a:ext cx="2617883" cy="651460"/>
                <a:chOff x="12352022" y="513115"/>
                <a:chExt cx="2617883" cy="651460"/>
              </a:xfrm>
            </p:grpSpPr>
            <p:sp>
              <p:nvSpPr>
                <p:cNvPr id="149" name="TextBox 148">
                  <a:extLst>
                    <a:ext uri="{FF2B5EF4-FFF2-40B4-BE49-F238E27FC236}">
                      <a16:creationId xmlns:a16="http://schemas.microsoft.com/office/drawing/2014/main" id="{F2698A1D-5AA4-DC44-9F55-CBD096FE57F1}"/>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50" name="TextBox 149">
                  <a:extLst>
                    <a:ext uri="{FF2B5EF4-FFF2-40B4-BE49-F238E27FC236}">
                      <a16:creationId xmlns:a16="http://schemas.microsoft.com/office/drawing/2014/main" id="{3AE86D23-8305-5A45-A571-52B2F5C0990D}"/>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51" name="TextBox 150">
                  <a:extLst>
                    <a:ext uri="{FF2B5EF4-FFF2-40B4-BE49-F238E27FC236}">
                      <a16:creationId xmlns:a16="http://schemas.microsoft.com/office/drawing/2014/main" id="{C22F969C-FAF1-8246-BD84-28276607268B}"/>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Select and download images from the Marketing Resource Database.</a:t>
                  </a:r>
                </a:p>
                <a:p>
                  <a:pPr lvl="0"/>
                  <a:r>
                    <a:rPr lang="en-US" sz="1050"/>
                    <a:t>Add the image to the placeholder.</a:t>
                  </a:r>
                </a:p>
              </p:txBody>
            </p:sp>
          </p:grpSp>
          <p:sp>
            <p:nvSpPr>
              <p:cNvPr id="145" name="TextBox 144">
                <a:extLst>
                  <a:ext uri="{FF2B5EF4-FFF2-40B4-BE49-F238E27FC236}">
                    <a16:creationId xmlns:a16="http://schemas.microsoft.com/office/drawing/2014/main" id="{94AAA41A-0A99-B540-9DFB-E702DDC79CE0}"/>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146" name="TextBox 145">
                <a:extLst>
                  <a:ext uri="{FF2B5EF4-FFF2-40B4-BE49-F238E27FC236}">
                    <a16:creationId xmlns:a16="http://schemas.microsoft.com/office/drawing/2014/main" id="{4FB277D0-59CC-B04A-AF4B-F5F46BEA5970}"/>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147" name="TextBox 146">
                <a:extLst>
                  <a:ext uri="{FF2B5EF4-FFF2-40B4-BE49-F238E27FC236}">
                    <a16:creationId xmlns:a16="http://schemas.microsoft.com/office/drawing/2014/main" id="{D2A1627A-335B-1447-896B-7A24744C3AFE}"/>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148" name="TextBox 147">
                <a:extLst>
                  <a:ext uri="{FF2B5EF4-FFF2-40B4-BE49-F238E27FC236}">
                    <a16:creationId xmlns:a16="http://schemas.microsoft.com/office/drawing/2014/main" id="{D1D1A24B-457A-C34F-BF91-92618BD9AA84}"/>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sp>
          <p:nvSpPr>
            <p:cNvPr id="129" name="TextBox 128">
              <a:extLst>
                <a:ext uri="{FF2B5EF4-FFF2-40B4-BE49-F238E27FC236}">
                  <a16:creationId xmlns:a16="http://schemas.microsoft.com/office/drawing/2014/main" id="{44275E70-9A90-8248-B103-32F4FC330EA0}"/>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130" name="Straight Connector 129">
              <a:extLst>
                <a:ext uri="{FF2B5EF4-FFF2-40B4-BE49-F238E27FC236}">
                  <a16:creationId xmlns:a16="http://schemas.microsoft.com/office/drawing/2014/main" id="{3206D460-1991-A942-841E-D63D3918283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F4DDB051-6B6F-BC48-8BB7-4040D84AAB04}"/>
                </a:ext>
              </a:extLst>
            </p:cNvPr>
            <p:cNvGrpSpPr/>
            <p:nvPr userDrawn="1"/>
          </p:nvGrpSpPr>
          <p:grpSpPr>
            <a:xfrm>
              <a:off x="9554253" y="2414886"/>
              <a:ext cx="2819399" cy="1181890"/>
              <a:chOff x="9541498" y="3352649"/>
              <a:chExt cx="2819399" cy="1181890"/>
            </a:xfrm>
          </p:grpSpPr>
          <p:grpSp>
            <p:nvGrpSpPr>
              <p:cNvPr id="132" name="Group 131">
                <a:extLst>
                  <a:ext uri="{FF2B5EF4-FFF2-40B4-BE49-F238E27FC236}">
                    <a16:creationId xmlns:a16="http://schemas.microsoft.com/office/drawing/2014/main" id="{766FADBE-8E34-814E-96B3-2AEADDB68211}"/>
                  </a:ext>
                </a:extLst>
              </p:cNvPr>
              <p:cNvGrpSpPr/>
              <p:nvPr userDrawn="1"/>
            </p:nvGrpSpPr>
            <p:grpSpPr>
              <a:xfrm>
                <a:off x="9541498" y="3352649"/>
                <a:ext cx="2735150" cy="1181890"/>
                <a:chOff x="9541498" y="3751132"/>
                <a:chExt cx="2735150" cy="1181890"/>
              </a:xfrm>
            </p:grpSpPr>
            <p:grpSp>
              <p:nvGrpSpPr>
                <p:cNvPr id="134" name="Group 133">
                  <a:extLst>
                    <a:ext uri="{FF2B5EF4-FFF2-40B4-BE49-F238E27FC236}">
                      <a16:creationId xmlns:a16="http://schemas.microsoft.com/office/drawing/2014/main" id="{AD0934A4-4B6D-554D-99CA-06DCE1F3AD20}"/>
                    </a:ext>
                  </a:extLst>
                </p:cNvPr>
                <p:cNvGrpSpPr/>
                <p:nvPr userDrawn="1"/>
              </p:nvGrpSpPr>
              <p:grpSpPr>
                <a:xfrm>
                  <a:off x="9541498" y="3751132"/>
                  <a:ext cx="2735150" cy="1181890"/>
                  <a:chOff x="9296568" y="4910411"/>
                  <a:chExt cx="2735150" cy="1181890"/>
                </a:xfrm>
              </p:grpSpPr>
              <p:sp>
                <p:nvSpPr>
                  <p:cNvPr id="136" name="Rectangle 135">
                    <a:extLst>
                      <a:ext uri="{FF2B5EF4-FFF2-40B4-BE49-F238E27FC236}">
                        <a16:creationId xmlns:a16="http://schemas.microsoft.com/office/drawing/2014/main" id="{53182B15-F43E-0147-B7E0-9BED83FA6B8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7" name="TextBox 136">
                    <a:extLst>
                      <a:ext uri="{FF2B5EF4-FFF2-40B4-BE49-F238E27FC236}">
                        <a16:creationId xmlns:a16="http://schemas.microsoft.com/office/drawing/2014/main" id="{A7FE4E2B-60F9-B74B-9322-B2A84ADC3AEC}"/>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138" name="TextBox 137">
                    <a:extLst>
                      <a:ext uri="{FF2B5EF4-FFF2-40B4-BE49-F238E27FC236}">
                        <a16:creationId xmlns:a16="http://schemas.microsoft.com/office/drawing/2014/main" id="{45C5FDA9-51EB-994D-A9B6-D74A75ECC8CA}"/>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35" name="Graphic 134">
                  <a:extLst>
                    <a:ext uri="{FF2B5EF4-FFF2-40B4-BE49-F238E27FC236}">
                      <a16:creationId xmlns:a16="http://schemas.microsoft.com/office/drawing/2014/main" id="{10990A9D-3395-D041-92DA-7AF631B6320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33" name="Picture 132">
                <a:extLst>
                  <a:ext uri="{FF2B5EF4-FFF2-40B4-BE49-F238E27FC236}">
                    <a16:creationId xmlns:a16="http://schemas.microsoft.com/office/drawing/2014/main" id="{A163CE1E-05FE-3244-A292-D0B3E311C30C}"/>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47833874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efault Text Over Photo">
    <p:bg>
      <p:bgPr>
        <a:solidFill>
          <a:schemeClr val="bg1"/>
        </a:solidFill>
        <a:effectLst/>
      </p:bgPr>
    </p:bg>
    <p:spTree>
      <p:nvGrpSpPr>
        <p:cNvPr id="1" name=""/>
        <p:cNvGrpSpPr/>
        <p:nvPr/>
      </p:nvGrpSpPr>
      <p:grpSpPr>
        <a:xfrm>
          <a:off x="0" y="0"/>
          <a:ext cx="0" cy="0"/>
          <a:chOff x="0" y="0"/>
          <a:chExt cx="0" cy="0"/>
        </a:xfrm>
      </p:grpSpPr>
      <p:sp>
        <p:nvSpPr>
          <p:cNvPr id="52" name="Picture Placeholder 48">
            <a:extLst>
              <a:ext uri="{FF2B5EF4-FFF2-40B4-BE49-F238E27FC236}">
                <a16:creationId xmlns:a16="http://schemas.microsoft.com/office/drawing/2014/main" id="{8E6B0358-94E9-2245-91AC-C2EF7A1FB1E0}"/>
              </a:ext>
            </a:extLst>
          </p:cNvPr>
          <p:cNvSpPr>
            <a:spLocks noGrp="1"/>
          </p:cNvSpPr>
          <p:nvPr>
            <p:ph type="pic" sz="quarter" idx="13" hasCustomPrompt="1"/>
          </p:nvPr>
        </p:nvSpPr>
        <p:spPr>
          <a:xfrm>
            <a:off x="1" y="1112838"/>
            <a:ext cx="12192001" cy="5745162"/>
          </a:xfrm>
          <a:custGeom>
            <a:avLst/>
            <a:gdLst>
              <a:gd name="connsiteX0" fmla="*/ 0 w 9144001"/>
              <a:gd name="connsiteY0" fmla="*/ 0 h 5745162"/>
              <a:gd name="connsiteX1" fmla="*/ 9144001 w 9144001"/>
              <a:gd name="connsiteY1" fmla="*/ 0 h 5745162"/>
              <a:gd name="connsiteX2" fmla="*/ 9144001 w 9144001"/>
              <a:gd name="connsiteY2" fmla="*/ 32567 h 5745162"/>
              <a:gd name="connsiteX3" fmla="*/ 9144001 w 9144001"/>
              <a:gd name="connsiteY3" fmla="*/ 3873048 h 5745162"/>
              <a:gd name="connsiteX4" fmla="*/ 9144001 w 9144001"/>
              <a:gd name="connsiteY4" fmla="*/ 5745162 h 5745162"/>
              <a:gd name="connsiteX5" fmla="*/ 0 w 9144001"/>
              <a:gd name="connsiteY5" fmla="*/ 5745162 h 5745162"/>
              <a:gd name="connsiteX6" fmla="*/ 0 w 9144001"/>
              <a:gd name="connsiteY6" fmla="*/ 3873048 h 5745162"/>
              <a:gd name="connsiteX7" fmla="*/ 0 w 9144001"/>
              <a:gd name="connsiteY7" fmla="*/ 32567 h 57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144001" h="5745162">
                <a:moveTo>
                  <a:pt x="0" y="0"/>
                </a:moveTo>
                <a:lnTo>
                  <a:pt x="9144001" y="0"/>
                </a:lnTo>
                <a:lnTo>
                  <a:pt x="9144001" y="32567"/>
                </a:lnTo>
                <a:lnTo>
                  <a:pt x="9144001" y="3873048"/>
                </a:lnTo>
                <a:lnTo>
                  <a:pt x="9144001" y="5745162"/>
                </a:lnTo>
                <a:lnTo>
                  <a:pt x="0" y="5745162"/>
                </a:lnTo>
                <a:lnTo>
                  <a:pt x="0" y="3873048"/>
                </a:lnTo>
                <a:lnTo>
                  <a:pt x="0" y="32567"/>
                </a:lnTo>
                <a:close/>
              </a:path>
            </a:pathLst>
          </a:custGeom>
          <a:solidFill>
            <a:schemeClr val="accent5">
              <a:lumMod val="60000"/>
              <a:lumOff val="40000"/>
            </a:schemeClr>
          </a:solidFill>
          <a:ln>
            <a:noFill/>
          </a:ln>
        </p:spPr>
        <p:txBody>
          <a:bodyPr wrap="square" rIns="432000" anchor="ctr">
            <a:noAutofit/>
          </a:bodyPr>
          <a:lstStyle>
            <a:lvl1pPr marL="0" indent="0" algn="r">
              <a:spcBef>
                <a:spcPts val="0"/>
              </a:spcBef>
              <a:spcAft>
                <a:spcPts val="0"/>
              </a:spcAft>
              <a:buNone/>
              <a:defRPr b="0">
                <a:solidFill>
                  <a:schemeClr val="bg2"/>
                </a:solidFill>
              </a:defRPr>
            </a:lvl1pPr>
          </a:lstStyle>
          <a:p>
            <a:r>
              <a:rPr lang="en-US"/>
              <a:t>Drag image onto slide to add photo</a:t>
            </a:r>
          </a:p>
        </p:txBody>
      </p:sp>
      <p:sp>
        <p:nvSpPr>
          <p:cNvPr id="200" name="First Content Placeholder">
            <a:extLst>
              <a:ext uri="{FF2B5EF4-FFF2-40B4-BE49-F238E27FC236}">
                <a16:creationId xmlns:a16="http://schemas.microsoft.com/office/drawing/2014/main" id="{630CB258-15BC-1643-9DB4-368468698F13}"/>
              </a:ext>
            </a:extLst>
          </p:cNvPr>
          <p:cNvSpPr>
            <a:spLocks noGrp="1"/>
          </p:cNvSpPr>
          <p:nvPr>
            <p:ph type="body" sz="quarter" idx="200"/>
          </p:nvPr>
        </p:nvSpPr>
        <p:spPr>
          <a:xfrm>
            <a:off x="0" y="1112838"/>
            <a:ext cx="6096000" cy="5745162"/>
          </a:xfrm>
          <a:gradFill>
            <a:gsLst>
              <a:gs pos="13000">
                <a:schemeClr val="accent1"/>
              </a:gs>
              <a:gs pos="97000">
                <a:schemeClr val="accent1">
                  <a:alpha val="80000"/>
                </a:schemeClr>
              </a:gs>
            </a:gsLst>
            <a:lin ang="5400000" scaled="0"/>
          </a:gradFill>
        </p:spPr>
        <p:txBody>
          <a:bodyPr lIns="576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itle 3">
            <a:extLst>
              <a:ext uri="{FF2B5EF4-FFF2-40B4-BE49-F238E27FC236}">
                <a16:creationId xmlns:a16="http://schemas.microsoft.com/office/drawing/2014/main" id="{63B11128-F69D-DC4E-8CD4-B5A9A92E8D6E}"/>
              </a:ext>
            </a:extLst>
          </p:cNvPr>
          <p:cNvSpPr>
            <a:spLocks noGrp="1"/>
          </p:cNvSpPr>
          <p:nvPr>
            <p:ph type="title" hasCustomPrompt="1"/>
          </p:nvPr>
        </p:nvSpPr>
        <p:spPr/>
        <p:txBody>
          <a:bodyPr/>
          <a:lstStyle>
            <a:lvl1pPr>
              <a:defRPr/>
            </a:lvl1pPr>
          </a:lstStyle>
          <a:p>
            <a:r>
              <a:rPr lang="en-US"/>
              <a:t>CLICK TO ADD Slide TITLE. ALL CAPS. TWO LINES max.</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575733" y="6200775"/>
            <a:ext cx="4934115"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F97A898C-B866-B14B-9178-5A34D2335457}"/>
              </a:ext>
            </a:extLst>
          </p:cNvPr>
          <p:cNvSpPr>
            <a:spLocks noGrp="1"/>
          </p:cNvSpPr>
          <p:nvPr>
            <p:ph type="dt" sz="half" idx="110"/>
          </p:nvPr>
        </p:nvSpPr>
        <p:spPr/>
        <p:txBody>
          <a:bodyPr/>
          <a:lstStyle/>
          <a:p>
            <a:endParaRPr lang="en-US"/>
          </a:p>
        </p:txBody>
      </p:sp>
      <p:sp>
        <p:nvSpPr>
          <p:cNvPr id="5" name="Footer Placeholder 4">
            <a:extLst>
              <a:ext uri="{FF2B5EF4-FFF2-40B4-BE49-F238E27FC236}">
                <a16:creationId xmlns:a16="http://schemas.microsoft.com/office/drawing/2014/main" id="{26F97896-B943-434D-88CF-4C1DD9A124EB}"/>
              </a:ext>
            </a:extLst>
          </p:cNvPr>
          <p:cNvSpPr>
            <a:spLocks noGrp="1"/>
          </p:cNvSpPr>
          <p:nvPr>
            <p:ph type="ftr" sz="quarter" idx="111"/>
          </p:nvPr>
        </p:nvSpPr>
        <p:spPr/>
        <p:txBody>
          <a:bodyPr/>
          <a:lstStyle/>
          <a:p>
            <a:endParaRPr lang="en-US"/>
          </a:p>
        </p:txBody>
      </p:sp>
      <p:sp>
        <p:nvSpPr>
          <p:cNvPr id="500" name="Caption">
            <a:extLst>
              <a:ext uri="{FF2B5EF4-FFF2-40B4-BE49-F238E27FC236}">
                <a16:creationId xmlns:a16="http://schemas.microsoft.com/office/drawing/2014/main" id="{FD347B14-43C4-154A-92C4-BB860714839D}"/>
              </a:ext>
            </a:extLst>
          </p:cNvPr>
          <p:cNvSpPr>
            <a:spLocks noGrp="1"/>
          </p:cNvSpPr>
          <p:nvPr>
            <p:ph type="body" sz="quarter" idx="500" hasCustomPrompt="1"/>
          </p:nvPr>
        </p:nvSpPr>
        <p:spPr>
          <a:xfrm>
            <a:off x="7947046" y="6200776"/>
            <a:ext cx="3657167"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48" name="Slide Number Placeholder 3">
            <a:extLst>
              <a:ext uri="{FF2B5EF4-FFF2-40B4-BE49-F238E27FC236}">
                <a16:creationId xmlns:a16="http://schemas.microsoft.com/office/drawing/2014/main" id="{92E106F0-9484-5947-ACF2-FD796A463D32}"/>
              </a:ext>
            </a:extLst>
          </p:cNvPr>
          <p:cNvSpPr>
            <a:spLocks noGrp="1"/>
          </p:cNvSpPr>
          <p:nvPr userDrawn="1">
            <p:ph type="sldNum" sz="quarter" idx="112"/>
          </p:nvPr>
        </p:nvSpPr>
        <p:spPr>
          <a:xfrm>
            <a:off x="11720052" y="6516149"/>
            <a:ext cx="467272" cy="174625"/>
          </a:xfrm>
          <a:noFill/>
        </p:spPr>
        <p:txBody>
          <a:bodyPr/>
          <a:lstStyle>
            <a:lvl1pPr>
              <a:defRPr>
                <a:solidFill>
                  <a:schemeClr val="bg1"/>
                </a:solidFill>
              </a:defRPr>
            </a:lvl1pPr>
          </a:lstStyle>
          <a:p>
            <a:pPr marL="12700"/>
            <a:fld id="{078C017C-E1B9-8443-B047-B08AAA027B45}" type="slidenum">
              <a:rPr lang="en-US" smtClean="0"/>
              <a:pPr marL="12700"/>
              <a:t>‹#›</a:t>
            </a:fld>
            <a:endParaRPr lang="en-US"/>
          </a:p>
        </p:txBody>
      </p:sp>
      <p:grpSp>
        <p:nvGrpSpPr>
          <p:cNvPr id="6" name="Group 5">
            <a:extLst>
              <a:ext uri="{FF2B5EF4-FFF2-40B4-BE49-F238E27FC236}">
                <a16:creationId xmlns:a16="http://schemas.microsoft.com/office/drawing/2014/main" id="{B104F9D3-21BC-F941-8399-CF9E0BBD5283}"/>
              </a:ext>
            </a:extLst>
          </p:cNvPr>
          <p:cNvGrpSpPr/>
          <p:nvPr userDrawn="1"/>
        </p:nvGrpSpPr>
        <p:grpSpPr>
          <a:xfrm>
            <a:off x="12532244" y="-2"/>
            <a:ext cx="2979899" cy="11187339"/>
            <a:chOff x="9399182" y="-2"/>
            <a:chExt cx="2961715" cy="11187339"/>
          </a:xfrm>
        </p:grpSpPr>
        <p:sp>
          <p:nvSpPr>
            <p:cNvPr id="45" name="Rectangle 44">
              <a:extLst>
                <a:ext uri="{FF2B5EF4-FFF2-40B4-BE49-F238E27FC236}">
                  <a16:creationId xmlns:a16="http://schemas.microsoft.com/office/drawing/2014/main" id="{E43CC0CC-412F-694E-BA2F-CCF91349B581}"/>
                </a:ext>
              </a:extLst>
            </p:cNvPr>
            <p:cNvSpPr/>
            <p:nvPr userDrawn="1"/>
          </p:nvSpPr>
          <p:spPr>
            <a:xfrm>
              <a:off x="9399182" y="-2"/>
              <a:ext cx="2798651" cy="1101500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46" name="Picture 45">
              <a:extLst>
                <a:ext uri="{FF2B5EF4-FFF2-40B4-BE49-F238E27FC236}">
                  <a16:creationId xmlns:a16="http://schemas.microsoft.com/office/drawing/2014/main" id="{EA9F5F80-B9F9-0F44-B698-DF454AA644DD}"/>
                </a:ext>
              </a:extLst>
            </p:cNvPr>
            <p:cNvPicPr>
              <a:picLocks noChangeAspect="1"/>
            </p:cNvPicPr>
            <p:nvPr userDrawn="1"/>
          </p:nvPicPr>
          <p:blipFill rotWithShape="1">
            <a:blip r:embed="rId2"/>
            <a:srcRect t="17021" r="58309" b="16813"/>
            <a:stretch/>
          </p:blipFill>
          <p:spPr>
            <a:xfrm>
              <a:off x="9558505" y="1321569"/>
              <a:ext cx="2639327" cy="1095417"/>
            </a:xfrm>
            <a:prstGeom prst="rect">
              <a:avLst/>
            </a:prstGeom>
          </p:spPr>
        </p:pic>
        <p:sp>
          <p:nvSpPr>
            <p:cNvPr id="47" name="Rectangle 46">
              <a:extLst>
                <a:ext uri="{FF2B5EF4-FFF2-40B4-BE49-F238E27FC236}">
                  <a16:creationId xmlns:a16="http://schemas.microsoft.com/office/drawing/2014/main" id="{6BB1AE2B-CA0A-8D42-82DE-43E63DE4AC0D}"/>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1" name="TextBox 50">
              <a:extLst>
                <a:ext uri="{FF2B5EF4-FFF2-40B4-BE49-F238E27FC236}">
                  <a16:creationId xmlns:a16="http://schemas.microsoft.com/office/drawing/2014/main" id="{9AB55C23-AD36-AE4E-9421-68AD42E3CAAC}"/>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53" name="Picture 52">
              <a:extLst>
                <a:ext uri="{FF2B5EF4-FFF2-40B4-BE49-F238E27FC236}">
                  <a16:creationId xmlns:a16="http://schemas.microsoft.com/office/drawing/2014/main" id="{1108CC98-FEA9-DC4C-807D-C762CA96FAAF}"/>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03" name="TextBox 102">
              <a:extLst>
                <a:ext uri="{FF2B5EF4-FFF2-40B4-BE49-F238E27FC236}">
                  <a16:creationId xmlns:a16="http://schemas.microsoft.com/office/drawing/2014/main" id="{12194029-9A74-1343-8288-8CF894102496}"/>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104" name="Straight Connector 103">
              <a:extLst>
                <a:ext uri="{FF2B5EF4-FFF2-40B4-BE49-F238E27FC236}">
                  <a16:creationId xmlns:a16="http://schemas.microsoft.com/office/drawing/2014/main" id="{E41EA862-645E-0F49-9B37-60C68EF7C6A8}"/>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196F6A19-D6A3-6947-9A53-F14EEAE75208}"/>
                </a:ext>
              </a:extLst>
            </p:cNvPr>
            <p:cNvGrpSpPr/>
            <p:nvPr userDrawn="1"/>
          </p:nvGrpSpPr>
          <p:grpSpPr>
            <a:xfrm>
              <a:off x="9521833" y="3751281"/>
              <a:ext cx="2754815" cy="7436056"/>
              <a:chOff x="9521833" y="2531409"/>
              <a:chExt cx="2754815" cy="7436056"/>
            </a:xfrm>
          </p:grpSpPr>
          <p:sp>
            <p:nvSpPr>
              <p:cNvPr id="54" name="TextBox 53">
                <a:extLst>
                  <a:ext uri="{FF2B5EF4-FFF2-40B4-BE49-F238E27FC236}">
                    <a16:creationId xmlns:a16="http://schemas.microsoft.com/office/drawing/2014/main" id="{A4D10D26-A257-FE41-BFB0-8F5ED90CC342}"/>
                  </a:ext>
                </a:extLst>
              </p:cNvPr>
              <p:cNvSpPr txBox="1"/>
              <p:nvPr userDrawn="1"/>
            </p:nvSpPr>
            <p:spPr>
              <a:xfrm>
                <a:off x="9558507" y="3953640"/>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55" name="Straight Connector 54">
                <a:extLst>
                  <a:ext uri="{FF2B5EF4-FFF2-40B4-BE49-F238E27FC236}">
                    <a16:creationId xmlns:a16="http://schemas.microsoft.com/office/drawing/2014/main" id="{CCBA4925-27F7-0840-AB2A-43828EF3AD6C}"/>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586850C-9180-FA4E-968E-FF19A860A64D}"/>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sp>
            <p:nvSpPr>
              <p:cNvPr id="61" name="Rectangle 60">
                <a:extLst>
                  <a:ext uri="{FF2B5EF4-FFF2-40B4-BE49-F238E27FC236}">
                    <a16:creationId xmlns:a16="http://schemas.microsoft.com/office/drawing/2014/main" id="{6261B6DE-3D1B-B646-8CA5-3B37F32A674F}"/>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2" name="TextBox 61">
                <a:extLst>
                  <a:ext uri="{FF2B5EF4-FFF2-40B4-BE49-F238E27FC236}">
                    <a16:creationId xmlns:a16="http://schemas.microsoft.com/office/drawing/2014/main" id="{B35D847C-FBAE-9141-80AA-E929009454B3}"/>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73" name="Graphic 72">
                <a:extLst>
                  <a:ext uri="{FF2B5EF4-FFF2-40B4-BE49-F238E27FC236}">
                    <a16:creationId xmlns:a16="http://schemas.microsoft.com/office/drawing/2014/main" id="{7E3A8F17-D7F3-FB43-8FFE-8437E55D771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74" name="TextBox 73">
                <a:extLst>
                  <a:ext uri="{FF2B5EF4-FFF2-40B4-BE49-F238E27FC236}">
                    <a16:creationId xmlns:a16="http://schemas.microsoft.com/office/drawing/2014/main" id="{3F05BF82-935B-0D48-A2E9-BD0093B49F2C}"/>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8" name="TextBox 77">
                <a:extLst>
                  <a:ext uri="{FF2B5EF4-FFF2-40B4-BE49-F238E27FC236}">
                    <a16:creationId xmlns:a16="http://schemas.microsoft.com/office/drawing/2014/main" id="{B65235D7-20FA-AA4C-B70A-258CF74C09E1}"/>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9" name="TextBox 78">
                <a:extLst>
                  <a:ext uri="{FF2B5EF4-FFF2-40B4-BE49-F238E27FC236}">
                    <a16:creationId xmlns:a16="http://schemas.microsoft.com/office/drawing/2014/main" id="{27581D51-2E99-9242-ABB1-C15D65232A7A}"/>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sp>
            <p:nvSpPr>
              <p:cNvPr id="85" name="Rectangle 84">
                <a:extLst>
                  <a:ext uri="{FF2B5EF4-FFF2-40B4-BE49-F238E27FC236}">
                    <a16:creationId xmlns:a16="http://schemas.microsoft.com/office/drawing/2014/main" id="{C5CEAEDC-18E3-9E45-9236-4044DE7F605B}"/>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6" name="TextBox 85">
                <a:extLst>
                  <a:ext uri="{FF2B5EF4-FFF2-40B4-BE49-F238E27FC236}">
                    <a16:creationId xmlns:a16="http://schemas.microsoft.com/office/drawing/2014/main" id="{8CF43F75-DCAC-3A4B-856C-20394D3967E0}"/>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87" name="Graphic 86">
                <a:extLst>
                  <a:ext uri="{FF2B5EF4-FFF2-40B4-BE49-F238E27FC236}">
                    <a16:creationId xmlns:a16="http://schemas.microsoft.com/office/drawing/2014/main" id="{757374C0-8D98-8A47-BE70-BB1D3E4F133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89" name="TextBox 88">
                <a:extLst>
                  <a:ext uri="{FF2B5EF4-FFF2-40B4-BE49-F238E27FC236}">
                    <a16:creationId xmlns:a16="http://schemas.microsoft.com/office/drawing/2014/main" id="{7E869158-45ED-B645-9955-8A67BA7702F6}"/>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90" name="Picture 89">
                <a:extLst>
                  <a:ext uri="{FF2B5EF4-FFF2-40B4-BE49-F238E27FC236}">
                    <a16:creationId xmlns:a16="http://schemas.microsoft.com/office/drawing/2014/main" id="{BC30FFF4-CDB9-3B4D-9B7E-D33DD4F29647}"/>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91" name="TextBox 90">
                <a:extLst>
                  <a:ext uri="{FF2B5EF4-FFF2-40B4-BE49-F238E27FC236}">
                    <a16:creationId xmlns:a16="http://schemas.microsoft.com/office/drawing/2014/main" id="{248967FA-A69C-BF4E-83CA-ACF61244C965}"/>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92" name="TextBox 91">
                <a:extLst>
                  <a:ext uri="{FF2B5EF4-FFF2-40B4-BE49-F238E27FC236}">
                    <a16:creationId xmlns:a16="http://schemas.microsoft.com/office/drawing/2014/main" id="{28A219F0-9820-E94D-9B0B-FC1451A729F1}"/>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97" name="TextBox 96">
                <a:extLst>
                  <a:ext uri="{FF2B5EF4-FFF2-40B4-BE49-F238E27FC236}">
                    <a16:creationId xmlns:a16="http://schemas.microsoft.com/office/drawing/2014/main" id="{6B1FFA28-D937-0546-81ED-6A667496097F}"/>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Select and download images from the Marketing Resource Database.</a:t>
                </a:r>
              </a:p>
              <a:p>
                <a:pPr lvl="0"/>
                <a:r>
                  <a:rPr lang="en-US" sz="1050"/>
                  <a:t>Add the image to the placeholder.</a:t>
                </a:r>
              </a:p>
            </p:txBody>
          </p:sp>
          <p:sp>
            <p:nvSpPr>
              <p:cNvPr id="98" name="TextBox 97">
                <a:extLst>
                  <a:ext uri="{FF2B5EF4-FFF2-40B4-BE49-F238E27FC236}">
                    <a16:creationId xmlns:a16="http://schemas.microsoft.com/office/drawing/2014/main" id="{68994775-7F6D-024C-A545-1FD8DA0B5066}"/>
                  </a:ext>
                </a:extLst>
              </p:cNvPr>
              <p:cNvSpPr txBox="1"/>
              <p:nvPr userDrawn="1"/>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99" name="TextBox 98">
                <a:extLst>
                  <a:ext uri="{FF2B5EF4-FFF2-40B4-BE49-F238E27FC236}">
                    <a16:creationId xmlns:a16="http://schemas.microsoft.com/office/drawing/2014/main" id="{AC1A251F-EFCC-D040-AD73-5A844F6C8923}"/>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100" name="TextBox 99">
                <a:extLst>
                  <a:ext uri="{FF2B5EF4-FFF2-40B4-BE49-F238E27FC236}">
                    <a16:creationId xmlns:a16="http://schemas.microsoft.com/office/drawing/2014/main" id="{0F0507AD-9F18-6D4E-9209-0C54CEF82012}"/>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102" name="TextBox 101">
                <a:extLst>
                  <a:ext uri="{FF2B5EF4-FFF2-40B4-BE49-F238E27FC236}">
                    <a16:creationId xmlns:a16="http://schemas.microsoft.com/office/drawing/2014/main" id="{4827295A-AD1C-9B4E-9832-4C95BEE1E2CF}"/>
                  </a:ext>
                </a:extLst>
              </p:cNvPr>
              <p:cNvSpPr txBox="1"/>
              <p:nvPr userDrawn="1"/>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sp>
            <p:nvSpPr>
              <p:cNvPr id="105" name="Rectangle 104">
                <a:extLst>
                  <a:ext uri="{FF2B5EF4-FFF2-40B4-BE49-F238E27FC236}">
                    <a16:creationId xmlns:a16="http://schemas.microsoft.com/office/drawing/2014/main" id="{6C8F933F-D9D9-7549-9AF5-2C614E0FD4B9}"/>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06" name="TextBox 105">
                <a:extLst>
                  <a:ext uri="{FF2B5EF4-FFF2-40B4-BE49-F238E27FC236}">
                    <a16:creationId xmlns:a16="http://schemas.microsoft.com/office/drawing/2014/main" id="{BFF57C2F-17D2-C542-9688-994363166A69}"/>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Adjust overlay text box size</a:t>
                </a:r>
              </a:p>
            </p:txBody>
          </p:sp>
          <p:pic>
            <p:nvPicPr>
              <p:cNvPr id="107" name="Graphic 106">
                <a:extLst>
                  <a:ext uri="{FF2B5EF4-FFF2-40B4-BE49-F238E27FC236}">
                    <a16:creationId xmlns:a16="http://schemas.microsoft.com/office/drawing/2014/main" id="{8F010FD2-F208-734E-83F5-73F06D91019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08" name="TextBox 107">
                <a:extLst>
                  <a:ext uri="{FF2B5EF4-FFF2-40B4-BE49-F238E27FC236}">
                    <a16:creationId xmlns:a16="http://schemas.microsoft.com/office/drawing/2014/main" id="{FE457EE7-A96E-FF4C-93C4-103A4656AC92}"/>
                  </a:ext>
                </a:extLst>
              </p:cNvPr>
              <p:cNvSpPr txBox="1"/>
              <p:nvPr userDrawn="1"/>
            </p:nvSpPr>
            <p:spPr>
              <a:xfrm>
                <a:off x="9701720" y="2924393"/>
                <a:ext cx="2214055" cy="53707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a:solidFill>
                      <a:schemeClr val="tx1">
                        <a:lumMod val="50000"/>
                        <a:lumOff val="50000"/>
                      </a:schemeClr>
                    </a:solidFill>
                    <a:latin typeface="Arial" charset="0"/>
                    <a:cs typeface="Arial" charset="0"/>
                  </a:rPr>
                  <a:t>Turn on guides (View &gt; Guides) to enable snapping.</a:t>
                </a:r>
              </a:p>
            </p:txBody>
          </p:sp>
        </p:grpSp>
        <p:grpSp>
          <p:nvGrpSpPr>
            <p:cNvPr id="3" name="Group 2">
              <a:extLst>
                <a:ext uri="{FF2B5EF4-FFF2-40B4-BE49-F238E27FC236}">
                  <a16:creationId xmlns:a16="http://schemas.microsoft.com/office/drawing/2014/main" id="{0F981F28-9C61-BC4E-BB91-07F303CF4C2D}"/>
                </a:ext>
              </a:extLst>
            </p:cNvPr>
            <p:cNvGrpSpPr/>
            <p:nvPr userDrawn="1"/>
          </p:nvGrpSpPr>
          <p:grpSpPr>
            <a:xfrm>
              <a:off x="9540503" y="2468708"/>
              <a:ext cx="2806644" cy="1181890"/>
              <a:chOff x="9554253" y="2414886"/>
              <a:chExt cx="2806644" cy="1181890"/>
            </a:xfrm>
          </p:grpSpPr>
          <p:grpSp>
            <p:nvGrpSpPr>
              <p:cNvPr id="58" name="Group 57">
                <a:extLst>
                  <a:ext uri="{FF2B5EF4-FFF2-40B4-BE49-F238E27FC236}">
                    <a16:creationId xmlns:a16="http://schemas.microsoft.com/office/drawing/2014/main" id="{0DF2DCCF-DC2F-E347-A31C-CDF68A9AF8AC}"/>
                  </a:ext>
                </a:extLst>
              </p:cNvPr>
              <p:cNvGrpSpPr/>
              <p:nvPr userDrawn="1"/>
            </p:nvGrpSpPr>
            <p:grpSpPr>
              <a:xfrm>
                <a:off x="9554253" y="2414886"/>
                <a:ext cx="2735150" cy="1181890"/>
                <a:chOff x="9541498" y="3751132"/>
                <a:chExt cx="2735150" cy="1181890"/>
              </a:xfrm>
            </p:grpSpPr>
            <p:grpSp>
              <p:nvGrpSpPr>
                <p:cNvPr id="60" name="Group 59">
                  <a:extLst>
                    <a:ext uri="{FF2B5EF4-FFF2-40B4-BE49-F238E27FC236}">
                      <a16:creationId xmlns:a16="http://schemas.microsoft.com/office/drawing/2014/main" id="{672EE88A-201E-864B-915E-E26EB55300E2}"/>
                    </a:ext>
                  </a:extLst>
                </p:cNvPr>
                <p:cNvGrpSpPr/>
                <p:nvPr userDrawn="1"/>
              </p:nvGrpSpPr>
              <p:grpSpPr>
                <a:xfrm>
                  <a:off x="9541498" y="3751132"/>
                  <a:ext cx="2735150" cy="1181890"/>
                  <a:chOff x="9296568" y="4910411"/>
                  <a:chExt cx="2735150" cy="1181890"/>
                </a:xfrm>
              </p:grpSpPr>
              <p:sp>
                <p:nvSpPr>
                  <p:cNvPr id="64" name="Rectangle 63">
                    <a:extLst>
                      <a:ext uri="{FF2B5EF4-FFF2-40B4-BE49-F238E27FC236}">
                        <a16:creationId xmlns:a16="http://schemas.microsoft.com/office/drawing/2014/main" id="{1ACA2DCD-6D06-6E48-ADC7-E4700B8E7ED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5" name="TextBox 64">
                    <a:extLst>
                      <a:ext uri="{FF2B5EF4-FFF2-40B4-BE49-F238E27FC236}">
                        <a16:creationId xmlns:a16="http://schemas.microsoft.com/office/drawing/2014/main" id="{766699C1-6810-F840-B15E-9FDBF86672FE}"/>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66" name="TextBox 65">
                    <a:extLst>
                      <a:ext uri="{FF2B5EF4-FFF2-40B4-BE49-F238E27FC236}">
                        <a16:creationId xmlns:a16="http://schemas.microsoft.com/office/drawing/2014/main" id="{46B5DD35-B22A-0445-8540-375CCBA7046C}"/>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3" name="Graphic 62">
                  <a:extLst>
                    <a:ext uri="{FF2B5EF4-FFF2-40B4-BE49-F238E27FC236}">
                      <a16:creationId xmlns:a16="http://schemas.microsoft.com/office/drawing/2014/main" id="{9D9E4893-D645-1746-AECB-65B57D82B9E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1" name="Picture 10">
                <a:extLst>
                  <a:ext uri="{FF2B5EF4-FFF2-40B4-BE49-F238E27FC236}">
                    <a16:creationId xmlns:a16="http://schemas.microsoft.com/office/drawing/2014/main" id="{670B2B87-7712-C049-9036-20C3AD85D78B}"/>
                  </a:ext>
                </a:extLst>
              </p:cNvPr>
              <p:cNvPicPr>
                <a:picLocks noChangeAspect="1"/>
              </p:cNvPicPr>
              <p:nvPr userDrawn="1"/>
            </p:nvPicPr>
            <p:blipFill rotWithShape="1">
              <a:blip r:embed="rId9"/>
              <a:srcRect t="5468" r="25071" b="3995"/>
              <a:stretch/>
            </p:blipFill>
            <p:spPr>
              <a:xfrm>
                <a:off x="10779975" y="2820522"/>
                <a:ext cx="1580922" cy="695279"/>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791413312"/>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efault Text Over Photo (Full)">
    <p:bg>
      <p:bgPr>
        <a:solidFill>
          <a:schemeClr val="bg1"/>
        </a:solidFill>
        <a:effectLst/>
      </p:bgPr>
    </p:bg>
    <p:spTree>
      <p:nvGrpSpPr>
        <p:cNvPr id="1" name=""/>
        <p:cNvGrpSpPr/>
        <p:nvPr/>
      </p:nvGrpSpPr>
      <p:grpSpPr>
        <a:xfrm>
          <a:off x="0" y="0"/>
          <a:ext cx="0" cy="0"/>
          <a:chOff x="0" y="0"/>
          <a:chExt cx="0" cy="0"/>
        </a:xfrm>
      </p:grpSpPr>
      <p:sp>
        <p:nvSpPr>
          <p:cNvPr id="98" name="Picture Placeholder 87">
            <a:extLst>
              <a:ext uri="{FF2B5EF4-FFF2-40B4-BE49-F238E27FC236}">
                <a16:creationId xmlns:a16="http://schemas.microsoft.com/office/drawing/2014/main" id="{4C35CB0F-B94A-1841-9CEB-D7FB8DD0CA89}"/>
              </a:ext>
            </a:extLst>
          </p:cNvPr>
          <p:cNvSpPr>
            <a:spLocks noGrp="1"/>
          </p:cNvSpPr>
          <p:nvPr>
            <p:ph type="pic" sz="quarter" idx="10" hasCustomPrompt="1"/>
          </p:nvPr>
        </p:nvSpPr>
        <p:spPr>
          <a:xfrm>
            <a:off x="0" y="0"/>
            <a:ext cx="12192000" cy="6858000"/>
          </a:xfrm>
          <a:custGeom>
            <a:avLst/>
            <a:gdLst>
              <a:gd name="connsiteX0" fmla="*/ 0 w 9144000"/>
              <a:gd name="connsiteY0" fmla="*/ 0 h 6858000"/>
              <a:gd name="connsiteX1" fmla="*/ 9144000 w 9144000"/>
              <a:gd name="connsiteY1" fmla="*/ 0 h 6858000"/>
              <a:gd name="connsiteX2" fmla="*/ 9144000 w 9144000"/>
              <a:gd name="connsiteY2" fmla="*/ 6858000 h 6858000"/>
              <a:gd name="connsiteX3" fmla="*/ 0 w 9144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9144000" h="6858000">
                <a:moveTo>
                  <a:pt x="0" y="0"/>
                </a:moveTo>
                <a:lnTo>
                  <a:pt x="9144000" y="0"/>
                </a:lnTo>
                <a:lnTo>
                  <a:pt x="9144000" y="6858000"/>
                </a:lnTo>
                <a:lnTo>
                  <a:pt x="0" y="6858000"/>
                </a:lnTo>
                <a:close/>
              </a:path>
            </a:pathLst>
          </a:custGeom>
          <a:solidFill>
            <a:schemeClr val="accent5">
              <a:lumMod val="60000"/>
              <a:lumOff val="40000"/>
            </a:schemeClr>
          </a:solidFill>
        </p:spPr>
        <p:txBody>
          <a:bodyPr wrap="square" rIns="432000" anchor="ctr">
            <a:noAutofit/>
          </a:bodyPr>
          <a:lstStyle>
            <a:lvl1pPr algn="r">
              <a:defRPr b="0">
                <a:solidFill>
                  <a:schemeClr val="bg1"/>
                </a:solidFill>
              </a:defRPr>
            </a:lvl1pPr>
          </a:lstStyle>
          <a:p>
            <a:r>
              <a:rPr lang="en-US"/>
              <a:t>Drag image onto slide to add photo</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6096000" cy="6858000"/>
          </a:xfrm>
          <a:gradFill>
            <a:gsLst>
              <a:gs pos="13000">
                <a:schemeClr val="accent1"/>
              </a:gs>
              <a:gs pos="97000">
                <a:schemeClr val="accent1">
                  <a:alpha val="80000"/>
                </a:schemeClr>
              </a:gs>
            </a:gsLst>
            <a:lin ang="5400000" scaled="0"/>
          </a:gradFill>
        </p:spPr>
        <p:txBody>
          <a:bodyPr lIns="576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575733" y="6200775"/>
            <a:ext cx="4934115"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fld id="{078C017C-E1B9-8443-B047-B08AAA027B45}" type="slidenum">
              <a:rPr lang="en-US" smtClean="0"/>
              <a:pPr marL="12700"/>
              <a:t>‹#›</a:t>
            </a:fld>
            <a:endParaRPr lang="en-US"/>
          </a:p>
        </p:txBody>
      </p:sp>
      <p:sp>
        <p:nvSpPr>
          <p:cNvPr id="500" name="Caption">
            <a:extLst>
              <a:ext uri="{FF2B5EF4-FFF2-40B4-BE49-F238E27FC236}">
                <a16:creationId xmlns:a16="http://schemas.microsoft.com/office/drawing/2014/main" id="{3907BEE1-E170-4B45-8716-60BA2FC22521}"/>
              </a:ext>
            </a:extLst>
          </p:cNvPr>
          <p:cNvSpPr>
            <a:spLocks noGrp="1"/>
          </p:cNvSpPr>
          <p:nvPr>
            <p:ph type="body" sz="quarter" idx="500" hasCustomPrompt="1"/>
          </p:nvPr>
        </p:nvSpPr>
        <p:spPr>
          <a:xfrm>
            <a:off x="7947046" y="6200776"/>
            <a:ext cx="3657167"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grpSp>
        <p:nvGrpSpPr>
          <p:cNvPr id="213" name="Group 212">
            <a:extLst>
              <a:ext uri="{FF2B5EF4-FFF2-40B4-BE49-F238E27FC236}">
                <a16:creationId xmlns:a16="http://schemas.microsoft.com/office/drawing/2014/main" id="{D7B4E10E-E3C2-9042-B51A-CDE26F232671}"/>
              </a:ext>
            </a:extLst>
          </p:cNvPr>
          <p:cNvGrpSpPr/>
          <p:nvPr userDrawn="1"/>
        </p:nvGrpSpPr>
        <p:grpSpPr>
          <a:xfrm>
            <a:off x="-266701" y="-246933"/>
            <a:ext cx="12724248" cy="7348688"/>
            <a:chOff x="-266701" y="-246933"/>
            <a:chExt cx="12724248" cy="7348688"/>
          </a:xfrm>
        </p:grpSpPr>
        <p:grpSp>
          <p:nvGrpSpPr>
            <p:cNvPr id="214" name="Group 213">
              <a:extLst>
                <a:ext uri="{FF2B5EF4-FFF2-40B4-BE49-F238E27FC236}">
                  <a16:creationId xmlns:a16="http://schemas.microsoft.com/office/drawing/2014/main" id="{A443C18F-14D8-1145-9A01-D13CBDDDF282}"/>
                </a:ext>
              </a:extLst>
            </p:cNvPr>
            <p:cNvGrpSpPr/>
            <p:nvPr userDrawn="1"/>
          </p:nvGrpSpPr>
          <p:grpSpPr>
            <a:xfrm>
              <a:off x="-266701" y="417981"/>
              <a:ext cx="12724248" cy="6286918"/>
              <a:chOff x="-266701" y="417981"/>
              <a:chExt cx="12724248" cy="6286918"/>
            </a:xfrm>
          </p:grpSpPr>
          <p:cxnSp>
            <p:nvCxnSpPr>
              <p:cNvPr id="266" name="Straight Connector 265">
                <a:extLst>
                  <a:ext uri="{FF2B5EF4-FFF2-40B4-BE49-F238E27FC236}">
                    <a16:creationId xmlns:a16="http://schemas.microsoft.com/office/drawing/2014/main" id="{8A0C4632-5B75-C140-B95B-7C63567A8660}"/>
                  </a:ext>
                </a:extLst>
              </p:cNvPr>
              <p:cNvCxnSpPr>
                <a:cxnSpLocks/>
              </p:cNvCxnSpPr>
              <p:nvPr userDrawn="1"/>
            </p:nvCxnSpPr>
            <p:spPr>
              <a:xfrm rot="16200000" flipV="1">
                <a:off x="-137018" y="291969"/>
                <a:ext cx="0" cy="259364"/>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41" name="Group 240">
                <a:extLst>
                  <a:ext uri="{FF2B5EF4-FFF2-40B4-BE49-F238E27FC236}">
                    <a16:creationId xmlns:a16="http://schemas.microsoft.com/office/drawing/2014/main" id="{B5238E77-4D06-864A-B4FB-3CD208407900}"/>
                  </a:ext>
                </a:extLst>
              </p:cNvPr>
              <p:cNvGrpSpPr/>
              <p:nvPr userDrawn="1"/>
            </p:nvGrpSpPr>
            <p:grpSpPr>
              <a:xfrm>
                <a:off x="-266700" y="6199390"/>
                <a:ext cx="259364" cy="505509"/>
                <a:chOff x="-256403" y="6200775"/>
                <a:chExt cx="251461" cy="505509"/>
              </a:xfrm>
            </p:grpSpPr>
            <p:grpSp>
              <p:nvGrpSpPr>
                <p:cNvPr id="259" name="Group 258">
                  <a:extLst>
                    <a:ext uri="{FF2B5EF4-FFF2-40B4-BE49-F238E27FC236}">
                      <a16:creationId xmlns:a16="http://schemas.microsoft.com/office/drawing/2014/main" id="{F2A2E4C7-1C81-D34D-81C2-93079E130E58}"/>
                    </a:ext>
                  </a:extLst>
                </p:cNvPr>
                <p:cNvGrpSpPr/>
                <p:nvPr userDrawn="1"/>
              </p:nvGrpSpPr>
              <p:grpSpPr>
                <a:xfrm rot="16200000">
                  <a:off x="-383427" y="6327799"/>
                  <a:ext cx="505509" cy="251461"/>
                  <a:chOff x="431800" y="-235792"/>
                  <a:chExt cx="4400551" cy="235792"/>
                </a:xfrm>
              </p:grpSpPr>
              <p:cxnSp>
                <p:nvCxnSpPr>
                  <p:cNvPr id="261" name="Straight Connector 260">
                    <a:extLst>
                      <a:ext uri="{FF2B5EF4-FFF2-40B4-BE49-F238E27FC236}">
                        <a16:creationId xmlns:a16="http://schemas.microsoft.com/office/drawing/2014/main" id="{94744415-5A28-C24D-A1FA-8D3B49A5FA3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2" name="Straight Connector 261">
                    <a:extLst>
                      <a:ext uri="{FF2B5EF4-FFF2-40B4-BE49-F238E27FC236}">
                        <a16:creationId xmlns:a16="http://schemas.microsoft.com/office/drawing/2014/main" id="{87D6F8B1-45AF-3E42-A40F-C6315AC3EF1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3" name="Rectangle 262">
                    <a:extLst>
                      <a:ext uri="{FF2B5EF4-FFF2-40B4-BE49-F238E27FC236}">
                        <a16:creationId xmlns:a16="http://schemas.microsoft.com/office/drawing/2014/main" id="{9DBFF199-75BF-624D-80F2-EC97F9AFA7F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260" name="TextBox 259">
                  <a:extLst>
                    <a:ext uri="{FF2B5EF4-FFF2-40B4-BE49-F238E27FC236}">
                      <a16:creationId xmlns:a16="http://schemas.microsoft.com/office/drawing/2014/main" id="{81099131-54DD-E641-BAF1-5E32A9027F22}"/>
                    </a:ext>
                  </a:extLst>
                </p:cNvPr>
                <p:cNvSpPr txBox="1"/>
                <p:nvPr userDrawn="1"/>
              </p:nvSpPr>
              <p:spPr>
                <a:xfrm rot="16200000">
                  <a:off x="-284561" y="6399801"/>
                  <a:ext cx="307777" cy="129266"/>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FOOT</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NOTES</a:t>
                  </a:r>
                </a:p>
              </p:txBody>
            </p:sp>
          </p:grpSp>
          <p:grpSp>
            <p:nvGrpSpPr>
              <p:cNvPr id="242" name="Group 241">
                <a:extLst>
                  <a:ext uri="{FF2B5EF4-FFF2-40B4-BE49-F238E27FC236}">
                    <a16:creationId xmlns:a16="http://schemas.microsoft.com/office/drawing/2014/main" id="{90625711-9EB5-F548-B53D-A0E059CAD031}"/>
                  </a:ext>
                </a:extLst>
              </p:cNvPr>
              <p:cNvGrpSpPr/>
              <p:nvPr userDrawn="1"/>
            </p:nvGrpSpPr>
            <p:grpSpPr>
              <a:xfrm>
                <a:off x="-266701" y="417981"/>
                <a:ext cx="259364" cy="5746484"/>
                <a:chOff x="-256404" y="503932"/>
                <a:chExt cx="251461" cy="5644208"/>
              </a:xfrm>
            </p:grpSpPr>
            <p:grpSp>
              <p:nvGrpSpPr>
                <p:cNvPr id="252" name="Group 251">
                  <a:extLst>
                    <a:ext uri="{FF2B5EF4-FFF2-40B4-BE49-F238E27FC236}">
                      <a16:creationId xmlns:a16="http://schemas.microsoft.com/office/drawing/2014/main" id="{9294617E-1922-B543-A235-D4543123042D}"/>
                    </a:ext>
                  </a:extLst>
                </p:cNvPr>
                <p:cNvGrpSpPr/>
                <p:nvPr userDrawn="1"/>
              </p:nvGrpSpPr>
              <p:grpSpPr>
                <a:xfrm rot="16200000">
                  <a:off x="-2952777" y="3200305"/>
                  <a:ext cx="5644208" cy="251461"/>
                  <a:chOff x="431799" y="-235793"/>
                  <a:chExt cx="5128334" cy="235792"/>
                </a:xfrm>
              </p:grpSpPr>
              <p:cxnSp>
                <p:nvCxnSpPr>
                  <p:cNvPr id="257" name="Straight Connector 256">
                    <a:extLst>
                      <a:ext uri="{FF2B5EF4-FFF2-40B4-BE49-F238E27FC236}">
                        <a16:creationId xmlns:a16="http://schemas.microsoft.com/office/drawing/2014/main" id="{44B8B6E5-53DF-224B-ADCC-700DCA6770C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58" name="Rectangle 257">
                    <a:extLst>
                      <a:ext uri="{FF2B5EF4-FFF2-40B4-BE49-F238E27FC236}">
                        <a16:creationId xmlns:a16="http://schemas.microsoft.com/office/drawing/2014/main" id="{93A19FD5-A1AA-454A-8863-A2F0AA75DEF6}"/>
                      </a:ext>
                    </a:extLst>
                  </p:cNvPr>
                  <p:cNvSpPr/>
                  <p:nvPr userDrawn="1"/>
                </p:nvSpPr>
                <p:spPr>
                  <a:xfrm rot="5400000">
                    <a:off x="2878070" y="-2682064"/>
                    <a:ext cx="235791" cy="5128334"/>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253" name="TextBox 252">
                  <a:extLst>
                    <a:ext uri="{FF2B5EF4-FFF2-40B4-BE49-F238E27FC236}">
                      <a16:creationId xmlns:a16="http://schemas.microsoft.com/office/drawing/2014/main" id="{BA71E740-9D4D-8B49-A26E-0F2B03E6DD3F}"/>
                    </a:ext>
                  </a:extLst>
                </p:cNvPr>
                <p:cNvSpPr txBox="1"/>
                <p:nvPr userDrawn="1"/>
              </p:nvSpPr>
              <p:spPr>
                <a:xfrm rot="16200000">
                  <a:off x="-991957" y="3304120"/>
                  <a:ext cx="1722572" cy="8079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254" name="Straight Arrow Connector 253">
                  <a:extLst>
                    <a:ext uri="{FF2B5EF4-FFF2-40B4-BE49-F238E27FC236}">
                      <a16:creationId xmlns:a16="http://schemas.microsoft.com/office/drawing/2014/main" id="{DAD0CCD0-866B-ED42-B25C-9C425CD7455A}"/>
                    </a:ext>
                  </a:extLst>
                </p:cNvPr>
                <p:cNvCxnSpPr>
                  <a:cxnSpLocks/>
                  <a:stCxn id="253" idx="1"/>
                </p:cNvCxnSpPr>
                <p:nvPr userDrawn="1"/>
              </p:nvCxnSpPr>
              <p:spPr>
                <a:xfrm flipH="1">
                  <a:off x="-130671" y="4205802"/>
                  <a:ext cx="1" cy="156032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255" name="Straight Arrow Connector 254">
                  <a:extLst>
                    <a:ext uri="{FF2B5EF4-FFF2-40B4-BE49-F238E27FC236}">
                      <a16:creationId xmlns:a16="http://schemas.microsoft.com/office/drawing/2014/main" id="{3A3EFD10-0FDD-0A43-9D52-1E7BBDE8A527}"/>
                    </a:ext>
                  </a:extLst>
                </p:cNvPr>
                <p:cNvCxnSpPr>
                  <a:cxnSpLocks/>
                  <a:stCxn id="253" idx="3"/>
                  <a:endCxn id="258" idx="0"/>
                </p:cNvCxnSpPr>
                <p:nvPr userDrawn="1"/>
              </p:nvCxnSpPr>
              <p:spPr>
                <a:xfrm flipH="1" flipV="1">
                  <a:off x="-130672" y="503932"/>
                  <a:ext cx="1" cy="1979298"/>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cxnSp>
            <p:nvCxnSpPr>
              <p:cNvPr id="250" name="Straight Connector 249">
                <a:extLst>
                  <a:ext uri="{FF2B5EF4-FFF2-40B4-BE49-F238E27FC236}">
                    <a16:creationId xmlns:a16="http://schemas.microsoft.com/office/drawing/2014/main" id="{A8571091-805A-2740-A84D-721D104A3476}"/>
                  </a:ext>
                </a:extLst>
              </p:cNvPr>
              <p:cNvCxnSpPr>
                <a:cxnSpLocks/>
              </p:cNvCxnSpPr>
              <p:nvPr userDrawn="1"/>
            </p:nvCxnSpPr>
            <p:spPr>
              <a:xfrm rot="16200000" flipV="1">
                <a:off x="12327866" y="291969"/>
                <a:ext cx="0" cy="25936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44" name="Group 243">
                <a:extLst>
                  <a:ext uri="{FF2B5EF4-FFF2-40B4-BE49-F238E27FC236}">
                    <a16:creationId xmlns:a16="http://schemas.microsoft.com/office/drawing/2014/main" id="{C019B494-6CA0-6344-82AE-197421C1B11C}"/>
                  </a:ext>
                </a:extLst>
              </p:cNvPr>
              <p:cNvGrpSpPr/>
              <p:nvPr userDrawn="1"/>
            </p:nvGrpSpPr>
            <p:grpSpPr>
              <a:xfrm rot="16200000">
                <a:off x="12075109" y="6322462"/>
                <a:ext cx="505509" cy="259364"/>
                <a:chOff x="431801" y="-235792"/>
                <a:chExt cx="4400550" cy="235792"/>
              </a:xfrm>
            </p:grpSpPr>
            <p:cxnSp>
              <p:nvCxnSpPr>
                <p:cNvPr id="248" name="Straight Connector 247">
                  <a:extLst>
                    <a:ext uri="{FF2B5EF4-FFF2-40B4-BE49-F238E27FC236}">
                      <a16:creationId xmlns:a16="http://schemas.microsoft.com/office/drawing/2014/main" id="{8D2FBB89-50BC-084F-9980-BF8E90CF267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9" name="Straight Connector 248">
                  <a:extLst>
                    <a:ext uri="{FF2B5EF4-FFF2-40B4-BE49-F238E27FC236}">
                      <a16:creationId xmlns:a16="http://schemas.microsoft.com/office/drawing/2014/main" id="{6EF5BE4E-71D6-4843-848E-B9DA8F528BF2}"/>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247" name="Straight Connector 246">
                <a:extLst>
                  <a:ext uri="{FF2B5EF4-FFF2-40B4-BE49-F238E27FC236}">
                    <a16:creationId xmlns:a16="http://schemas.microsoft.com/office/drawing/2014/main" id="{B581F9DC-84C1-0B47-A540-A9EBCF2566C5}"/>
                  </a:ext>
                </a:extLst>
              </p:cNvPr>
              <p:cNvCxnSpPr>
                <a:cxnSpLocks/>
              </p:cNvCxnSpPr>
              <p:nvPr userDrawn="1"/>
            </p:nvCxnSpPr>
            <p:spPr>
              <a:xfrm rot="16200000" flipV="1">
                <a:off x="12327864" y="6034782"/>
                <a:ext cx="0" cy="259363"/>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15" name="Group 214">
              <a:extLst>
                <a:ext uri="{FF2B5EF4-FFF2-40B4-BE49-F238E27FC236}">
                  <a16:creationId xmlns:a16="http://schemas.microsoft.com/office/drawing/2014/main" id="{0F1C5838-75CB-A840-952E-17DE0ED00A08}"/>
                </a:ext>
              </a:extLst>
            </p:cNvPr>
            <p:cNvGrpSpPr/>
            <p:nvPr userDrawn="1"/>
          </p:nvGrpSpPr>
          <p:grpSpPr>
            <a:xfrm>
              <a:off x="574987" y="-246933"/>
              <a:ext cx="11040535" cy="7348688"/>
              <a:chOff x="574987" y="-246933"/>
              <a:chExt cx="11040535" cy="7348688"/>
            </a:xfrm>
          </p:grpSpPr>
          <p:grpSp>
            <p:nvGrpSpPr>
              <p:cNvPr id="216" name="Group 215">
                <a:extLst>
                  <a:ext uri="{FF2B5EF4-FFF2-40B4-BE49-F238E27FC236}">
                    <a16:creationId xmlns:a16="http://schemas.microsoft.com/office/drawing/2014/main" id="{B58F66C4-94EC-9F42-BC48-C9AF5D1B745A}"/>
                  </a:ext>
                </a:extLst>
              </p:cNvPr>
              <p:cNvGrpSpPr/>
              <p:nvPr userDrawn="1"/>
            </p:nvGrpSpPr>
            <p:grpSpPr>
              <a:xfrm>
                <a:off x="574987" y="-246933"/>
                <a:ext cx="11040535" cy="7347304"/>
                <a:chOff x="431240" y="-246933"/>
                <a:chExt cx="8280401" cy="7347304"/>
              </a:xfrm>
            </p:grpSpPr>
            <p:grpSp>
              <p:nvGrpSpPr>
                <p:cNvPr id="229" name="Group 228">
                  <a:extLst>
                    <a:ext uri="{FF2B5EF4-FFF2-40B4-BE49-F238E27FC236}">
                      <a16:creationId xmlns:a16="http://schemas.microsoft.com/office/drawing/2014/main" id="{7417F0C7-EF4F-084A-B749-1202029486C8}"/>
                    </a:ext>
                  </a:extLst>
                </p:cNvPr>
                <p:cNvGrpSpPr/>
                <p:nvPr userDrawn="1"/>
              </p:nvGrpSpPr>
              <p:grpSpPr>
                <a:xfrm>
                  <a:off x="431242" y="6864579"/>
                  <a:ext cx="8280398" cy="235792"/>
                  <a:chOff x="431801" y="-235792"/>
                  <a:chExt cx="4400550" cy="235792"/>
                </a:xfrm>
              </p:grpSpPr>
              <p:cxnSp>
                <p:nvCxnSpPr>
                  <p:cNvPr id="238" name="Straight Connector 237">
                    <a:extLst>
                      <a:ext uri="{FF2B5EF4-FFF2-40B4-BE49-F238E27FC236}">
                        <a16:creationId xmlns:a16="http://schemas.microsoft.com/office/drawing/2014/main" id="{8B3887A3-4B63-804A-8148-3EEE68FCFA4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9" name="Straight Connector 238">
                    <a:extLst>
                      <a:ext uri="{FF2B5EF4-FFF2-40B4-BE49-F238E27FC236}">
                        <a16:creationId xmlns:a16="http://schemas.microsoft.com/office/drawing/2014/main" id="{7EC8ADCE-5200-FD49-8FE6-7896D6F2CB9D}"/>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230" name="Group 229">
                  <a:extLst>
                    <a:ext uri="{FF2B5EF4-FFF2-40B4-BE49-F238E27FC236}">
                      <a16:creationId xmlns:a16="http://schemas.microsoft.com/office/drawing/2014/main" id="{9CD8A2C0-0732-914F-B2AC-29B0EE0FD2E0}"/>
                    </a:ext>
                  </a:extLst>
                </p:cNvPr>
                <p:cNvGrpSpPr/>
                <p:nvPr userDrawn="1"/>
              </p:nvGrpSpPr>
              <p:grpSpPr>
                <a:xfrm>
                  <a:off x="431240" y="-246933"/>
                  <a:ext cx="8280401" cy="235792"/>
                  <a:chOff x="431800" y="-240735"/>
                  <a:chExt cx="8280401" cy="235792"/>
                </a:xfrm>
              </p:grpSpPr>
              <p:grpSp>
                <p:nvGrpSpPr>
                  <p:cNvPr id="231" name="Group 230">
                    <a:extLst>
                      <a:ext uri="{FF2B5EF4-FFF2-40B4-BE49-F238E27FC236}">
                        <a16:creationId xmlns:a16="http://schemas.microsoft.com/office/drawing/2014/main" id="{42ACC4A7-ED0E-D148-B8D1-8BB06FCC92EC}"/>
                      </a:ext>
                    </a:extLst>
                  </p:cNvPr>
                  <p:cNvGrpSpPr/>
                  <p:nvPr userDrawn="1"/>
                </p:nvGrpSpPr>
                <p:grpSpPr>
                  <a:xfrm>
                    <a:off x="431800" y="-240735"/>
                    <a:ext cx="8280400" cy="235792"/>
                    <a:chOff x="431800" y="-235792"/>
                    <a:chExt cx="4400551" cy="235792"/>
                  </a:xfrm>
                </p:grpSpPr>
                <p:cxnSp>
                  <p:nvCxnSpPr>
                    <p:cNvPr id="235" name="Straight Connector 234">
                      <a:extLst>
                        <a:ext uri="{FF2B5EF4-FFF2-40B4-BE49-F238E27FC236}">
                          <a16:creationId xmlns:a16="http://schemas.microsoft.com/office/drawing/2014/main" id="{21014E39-5DCF-F44E-9869-BFF2D313A89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36" name="Straight Connector 235">
                      <a:extLst>
                        <a:ext uri="{FF2B5EF4-FFF2-40B4-BE49-F238E27FC236}">
                          <a16:creationId xmlns:a16="http://schemas.microsoft.com/office/drawing/2014/main" id="{7663056F-63CC-7146-8BC1-080E3FC7E93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7" name="Rectangle 236">
                      <a:extLst>
                        <a:ext uri="{FF2B5EF4-FFF2-40B4-BE49-F238E27FC236}">
                          <a16:creationId xmlns:a16="http://schemas.microsoft.com/office/drawing/2014/main" id="{0F4B5A76-7D18-9A4C-85B3-AFF00DA2066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232" name="TextBox 231">
                    <a:extLst>
                      <a:ext uri="{FF2B5EF4-FFF2-40B4-BE49-F238E27FC236}">
                        <a16:creationId xmlns:a16="http://schemas.microsoft.com/office/drawing/2014/main" id="{C23B7CC8-E1F8-5A4F-BA31-E9E693DF6E14}"/>
                      </a:ext>
                    </a:extLst>
                  </p:cNvPr>
                  <p:cNvSpPr txBox="1"/>
                  <p:nvPr userDrawn="1"/>
                </p:nvSpPr>
                <p:spPr>
                  <a:xfrm>
                    <a:off x="3914336" y="-176700"/>
                    <a:ext cx="1315339"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233" name="Straight Arrow Connector 232">
                    <a:extLst>
                      <a:ext uri="{FF2B5EF4-FFF2-40B4-BE49-F238E27FC236}">
                        <a16:creationId xmlns:a16="http://schemas.microsoft.com/office/drawing/2014/main" id="{3AE0B3E6-601E-654B-81B8-BC219177F1E4}"/>
                      </a:ext>
                    </a:extLst>
                  </p:cNvPr>
                  <p:cNvCxnSpPr>
                    <a:cxnSpLocks/>
                    <a:stCxn id="232" idx="1"/>
                    <a:endCxn id="237" idx="2"/>
                  </p:cNvCxnSpPr>
                  <p:nvPr userDrawn="1"/>
                </p:nvCxnSpPr>
                <p:spPr>
                  <a:xfrm flipH="1">
                    <a:off x="431801" y="-122839"/>
                    <a:ext cx="3482535"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234" name="Straight Arrow Connector 233">
                    <a:extLst>
                      <a:ext uri="{FF2B5EF4-FFF2-40B4-BE49-F238E27FC236}">
                        <a16:creationId xmlns:a16="http://schemas.microsoft.com/office/drawing/2014/main" id="{4669B3A0-5AFE-AA49-893C-F3552F2A56FA}"/>
                      </a:ext>
                    </a:extLst>
                  </p:cNvPr>
                  <p:cNvCxnSpPr>
                    <a:cxnSpLocks/>
                    <a:stCxn id="232" idx="3"/>
                    <a:endCxn id="237" idx="0"/>
                  </p:cNvCxnSpPr>
                  <p:nvPr userDrawn="1"/>
                </p:nvCxnSpPr>
                <p:spPr>
                  <a:xfrm flipV="1">
                    <a:off x="5229674" y="-122840"/>
                    <a:ext cx="3482527"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217" name="Group 216">
                <a:extLst>
                  <a:ext uri="{FF2B5EF4-FFF2-40B4-BE49-F238E27FC236}">
                    <a16:creationId xmlns:a16="http://schemas.microsoft.com/office/drawing/2014/main" id="{2955E6A9-6D6F-E748-9F61-7B71B4344D1D}"/>
                  </a:ext>
                </a:extLst>
              </p:cNvPr>
              <p:cNvGrpSpPr/>
              <p:nvPr userDrawn="1"/>
            </p:nvGrpSpPr>
            <p:grpSpPr>
              <a:xfrm>
                <a:off x="4161863" y="6865965"/>
                <a:ext cx="3906819" cy="235790"/>
                <a:chOff x="3121388" y="6869197"/>
                <a:chExt cx="2930114" cy="235790"/>
              </a:xfrm>
            </p:grpSpPr>
            <p:grpSp>
              <p:nvGrpSpPr>
                <p:cNvPr id="218" name="Group 217">
                  <a:extLst>
                    <a:ext uri="{FF2B5EF4-FFF2-40B4-BE49-F238E27FC236}">
                      <a16:creationId xmlns:a16="http://schemas.microsoft.com/office/drawing/2014/main" id="{94A72A5B-ABBD-6945-94C3-AFA4033D331D}"/>
                    </a:ext>
                  </a:extLst>
                </p:cNvPr>
                <p:cNvGrpSpPr/>
                <p:nvPr userDrawn="1"/>
              </p:nvGrpSpPr>
              <p:grpSpPr>
                <a:xfrm>
                  <a:off x="3184525" y="6869197"/>
                  <a:ext cx="2774950" cy="60992"/>
                  <a:chOff x="3184525" y="6869196"/>
                  <a:chExt cx="2774950" cy="235791"/>
                </a:xfrm>
              </p:grpSpPr>
              <p:cxnSp>
                <p:nvCxnSpPr>
                  <p:cNvPr id="226" name="Straight Connector 225">
                    <a:extLst>
                      <a:ext uri="{FF2B5EF4-FFF2-40B4-BE49-F238E27FC236}">
                        <a16:creationId xmlns:a16="http://schemas.microsoft.com/office/drawing/2014/main" id="{A0ABE9E7-8D6A-9342-AC7F-EE5559BCD559}"/>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a:extLst>
                      <a:ext uri="{FF2B5EF4-FFF2-40B4-BE49-F238E27FC236}">
                        <a16:creationId xmlns:a16="http://schemas.microsoft.com/office/drawing/2014/main" id="{1BDA7C2F-7D28-F241-95F0-76F6072D5724}"/>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8" name="Straight Connector 227">
                    <a:extLst>
                      <a:ext uri="{FF2B5EF4-FFF2-40B4-BE49-F238E27FC236}">
                        <a16:creationId xmlns:a16="http://schemas.microsoft.com/office/drawing/2014/main" id="{D3D23495-5D4C-ED45-A5C8-AB586E427EB5}"/>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219" name="TextBox 218">
                  <a:extLst>
                    <a:ext uri="{FF2B5EF4-FFF2-40B4-BE49-F238E27FC236}">
                      <a16:creationId xmlns:a16="http://schemas.microsoft.com/office/drawing/2014/main" id="{A60B7D64-517B-7647-AD36-4D61539F2FB9}"/>
                    </a:ext>
                  </a:extLst>
                </p:cNvPr>
                <p:cNvSpPr txBox="1"/>
                <p:nvPr userDrawn="1"/>
              </p:nvSpPr>
              <p:spPr>
                <a:xfrm>
                  <a:off x="3121388" y="6954537"/>
                  <a:ext cx="153888"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1/3</a:t>
                  </a:r>
                  <a:r>
                    <a:rPr lang="en-US" sz="650" kern="1200" baseline="30000">
                      <a:solidFill>
                        <a:schemeClr val="accent2"/>
                      </a:solidFill>
                      <a:latin typeface="Arial" charset="0"/>
                      <a:ea typeface="Arial" charset="0"/>
                      <a:cs typeface="Arial" charset="0"/>
                    </a:rPr>
                    <a:t>RD</a:t>
                  </a:r>
                </a:p>
              </p:txBody>
            </p:sp>
            <p:sp>
              <p:nvSpPr>
                <p:cNvPr id="220" name="TextBox 219">
                  <a:extLst>
                    <a:ext uri="{FF2B5EF4-FFF2-40B4-BE49-F238E27FC236}">
                      <a16:creationId xmlns:a16="http://schemas.microsoft.com/office/drawing/2014/main" id="{961E95FB-E6C9-FF4C-B588-7D44C05B0352}"/>
                    </a:ext>
                  </a:extLst>
                </p:cNvPr>
                <p:cNvSpPr txBox="1"/>
                <p:nvPr userDrawn="1"/>
              </p:nvSpPr>
              <p:spPr>
                <a:xfrm>
                  <a:off x="4487991" y="6954537"/>
                  <a:ext cx="170720"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HALF</a:t>
                  </a:r>
                </a:p>
              </p:txBody>
            </p:sp>
            <p:sp>
              <p:nvSpPr>
                <p:cNvPr id="221" name="TextBox 220">
                  <a:extLst>
                    <a:ext uri="{FF2B5EF4-FFF2-40B4-BE49-F238E27FC236}">
                      <a16:creationId xmlns:a16="http://schemas.microsoft.com/office/drawing/2014/main" id="{7CBF967D-D66D-0F48-8F0F-82923EE27F4D}"/>
                    </a:ext>
                  </a:extLst>
                </p:cNvPr>
                <p:cNvSpPr txBox="1"/>
                <p:nvPr userDrawn="1"/>
              </p:nvSpPr>
              <p:spPr>
                <a:xfrm>
                  <a:off x="5869961" y="6954537"/>
                  <a:ext cx="181541"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2/3</a:t>
                  </a:r>
                  <a:r>
                    <a:rPr lang="en-US" sz="650" baseline="30000">
                      <a:solidFill>
                        <a:schemeClr val="accent2"/>
                      </a:solidFill>
                      <a:latin typeface="Arial" charset="0"/>
                      <a:ea typeface="Arial" charset="0"/>
                      <a:cs typeface="Arial" charset="0"/>
                    </a:rPr>
                    <a:t>RDS</a:t>
                  </a:r>
                </a:p>
              </p:txBody>
            </p:sp>
            <p:grpSp>
              <p:nvGrpSpPr>
                <p:cNvPr id="222" name="Group 221">
                  <a:extLst>
                    <a:ext uri="{FF2B5EF4-FFF2-40B4-BE49-F238E27FC236}">
                      <a16:creationId xmlns:a16="http://schemas.microsoft.com/office/drawing/2014/main" id="{6EBA4E2C-4160-3944-A000-D658786E2021}"/>
                    </a:ext>
                  </a:extLst>
                </p:cNvPr>
                <p:cNvGrpSpPr/>
                <p:nvPr userDrawn="1"/>
              </p:nvGrpSpPr>
              <p:grpSpPr>
                <a:xfrm>
                  <a:off x="3184525" y="7040714"/>
                  <a:ext cx="2774950" cy="64273"/>
                  <a:chOff x="3184525" y="6869196"/>
                  <a:chExt cx="2774950" cy="235791"/>
                </a:xfrm>
              </p:grpSpPr>
              <p:cxnSp>
                <p:nvCxnSpPr>
                  <p:cNvPr id="223" name="Straight Connector 222">
                    <a:extLst>
                      <a:ext uri="{FF2B5EF4-FFF2-40B4-BE49-F238E27FC236}">
                        <a16:creationId xmlns:a16="http://schemas.microsoft.com/office/drawing/2014/main" id="{19BE1F4D-483A-5044-8DB7-5E03EFC9F56E}"/>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4" name="Straight Connector 223">
                    <a:extLst>
                      <a:ext uri="{FF2B5EF4-FFF2-40B4-BE49-F238E27FC236}">
                        <a16:creationId xmlns:a16="http://schemas.microsoft.com/office/drawing/2014/main" id="{303A1ECC-13FA-FD43-9662-2B44C1A7E415}"/>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a:extLst>
                      <a:ext uri="{FF2B5EF4-FFF2-40B4-BE49-F238E27FC236}">
                        <a16:creationId xmlns:a16="http://schemas.microsoft.com/office/drawing/2014/main" id="{32D917E0-4608-7446-AFA5-C5CA46E344EE}"/>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grpSp>
      <p:grpSp>
        <p:nvGrpSpPr>
          <p:cNvPr id="269" name="Group 268">
            <a:extLst>
              <a:ext uri="{FF2B5EF4-FFF2-40B4-BE49-F238E27FC236}">
                <a16:creationId xmlns:a16="http://schemas.microsoft.com/office/drawing/2014/main" id="{FF1AA875-2ABD-4B4D-B2E5-1A700A0360C2}"/>
              </a:ext>
            </a:extLst>
          </p:cNvPr>
          <p:cNvGrpSpPr/>
          <p:nvPr userDrawn="1"/>
        </p:nvGrpSpPr>
        <p:grpSpPr>
          <a:xfrm>
            <a:off x="12532244" y="-2"/>
            <a:ext cx="2979899" cy="11187339"/>
            <a:chOff x="9399182" y="-2"/>
            <a:chExt cx="2961715" cy="11187339"/>
          </a:xfrm>
        </p:grpSpPr>
        <p:sp>
          <p:nvSpPr>
            <p:cNvPr id="270" name="Rectangle 269">
              <a:extLst>
                <a:ext uri="{FF2B5EF4-FFF2-40B4-BE49-F238E27FC236}">
                  <a16:creationId xmlns:a16="http://schemas.microsoft.com/office/drawing/2014/main" id="{C405E48F-48DC-E047-87E2-665CAD5F2500}"/>
                </a:ext>
              </a:extLst>
            </p:cNvPr>
            <p:cNvSpPr/>
            <p:nvPr userDrawn="1"/>
          </p:nvSpPr>
          <p:spPr>
            <a:xfrm>
              <a:off x="9399182" y="-2"/>
              <a:ext cx="2798651" cy="1101500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271" name="Picture 270">
              <a:extLst>
                <a:ext uri="{FF2B5EF4-FFF2-40B4-BE49-F238E27FC236}">
                  <a16:creationId xmlns:a16="http://schemas.microsoft.com/office/drawing/2014/main" id="{DE73E87A-75A2-4D45-A996-855DC804388B}"/>
                </a:ext>
              </a:extLst>
            </p:cNvPr>
            <p:cNvPicPr>
              <a:picLocks noChangeAspect="1"/>
            </p:cNvPicPr>
            <p:nvPr userDrawn="1"/>
          </p:nvPicPr>
          <p:blipFill rotWithShape="1">
            <a:blip r:embed="rId2"/>
            <a:srcRect t="17021" r="58309" b="16813"/>
            <a:stretch/>
          </p:blipFill>
          <p:spPr>
            <a:xfrm>
              <a:off x="9558505" y="1321569"/>
              <a:ext cx="2639327" cy="1095417"/>
            </a:xfrm>
            <a:prstGeom prst="rect">
              <a:avLst/>
            </a:prstGeom>
          </p:spPr>
        </p:pic>
        <p:sp>
          <p:nvSpPr>
            <p:cNvPr id="272" name="Rectangle 271">
              <a:extLst>
                <a:ext uri="{FF2B5EF4-FFF2-40B4-BE49-F238E27FC236}">
                  <a16:creationId xmlns:a16="http://schemas.microsoft.com/office/drawing/2014/main" id="{77B8C13E-C954-5345-8FDB-8F56006C7410}"/>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73" name="TextBox 272">
              <a:extLst>
                <a:ext uri="{FF2B5EF4-FFF2-40B4-BE49-F238E27FC236}">
                  <a16:creationId xmlns:a16="http://schemas.microsoft.com/office/drawing/2014/main" id="{5C0965D1-E42F-F249-97DC-211BE7F00D89}"/>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274" name="Picture 273">
              <a:extLst>
                <a:ext uri="{FF2B5EF4-FFF2-40B4-BE49-F238E27FC236}">
                  <a16:creationId xmlns:a16="http://schemas.microsoft.com/office/drawing/2014/main" id="{06CDDC72-A39E-6D43-A0E8-554B20037F3D}"/>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275" name="TextBox 274">
              <a:extLst>
                <a:ext uri="{FF2B5EF4-FFF2-40B4-BE49-F238E27FC236}">
                  <a16:creationId xmlns:a16="http://schemas.microsoft.com/office/drawing/2014/main" id="{22CC14DD-464C-CA49-897D-E4A01D39ABF8}"/>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276" name="Straight Connector 275">
              <a:extLst>
                <a:ext uri="{FF2B5EF4-FFF2-40B4-BE49-F238E27FC236}">
                  <a16:creationId xmlns:a16="http://schemas.microsoft.com/office/drawing/2014/main" id="{380037F1-0CF3-D94E-814D-11028D7DFCC8}"/>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277" name="Group 276">
              <a:extLst>
                <a:ext uri="{FF2B5EF4-FFF2-40B4-BE49-F238E27FC236}">
                  <a16:creationId xmlns:a16="http://schemas.microsoft.com/office/drawing/2014/main" id="{2BA7DCCF-C778-0C4F-A191-4CB3196D4FB3}"/>
                </a:ext>
              </a:extLst>
            </p:cNvPr>
            <p:cNvGrpSpPr/>
            <p:nvPr userDrawn="1"/>
          </p:nvGrpSpPr>
          <p:grpSpPr>
            <a:xfrm>
              <a:off x="9521833" y="3751281"/>
              <a:ext cx="2754815" cy="7436056"/>
              <a:chOff x="9521833" y="2531409"/>
              <a:chExt cx="2754815" cy="7436056"/>
            </a:xfrm>
          </p:grpSpPr>
          <p:sp>
            <p:nvSpPr>
              <p:cNvPr id="286" name="TextBox 285">
                <a:extLst>
                  <a:ext uri="{FF2B5EF4-FFF2-40B4-BE49-F238E27FC236}">
                    <a16:creationId xmlns:a16="http://schemas.microsoft.com/office/drawing/2014/main" id="{1CBE18A6-647F-1947-ACB7-76D6253593A7}"/>
                  </a:ext>
                </a:extLst>
              </p:cNvPr>
              <p:cNvSpPr txBox="1"/>
              <p:nvPr userDrawn="1"/>
            </p:nvSpPr>
            <p:spPr>
              <a:xfrm>
                <a:off x="9558507" y="3953640"/>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287" name="Straight Connector 286">
                <a:extLst>
                  <a:ext uri="{FF2B5EF4-FFF2-40B4-BE49-F238E27FC236}">
                    <a16:creationId xmlns:a16="http://schemas.microsoft.com/office/drawing/2014/main" id="{BB720BB5-1B1D-D94D-A745-0B8FA063A1E3}"/>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88" name="TextBox 287">
                <a:extLst>
                  <a:ext uri="{FF2B5EF4-FFF2-40B4-BE49-F238E27FC236}">
                    <a16:creationId xmlns:a16="http://schemas.microsoft.com/office/drawing/2014/main" id="{CC22C5B5-FC46-5B40-944D-D8C7E7C02048}"/>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sp>
            <p:nvSpPr>
              <p:cNvPr id="289" name="Rectangle 288">
                <a:extLst>
                  <a:ext uri="{FF2B5EF4-FFF2-40B4-BE49-F238E27FC236}">
                    <a16:creationId xmlns:a16="http://schemas.microsoft.com/office/drawing/2014/main" id="{EABC2853-50E8-3D42-BC27-FC3F7E0B3A1A}"/>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90" name="TextBox 289">
                <a:extLst>
                  <a:ext uri="{FF2B5EF4-FFF2-40B4-BE49-F238E27FC236}">
                    <a16:creationId xmlns:a16="http://schemas.microsoft.com/office/drawing/2014/main" id="{40D2195B-CD5B-D948-8EB8-11F104B5256B}"/>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291" name="Graphic 290">
                <a:extLst>
                  <a:ext uri="{FF2B5EF4-FFF2-40B4-BE49-F238E27FC236}">
                    <a16:creationId xmlns:a16="http://schemas.microsoft.com/office/drawing/2014/main" id="{7D5F0A69-6280-C143-943A-44A9898CF7A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292" name="TextBox 291">
                <a:extLst>
                  <a:ext uri="{FF2B5EF4-FFF2-40B4-BE49-F238E27FC236}">
                    <a16:creationId xmlns:a16="http://schemas.microsoft.com/office/drawing/2014/main" id="{2C07D8F4-EEE0-5F4C-B88E-67D29D944A9A}"/>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293" name="TextBox 292">
                <a:extLst>
                  <a:ext uri="{FF2B5EF4-FFF2-40B4-BE49-F238E27FC236}">
                    <a16:creationId xmlns:a16="http://schemas.microsoft.com/office/drawing/2014/main" id="{5A67B55B-4157-154C-BB52-AC1FD1B21DD7}"/>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294" name="TextBox 293">
                <a:extLst>
                  <a:ext uri="{FF2B5EF4-FFF2-40B4-BE49-F238E27FC236}">
                    <a16:creationId xmlns:a16="http://schemas.microsoft.com/office/drawing/2014/main" id="{26AB73D6-8FAD-BD49-AE37-A876946961B3}"/>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sp>
            <p:nvSpPr>
              <p:cNvPr id="295" name="Rectangle 294">
                <a:extLst>
                  <a:ext uri="{FF2B5EF4-FFF2-40B4-BE49-F238E27FC236}">
                    <a16:creationId xmlns:a16="http://schemas.microsoft.com/office/drawing/2014/main" id="{6BF68B38-2747-8444-A53B-F740D1093441}"/>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96" name="TextBox 295">
                <a:extLst>
                  <a:ext uri="{FF2B5EF4-FFF2-40B4-BE49-F238E27FC236}">
                    <a16:creationId xmlns:a16="http://schemas.microsoft.com/office/drawing/2014/main" id="{C7225176-B216-D74F-AA69-D90A98505FD0}"/>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297" name="Graphic 296">
                <a:extLst>
                  <a:ext uri="{FF2B5EF4-FFF2-40B4-BE49-F238E27FC236}">
                    <a16:creationId xmlns:a16="http://schemas.microsoft.com/office/drawing/2014/main" id="{17A615C2-328D-B54D-A7E6-FF0BB896B55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298" name="TextBox 297">
                <a:extLst>
                  <a:ext uri="{FF2B5EF4-FFF2-40B4-BE49-F238E27FC236}">
                    <a16:creationId xmlns:a16="http://schemas.microsoft.com/office/drawing/2014/main" id="{557C117D-02F3-C545-99C0-7627736E57E9}"/>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299" name="Picture 298">
                <a:extLst>
                  <a:ext uri="{FF2B5EF4-FFF2-40B4-BE49-F238E27FC236}">
                    <a16:creationId xmlns:a16="http://schemas.microsoft.com/office/drawing/2014/main" id="{BF63A6EB-015F-2E4C-8624-8A40201CE525}"/>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300" name="TextBox 299">
                <a:extLst>
                  <a:ext uri="{FF2B5EF4-FFF2-40B4-BE49-F238E27FC236}">
                    <a16:creationId xmlns:a16="http://schemas.microsoft.com/office/drawing/2014/main" id="{53972965-CFA9-7942-A38F-D9B05D314475}"/>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301" name="TextBox 300">
                <a:extLst>
                  <a:ext uri="{FF2B5EF4-FFF2-40B4-BE49-F238E27FC236}">
                    <a16:creationId xmlns:a16="http://schemas.microsoft.com/office/drawing/2014/main" id="{101D2EDC-A212-9F40-A620-FEA745023467}"/>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302" name="TextBox 301">
                <a:extLst>
                  <a:ext uri="{FF2B5EF4-FFF2-40B4-BE49-F238E27FC236}">
                    <a16:creationId xmlns:a16="http://schemas.microsoft.com/office/drawing/2014/main" id="{3ECC28CC-6C27-3E40-BE04-998B23288777}"/>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Select and download images from the Marketing Resource Database.</a:t>
                </a:r>
              </a:p>
              <a:p>
                <a:pPr lvl="0"/>
                <a:r>
                  <a:rPr lang="en-US" sz="1050"/>
                  <a:t>Add the image to the placeholder.</a:t>
                </a:r>
              </a:p>
            </p:txBody>
          </p:sp>
          <p:sp>
            <p:nvSpPr>
              <p:cNvPr id="303" name="TextBox 302">
                <a:extLst>
                  <a:ext uri="{FF2B5EF4-FFF2-40B4-BE49-F238E27FC236}">
                    <a16:creationId xmlns:a16="http://schemas.microsoft.com/office/drawing/2014/main" id="{6813A0D1-81FD-6945-971F-40CDB5653003}"/>
                  </a:ext>
                </a:extLst>
              </p:cNvPr>
              <p:cNvSpPr txBox="1"/>
              <p:nvPr userDrawn="1"/>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304" name="TextBox 303">
                <a:extLst>
                  <a:ext uri="{FF2B5EF4-FFF2-40B4-BE49-F238E27FC236}">
                    <a16:creationId xmlns:a16="http://schemas.microsoft.com/office/drawing/2014/main" id="{533ED966-FCB1-CA4C-8EB1-3DFE650F58AF}"/>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305" name="TextBox 304">
                <a:extLst>
                  <a:ext uri="{FF2B5EF4-FFF2-40B4-BE49-F238E27FC236}">
                    <a16:creationId xmlns:a16="http://schemas.microsoft.com/office/drawing/2014/main" id="{54D10ED0-E6A4-8D41-ADF2-A89D4BD54BEB}"/>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306" name="TextBox 305">
                <a:extLst>
                  <a:ext uri="{FF2B5EF4-FFF2-40B4-BE49-F238E27FC236}">
                    <a16:creationId xmlns:a16="http://schemas.microsoft.com/office/drawing/2014/main" id="{025EDCBE-9B13-634D-BB6B-D45EC174F7B6}"/>
                  </a:ext>
                </a:extLst>
              </p:cNvPr>
              <p:cNvSpPr txBox="1"/>
              <p:nvPr userDrawn="1"/>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sp>
            <p:nvSpPr>
              <p:cNvPr id="307" name="Rectangle 306">
                <a:extLst>
                  <a:ext uri="{FF2B5EF4-FFF2-40B4-BE49-F238E27FC236}">
                    <a16:creationId xmlns:a16="http://schemas.microsoft.com/office/drawing/2014/main" id="{FB489814-BB6F-1542-A3A8-10FE62727BBC}"/>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08" name="TextBox 307">
                <a:extLst>
                  <a:ext uri="{FF2B5EF4-FFF2-40B4-BE49-F238E27FC236}">
                    <a16:creationId xmlns:a16="http://schemas.microsoft.com/office/drawing/2014/main" id="{94001065-5225-C348-844B-525B42637F9B}"/>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Adjust overlay text box size</a:t>
                </a:r>
              </a:p>
            </p:txBody>
          </p:sp>
          <p:pic>
            <p:nvPicPr>
              <p:cNvPr id="309" name="Graphic 308">
                <a:extLst>
                  <a:ext uri="{FF2B5EF4-FFF2-40B4-BE49-F238E27FC236}">
                    <a16:creationId xmlns:a16="http://schemas.microsoft.com/office/drawing/2014/main" id="{4B359577-C27B-1E40-8493-919A211CFC3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310" name="TextBox 309">
                <a:extLst>
                  <a:ext uri="{FF2B5EF4-FFF2-40B4-BE49-F238E27FC236}">
                    <a16:creationId xmlns:a16="http://schemas.microsoft.com/office/drawing/2014/main" id="{885DF4A9-6BA0-864A-BC1C-789B8D29C6B0}"/>
                  </a:ext>
                </a:extLst>
              </p:cNvPr>
              <p:cNvSpPr txBox="1"/>
              <p:nvPr userDrawn="1"/>
            </p:nvSpPr>
            <p:spPr>
              <a:xfrm>
                <a:off x="9701720" y="2924393"/>
                <a:ext cx="2214055" cy="53707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a:solidFill>
                      <a:schemeClr val="tx1">
                        <a:lumMod val="50000"/>
                        <a:lumOff val="50000"/>
                      </a:schemeClr>
                    </a:solidFill>
                    <a:latin typeface="Arial" charset="0"/>
                    <a:cs typeface="Arial" charset="0"/>
                  </a:rPr>
                  <a:t>Turn on guides (View &gt; Guides) to enable snapping.</a:t>
                </a:r>
              </a:p>
            </p:txBody>
          </p:sp>
        </p:grpSp>
        <p:grpSp>
          <p:nvGrpSpPr>
            <p:cNvPr id="278" name="Group 277">
              <a:extLst>
                <a:ext uri="{FF2B5EF4-FFF2-40B4-BE49-F238E27FC236}">
                  <a16:creationId xmlns:a16="http://schemas.microsoft.com/office/drawing/2014/main" id="{D1D9ACD1-A90E-6A4E-8037-101C3F0DC43B}"/>
                </a:ext>
              </a:extLst>
            </p:cNvPr>
            <p:cNvGrpSpPr/>
            <p:nvPr userDrawn="1"/>
          </p:nvGrpSpPr>
          <p:grpSpPr>
            <a:xfrm>
              <a:off x="9540503" y="2468708"/>
              <a:ext cx="2806644" cy="1181890"/>
              <a:chOff x="9554253" y="2414886"/>
              <a:chExt cx="2806644" cy="1181890"/>
            </a:xfrm>
          </p:grpSpPr>
          <p:grpSp>
            <p:nvGrpSpPr>
              <p:cNvPr id="279" name="Group 278">
                <a:extLst>
                  <a:ext uri="{FF2B5EF4-FFF2-40B4-BE49-F238E27FC236}">
                    <a16:creationId xmlns:a16="http://schemas.microsoft.com/office/drawing/2014/main" id="{8014C80E-8B21-6B4E-BBB6-5BD47CD5F113}"/>
                  </a:ext>
                </a:extLst>
              </p:cNvPr>
              <p:cNvGrpSpPr/>
              <p:nvPr userDrawn="1"/>
            </p:nvGrpSpPr>
            <p:grpSpPr>
              <a:xfrm>
                <a:off x="9554253" y="2414886"/>
                <a:ext cx="2735150" cy="1181890"/>
                <a:chOff x="9541498" y="3751132"/>
                <a:chExt cx="2735150" cy="1181890"/>
              </a:xfrm>
            </p:grpSpPr>
            <p:grpSp>
              <p:nvGrpSpPr>
                <p:cNvPr id="281" name="Group 280">
                  <a:extLst>
                    <a:ext uri="{FF2B5EF4-FFF2-40B4-BE49-F238E27FC236}">
                      <a16:creationId xmlns:a16="http://schemas.microsoft.com/office/drawing/2014/main" id="{0BF6A105-5386-F142-9A53-5ED91B746C9F}"/>
                    </a:ext>
                  </a:extLst>
                </p:cNvPr>
                <p:cNvGrpSpPr/>
                <p:nvPr userDrawn="1"/>
              </p:nvGrpSpPr>
              <p:grpSpPr>
                <a:xfrm>
                  <a:off x="9541498" y="3751132"/>
                  <a:ext cx="2735150" cy="1181890"/>
                  <a:chOff x="9296568" y="4910411"/>
                  <a:chExt cx="2735150" cy="1181890"/>
                </a:xfrm>
              </p:grpSpPr>
              <p:sp>
                <p:nvSpPr>
                  <p:cNvPr id="283" name="Rectangle 282">
                    <a:extLst>
                      <a:ext uri="{FF2B5EF4-FFF2-40B4-BE49-F238E27FC236}">
                        <a16:creationId xmlns:a16="http://schemas.microsoft.com/office/drawing/2014/main" id="{FCB0C8B9-8794-D04A-ADF9-6A881C21B18D}"/>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84" name="TextBox 283">
                    <a:extLst>
                      <a:ext uri="{FF2B5EF4-FFF2-40B4-BE49-F238E27FC236}">
                        <a16:creationId xmlns:a16="http://schemas.microsoft.com/office/drawing/2014/main" id="{20E4B5F0-C432-C642-8B53-B6FA0CB00C8E}"/>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285" name="TextBox 284">
                    <a:extLst>
                      <a:ext uri="{FF2B5EF4-FFF2-40B4-BE49-F238E27FC236}">
                        <a16:creationId xmlns:a16="http://schemas.microsoft.com/office/drawing/2014/main" id="{59FA3E3B-B138-4445-9D27-9555D5955E04}"/>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282" name="Graphic 281">
                  <a:extLst>
                    <a:ext uri="{FF2B5EF4-FFF2-40B4-BE49-F238E27FC236}">
                      <a16:creationId xmlns:a16="http://schemas.microsoft.com/office/drawing/2014/main" id="{63F1096D-11F5-874F-B63E-7B06CD41E10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280" name="Picture 279">
                <a:extLst>
                  <a:ext uri="{FF2B5EF4-FFF2-40B4-BE49-F238E27FC236}">
                    <a16:creationId xmlns:a16="http://schemas.microsoft.com/office/drawing/2014/main" id="{097E2DF3-6119-4E46-A4A3-B290BF3A4168}"/>
                  </a:ext>
                </a:extLst>
              </p:cNvPr>
              <p:cNvPicPr>
                <a:picLocks noChangeAspect="1"/>
              </p:cNvPicPr>
              <p:nvPr userDrawn="1"/>
            </p:nvPicPr>
            <p:blipFill rotWithShape="1">
              <a:blip r:embed="rId9"/>
              <a:srcRect t="5468" r="25071" b="3995"/>
              <a:stretch/>
            </p:blipFill>
            <p:spPr>
              <a:xfrm>
                <a:off x="10779975" y="2820522"/>
                <a:ext cx="1580922" cy="695279"/>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765666809"/>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tatistics Text Over Photo (Full)">
    <p:bg>
      <p:bgPr>
        <a:solidFill>
          <a:schemeClr val="bg1"/>
        </a:solidFill>
        <a:effectLst/>
      </p:bgPr>
    </p:bg>
    <p:spTree>
      <p:nvGrpSpPr>
        <p:cNvPr id="1" name=""/>
        <p:cNvGrpSpPr/>
        <p:nvPr/>
      </p:nvGrpSpPr>
      <p:grpSpPr>
        <a:xfrm>
          <a:off x="0" y="0"/>
          <a:ext cx="0" cy="0"/>
          <a:chOff x="0" y="0"/>
          <a:chExt cx="0" cy="0"/>
        </a:xfrm>
      </p:grpSpPr>
      <p:sp>
        <p:nvSpPr>
          <p:cNvPr id="95" name="Picture Placeholder 87">
            <a:extLst>
              <a:ext uri="{FF2B5EF4-FFF2-40B4-BE49-F238E27FC236}">
                <a16:creationId xmlns:a16="http://schemas.microsoft.com/office/drawing/2014/main" id="{E77718F8-C311-1E4B-8188-5CFE9E686490}"/>
              </a:ext>
            </a:extLst>
          </p:cNvPr>
          <p:cNvSpPr>
            <a:spLocks noGrp="1"/>
          </p:cNvSpPr>
          <p:nvPr>
            <p:ph type="pic" sz="quarter" idx="10" hasCustomPrompt="1"/>
          </p:nvPr>
        </p:nvSpPr>
        <p:spPr>
          <a:xfrm>
            <a:off x="0" y="0"/>
            <a:ext cx="12192000" cy="6858000"/>
          </a:xfrm>
          <a:custGeom>
            <a:avLst/>
            <a:gdLst>
              <a:gd name="connsiteX0" fmla="*/ 0 w 9144000"/>
              <a:gd name="connsiteY0" fmla="*/ 0 h 6858000"/>
              <a:gd name="connsiteX1" fmla="*/ 9144000 w 9144000"/>
              <a:gd name="connsiteY1" fmla="*/ 0 h 6858000"/>
              <a:gd name="connsiteX2" fmla="*/ 9144000 w 9144000"/>
              <a:gd name="connsiteY2" fmla="*/ 6858000 h 6858000"/>
              <a:gd name="connsiteX3" fmla="*/ 0 w 9144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9144000" h="6858000">
                <a:moveTo>
                  <a:pt x="0" y="0"/>
                </a:moveTo>
                <a:lnTo>
                  <a:pt x="9144000" y="0"/>
                </a:lnTo>
                <a:lnTo>
                  <a:pt x="9144000" y="6858000"/>
                </a:lnTo>
                <a:lnTo>
                  <a:pt x="0" y="6858000"/>
                </a:lnTo>
                <a:close/>
              </a:path>
            </a:pathLst>
          </a:custGeom>
          <a:solidFill>
            <a:schemeClr val="accent5">
              <a:lumMod val="60000"/>
              <a:lumOff val="40000"/>
            </a:schemeClr>
          </a:solidFill>
        </p:spPr>
        <p:txBody>
          <a:bodyPr wrap="square" rIns="432000" anchor="ctr">
            <a:noAutofit/>
          </a:bodyPr>
          <a:lstStyle>
            <a:lvl1pPr algn="r">
              <a:defRPr b="0">
                <a:solidFill>
                  <a:schemeClr val="bg1"/>
                </a:solidFill>
              </a:defRPr>
            </a:lvl1pPr>
          </a:lstStyle>
          <a:p>
            <a:r>
              <a:rPr lang="en-US"/>
              <a:t>Drag image onto slide to add photo</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6096000" cy="6858000"/>
          </a:xfrm>
          <a:gradFill>
            <a:gsLst>
              <a:gs pos="13000">
                <a:schemeClr val="accent1"/>
              </a:gs>
              <a:gs pos="97000">
                <a:schemeClr val="accent1">
                  <a:alpha val="80000"/>
                </a:schemeClr>
              </a:gs>
            </a:gsLst>
            <a:lin ang="5400000" scaled="0"/>
          </a:gradFill>
        </p:spPr>
        <p:txBody>
          <a:bodyPr lIns="576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sz="2800">
                <a:solidFill>
                  <a:schemeClr val="bg1"/>
                </a:solidFill>
              </a:defRPr>
            </a:lvl1pPr>
            <a:lvl2pPr>
              <a:defRPr>
                <a:solidFill>
                  <a:schemeClr val="bg1"/>
                </a:solidFill>
              </a:defRPr>
            </a:lvl2pPr>
            <a:lvl3pPr marL="0" indent="0">
              <a:buFontTx/>
              <a:buNone/>
              <a:defRPr>
                <a:solidFill>
                  <a:schemeClr val="bg1"/>
                </a:solidFill>
              </a:defRPr>
            </a:lvl3pPr>
            <a:lvl4pPr marL="0" indent="0">
              <a:buFontTx/>
              <a:buNone/>
              <a:defRPr>
                <a:solidFill>
                  <a:schemeClr val="bg1"/>
                </a:solidFill>
              </a:defRPr>
            </a:lvl4pPr>
            <a:lvl5pPr marL="0" indent="0">
              <a:buFontTx/>
              <a:buNone/>
              <a:defRPr>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575733" y="6200775"/>
            <a:ext cx="4934115"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fld id="{078C017C-E1B9-8443-B047-B08AAA027B45}" type="slidenum">
              <a:rPr lang="en-US" smtClean="0"/>
              <a:pPr marL="12700"/>
              <a:t>‹#›</a:t>
            </a:fld>
            <a:endParaRPr lang="en-US"/>
          </a:p>
        </p:txBody>
      </p:sp>
      <p:grpSp>
        <p:nvGrpSpPr>
          <p:cNvPr id="6" name="Group 5">
            <a:extLst>
              <a:ext uri="{FF2B5EF4-FFF2-40B4-BE49-F238E27FC236}">
                <a16:creationId xmlns:a16="http://schemas.microsoft.com/office/drawing/2014/main" id="{384FC32F-D780-2C41-B31E-1F1C7720CD48}"/>
              </a:ext>
            </a:extLst>
          </p:cNvPr>
          <p:cNvGrpSpPr/>
          <p:nvPr userDrawn="1"/>
        </p:nvGrpSpPr>
        <p:grpSpPr>
          <a:xfrm>
            <a:off x="12532244" y="-1"/>
            <a:ext cx="2979899" cy="9658589"/>
            <a:chOff x="9399182" y="-1"/>
            <a:chExt cx="2961715" cy="9658589"/>
          </a:xfrm>
        </p:grpSpPr>
        <p:sp>
          <p:nvSpPr>
            <p:cNvPr id="114" name="Rectangle 113">
              <a:extLst>
                <a:ext uri="{FF2B5EF4-FFF2-40B4-BE49-F238E27FC236}">
                  <a16:creationId xmlns:a16="http://schemas.microsoft.com/office/drawing/2014/main" id="{1F6701BF-092D-2F4F-9D3D-CB526578FD23}"/>
                </a:ext>
              </a:extLst>
            </p:cNvPr>
            <p:cNvSpPr/>
            <p:nvPr userDrawn="1"/>
          </p:nvSpPr>
          <p:spPr>
            <a:xfrm>
              <a:off x="9399182" y="-1"/>
              <a:ext cx="2798651" cy="94869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163" name="Picture 162">
              <a:extLst>
                <a:ext uri="{FF2B5EF4-FFF2-40B4-BE49-F238E27FC236}">
                  <a16:creationId xmlns:a16="http://schemas.microsoft.com/office/drawing/2014/main" id="{2D12CE45-289D-6B47-8827-232211E4A4E4}"/>
                </a:ext>
              </a:extLst>
            </p:cNvPr>
            <p:cNvPicPr>
              <a:picLocks noChangeAspect="1"/>
            </p:cNvPicPr>
            <p:nvPr userDrawn="1"/>
          </p:nvPicPr>
          <p:blipFill rotWithShape="1">
            <a:blip r:embed="rId2"/>
            <a:srcRect t="11482" r="50733" b="17784"/>
            <a:stretch/>
          </p:blipFill>
          <p:spPr>
            <a:xfrm>
              <a:off x="9558506" y="1332920"/>
              <a:ext cx="2639326" cy="746975"/>
            </a:xfrm>
            <a:prstGeom prst="rect">
              <a:avLst/>
            </a:prstGeom>
          </p:spPr>
        </p:pic>
        <p:grpSp>
          <p:nvGrpSpPr>
            <p:cNvPr id="115" name="Group 114">
              <a:extLst>
                <a:ext uri="{FF2B5EF4-FFF2-40B4-BE49-F238E27FC236}">
                  <a16:creationId xmlns:a16="http://schemas.microsoft.com/office/drawing/2014/main" id="{E06DB9A1-FD76-8C4E-AA60-A3215A54B22B}"/>
                </a:ext>
              </a:extLst>
            </p:cNvPr>
            <p:cNvGrpSpPr/>
            <p:nvPr userDrawn="1"/>
          </p:nvGrpSpPr>
          <p:grpSpPr>
            <a:xfrm>
              <a:off x="9541497" y="162442"/>
              <a:ext cx="2819400" cy="814510"/>
              <a:chOff x="-3644733" y="165205"/>
              <a:chExt cx="2819400" cy="814510"/>
            </a:xfrm>
          </p:grpSpPr>
          <p:sp>
            <p:nvSpPr>
              <p:cNvPr id="154" name="Rectangle 153">
                <a:extLst>
                  <a:ext uri="{FF2B5EF4-FFF2-40B4-BE49-F238E27FC236}">
                    <a16:creationId xmlns:a16="http://schemas.microsoft.com/office/drawing/2014/main" id="{9B6A22A1-5D5B-4A45-9873-94CDE4AF538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55" name="TextBox 154">
                <a:extLst>
                  <a:ext uri="{FF2B5EF4-FFF2-40B4-BE49-F238E27FC236}">
                    <a16:creationId xmlns:a16="http://schemas.microsoft.com/office/drawing/2014/main" id="{7ABB8F1D-E85A-ED44-9693-9F13743BAED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56" name="Picture 155">
                <a:extLst>
                  <a:ext uri="{FF2B5EF4-FFF2-40B4-BE49-F238E27FC236}">
                    <a16:creationId xmlns:a16="http://schemas.microsoft.com/office/drawing/2014/main" id="{20DBD003-BD74-534F-B6C9-503C1716230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116" name="TextBox 115">
              <a:extLst>
                <a:ext uri="{FF2B5EF4-FFF2-40B4-BE49-F238E27FC236}">
                  <a16:creationId xmlns:a16="http://schemas.microsoft.com/office/drawing/2014/main" id="{00987C7D-6B58-624B-A8C2-E1C8B5B41655}"/>
                </a:ext>
              </a:extLst>
            </p:cNvPr>
            <p:cNvSpPr txBox="1"/>
            <p:nvPr userDrawn="1"/>
          </p:nvSpPr>
          <p:spPr>
            <a:xfrm>
              <a:off x="9558507" y="3644763"/>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117" name="Straight Connector 116">
              <a:extLst>
                <a:ext uri="{FF2B5EF4-FFF2-40B4-BE49-F238E27FC236}">
                  <a16:creationId xmlns:a16="http://schemas.microsoft.com/office/drawing/2014/main" id="{76A5E172-F2DB-AB47-BF8B-E04905D4DF34}"/>
                </a:ext>
              </a:extLst>
            </p:cNvPr>
            <p:cNvCxnSpPr>
              <a:cxnSpLocks/>
            </p:cNvCxnSpPr>
            <p:nvPr userDrawn="1"/>
          </p:nvCxnSpPr>
          <p:spPr>
            <a:xfrm>
              <a:off x="9558507" y="384738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3686235-423F-604C-911D-620F011D49F8}"/>
                </a:ext>
              </a:extLst>
            </p:cNvPr>
            <p:cNvSpPr txBox="1"/>
            <p:nvPr userDrawn="1"/>
          </p:nvSpPr>
          <p:spPr>
            <a:xfrm>
              <a:off x="9686426" y="470569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119" name="Group 118">
              <a:extLst>
                <a:ext uri="{FF2B5EF4-FFF2-40B4-BE49-F238E27FC236}">
                  <a16:creationId xmlns:a16="http://schemas.microsoft.com/office/drawing/2014/main" id="{74431D0C-E5D7-5C4B-B34D-ED622DCEC90B}"/>
                </a:ext>
              </a:extLst>
            </p:cNvPr>
            <p:cNvGrpSpPr/>
            <p:nvPr userDrawn="1"/>
          </p:nvGrpSpPr>
          <p:grpSpPr>
            <a:xfrm>
              <a:off x="9541497" y="8247273"/>
              <a:ext cx="2735151" cy="1411315"/>
              <a:chOff x="9296567" y="4910411"/>
              <a:chExt cx="2735151" cy="1411315"/>
            </a:xfrm>
          </p:grpSpPr>
          <p:sp>
            <p:nvSpPr>
              <p:cNvPr id="148" name="Rectangle 147">
                <a:extLst>
                  <a:ext uri="{FF2B5EF4-FFF2-40B4-BE49-F238E27FC236}">
                    <a16:creationId xmlns:a16="http://schemas.microsoft.com/office/drawing/2014/main" id="{3EE33C6F-C414-704B-930C-49B6415FB0D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49" name="TextBox 148">
                <a:extLst>
                  <a:ext uri="{FF2B5EF4-FFF2-40B4-BE49-F238E27FC236}">
                    <a16:creationId xmlns:a16="http://schemas.microsoft.com/office/drawing/2014/main" id="{C7770F39-017B-9A4E-B2C7-C48397F86E0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150" name="Graphic 149">
                <a:extLst>
                  <a:ext uri="{FF2B5EF4-FFF2-40B4-BE49-F238E27FC236}">
                    <a16:creationId xmlns:a16="http://schemas.microsoft.com/office/drawing/2014/main" id="{2B06D124-E28F-144C-A1A8-A9F9DCEDD39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51" name="TextBox 150">
                <a:extLst>
                  <a:ext uri="{FF2B5EF4-FFF2-40B4-BE49-F238E27FC236}">
                    <a16:creationId xmlns:a16="http://schemas.microsoft.com/office/drawing/2014/main" id="{217354F4-3327-F641-8A6E-7CF3A11F0418}"/>
                  </a:ext>
                </a:extLst>
              </p:cNvPr>
              <p:cNvSpPr txBox="1"/>
              <p:nvPr userDrawn="1"/>
            </p:nvSpPr>
            <p:spPr>
              <a:xfrm>
                <a:off x="9471805" y="5619194"/>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52" name="TextBox 151">
                <a:extLst>
                  <a:ext uri="{FF2B5EF4-FFF2-40B4-BE49-F238E27FC236}">
                    <a16:creationId xmlns:a16="http://schemas.microsoft.com/office/drawing/2014/main" id="{C21E8267-10D6-A74C-9247-CF15A2756B5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53" name="TextBox 152">
                <a:extLst>
                  <a:ext uri="{FF2B5EF4-FFF2-40B4-BE49-F238E27FC236}">
                    <a16:creationId xmlns:a16="http://schemas.microsoft.com/office/drawing/2014/main" id="{33236540-7695-CC4F-8B5C-2A70FAD9ED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120" name="Group 119">
              <a:extLst>
                <a:ext uri="{FF2B5EF4-FFF2-40B4-BE49-F238E27FC236}">
                  <a16:creationId xmlns:a16="http://schemas.microsoft.com/office/drawing/2014/main" id="{1CC75D71-084C-2841-A6C3-E4B52088D324}"/>
                </a:ext>
              </a:extLst>
            </p:cNvPr>
            <p:cNvGrpSpPr/>
            <p:nvPr userDrawn="1"/>
          </p:nvGrpSpPr>
          <p:grpSpPr>
            <a:xfrm>
              <a:off x="9541497" y="6890617"/>
              <a:ext cx="2735151" cy="1280928"/>
              <a:chOff x="9286315" y="6976989"/>
              <a:chExt cx="2735151" cy="1280928"/>
            </a:xfrm>
          </p:grpSpPr>
          <p:sp>
            <p:nvSpPr>
              <p:cNvPr id="138" name="Rectangle 137">
                <a:extLst>
                  <a:ext uri="{FF2B5EF4-FFF2-40B4-BE49-F238E27FC236}">
                    <a16:creationId xmlns:a16="http://schemas.microsoft.com/office/drawing/2014/main" id="{80A4814C-F3C9-8E4D-A7A3-91D0BBB9B2D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44" name="TextBox 143">
                <a:extLst>
                  <a:ext uri="{FF2B5EF4-FFF2-40B4-BE49-F238E27FC236}">
                    <a16:creationId xmlns:a16="http://schemas.microsoft.com/office/drawing/2014/main" id="{9E22E78A-6530-6E49-B5B6-FE675F4954F7}"/>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145" name="Graphic 144">
                <a:extLst>
                  <a:ext uri="{FF2B5EF4-FFF2-40B4-BE49-F238E27FC236}">
                    <a16:creationId xmlns:a16="http://schemas.microsoft.com/office/drawing/2014/main" id="{DABEDA03-6252-DA49-BF04-D4C0068F703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46" name="TextBox 145">
                <a:extLst>
                  <a:ext uri="{FF2B5EF4-FFF2-40B4-BE49-F238E27FC236}">
                    <a16:creationId xmlns:a16="http://schemas.microsoft.com/office/drawing/2014/main" id="{8636DC60-0BA4-B64F-91F4-B8555CA43CB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147" name="Picture 146">
                <a:extLst>
                  <a:ext uri="{FF2B5EF4-FFF2-40B4-BE49-F238E27FC236}">
                    <a16:creationId xmlns:a16="http://schemas.microsoft.com/office/drawing/2014/main" id="{9C06CF34-F5E9-FF43-92FC-A8A12A5E751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1" name="Group 120">
              <a:extLst>
                <a:ext uri="{FF2B5EF4-FFF2-40B4-BE49-F238E27FC236}">
                  <a16:creationId xmlns:a16="http://schemas.microsoft.com/office/drawing/2014/main" id="{38052344-BDD9-5C4C-BCF9-CDD928F9ABEF}"/>
                </a:ext>
              </a:extLst>
            </p:cNvPr>
            <p:cNvGrpSpPr/>
            <p:nvPr userDrawn="1"/>
          </p:nvGrpSpPr>
          <p:grpSpPr>
            <a:xfrm>
              <a:off x="9521833" y="3969883"/>
              <a:ext cx="2617883" cy="651460"/>
              <a:chOff x="12352022" y="513115"/>
              <a:chExt cx="2617883" cy="651460"/>
            </a:xfrm>
          </p:grpSpPr>
          <p:sp>
            <p:nvSpPr>
              <p:cNvPr id="135" name="TextBox 134">
                <a:extLst>
                  <a:ext uri="{FF2B5EF4-FFF2-40B4-BE49-F238E27FC236}">
                    <a16:creationId xmlns:a16="http://schemas.microsoft.com/office/drawing/2014/main" id="{EA326582-6206-9448-AC3D-D3956871747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36" name="TextBox 135">
                <a:extLst>
                  <a:ext uri="{FF2B5EF4-FFF2-40B4-BE49-F238E27FC236}">
                    <a16:creationId xmlns:a16="http://schemas.microsoft.com/office/drawing/2014/main" id="{4064E1A2-6908-7D4E-AED8-AABD4AFAA4D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37" name="TextBox 136">
                <a:extLst>
                  <a:ext uri="{FF2B5EF4-FFF2-40B4-BE49-F238E27FC236}">
                    <a16:creationId xmlns:a16="http://schemas.microsoft.com/office/drawing/2014/main" id="{26F5F72F-54E6-6444-AD2C-1C7049E062D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Select and download images from the Marketing Resource Database.</a:t>
                </a:r>
              </a:p>
              <a:p>
                <a:pPr lvl="0"/>
                <a:r>
                  <a:rPr lang="en-US" sz="1050"/>
                  <a:t>Add the image to the placeholder.</a:t>
                </a:r>
              </a:p>
            </p:txBody>
          </p:sp>
        </p:grpSp>
        <p:sp>
          <p:nvSpPr>
            <p:cNvPr id="122" name="TextBox 121">
              <a:extLst>
                <a:ext uri="{FF2B5EF4-FFF2-40B4-BE49-F238E27FC236}">
                  <a16:creationId xmlns:a16="http://schemas.microsoft.com/office/drawing/2014/main" id="{6ADF7B1D-21B9-4A43-9883-156AF8A7FE24}"/>
                </a:ext>
              </a:extLst>
            </p:cNvPr>
            <p:cNvSpPr txBox="1"/>
            <p:nvPr userDrawn="1"/>
          </p:nvSpPr>
          <p:spPr>
            <a:xfrm>
              <a:off x="9674267" y="4988995"/>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123" name="TextBox 122">
              <a:extLst>
                <a:ext uri="{FF2B5EF4-FFF2-40B4-BE49-F238E27FC236}">
                  <a16:creationId xmlns:a16="http://schemas.microsoft.com/office/drawing/2014/main" id="{FD008BFE-F284-7448-B84A-6DC42232D3A9}"/>
                </a:ext>
              </a:extLst>
            </p:cNvPr>
            <p:cNvSpPr txBox="1"/>
            <p:nvPr userDrawn="1"/>
          </p:nvSpPr>
          <p:spPr>
            <a:xfrm>
              <a:off x="9686426" y="540425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124" name="TextBox 123">
              <a:extLst>
                <a:ext uri="{FF2B5EF4-FFF2-40B4-BE49-F238E27FC236}">
                  <a16:creationId xmlns:a16="http://schemas.microsoft.com/office/drawing/2014/main" id="{3BA44DCB-A3AF-9546-85AA-0C8080A538B5}"/>
                </a:ext>
              </a:extLst>
            </p:cNvPr>
            <p:cNvSpPr txBox="1"/>
            <p:nvPr userDrawn="1"/>
          </p:nvSpPr>
          <p:spPr>
            <a:xfrm>
              <a:off x="9686426" y="612434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125" name="TextBox 124">
              <a:extLst>
                <a:ext uri="{FF2B5EF4-FFF2-40B4-BE49-F238E27FC236}">
                  <a16:creationId xmlns:a16="http://schemas.microsoft.com/office/drawing/2014/main" id="{495F74B5-1BAA-CF4B-B826-677D9A1B2C48}"/>
                </a:ext>
              </a:extLst>
            </p:cNvPr>
            <p:cNvSpPr txBox="1"/>
            <p:nvPr userDrawn="1"/>
          </p:nvSpPr>
          <p:spPr>
            <a:xfrm>
              <a:off x="9674267" y="6554905"/>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sp>
          <p:nvSpPr>
            <p:cNvPr id="133" name="TextBox 132">
              <a:extLst>
                <a:ext uri="{FF2B5EF4-FFF2-40B4-BE49-F238E27FC236}">
                  <a16:creationId xmlns:a16="http://schemas.microsoft.com/office/drawing/2014/main" id="{3F7CB717-E705-2840-9197-C78C7B64E71A}"/>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134" name="Straight Connector 133">
              <a:extLst>
                <a:ext uri="{FF2B5EF4-FFF2-40B4-BE49-F238E27FC236}">
                  <a16:creationId xmlns:a16="http://schemas.microsoft.com/office/drawing/2014/main" id="{C57B530B-447D-4A4B-9F77-9EBFE3288785}"/>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62FAFE70-D4B2-8F4F-9523-F66BEB76844C}"/>
                </a:ext>
              </a:extLst>
            </p:cNvPr>
            <p:cNvGrpSpPr/>
            <p:nvPr userDrawn="1"/>
          </p:nvGrpSpPr>
          <p:grpSpPr>
            <a:xfrm>
              <a:off x="9541497" y="2222532"/>
              <a:ext cx="2735151" cy="1326215"/>
              <a:chOff x="9286315" y="6976988"/>
              <a:chExt cx="2735151" cy="1326215"/>
            </a:xfrm>
          </p:grpSpPr>
          <p:sp>
            <p:nvSpPr>
              <p:cNvPr id="129" name="Rectangle 128">
                <a:extLst>
                  <a:ext uri="{FF2B5EF4-FFF2-40B4-BE49-F238E27FC236}">
                    <a16:creationId xmlns:a16="http://schemas.microsoft.com/office/drawing/2014/main" id="{E47B8ADC-2456-1243-95C8-E860AAB723D4}"/>
                  </a:ext>
                </a:extLst>
              </p:cNvPr>
              <p:cNvSpPr/>
              <p:nvPr userDrawn="1"/>
            </p:nvSpPr>
            <p:spPr>
              <a:xfrm>
                <a:off x="9286315" y="6976988"/>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0" name="TextBox 129">
                <a:extLst>
                  <a:ext uri="{FF2B5EF4-FFF2-40B4-BE49-F238E27FC236}">
                    <a16:creationId xmlns:a16="http://schemas.microsoft.com/office/drawing/2014/main" id="{EDAA5B06-10D3-584A-BD73-861E5B9ACB56}"/>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Adjust overlay text box size</a:t>
                </a:r>
              </a:p>
            </p:txBody>
          </p:sp>
          <p:pic>
            <p:nvPicPr>
              <p:cNvPr id="131" name="Graphic 130">
                <a:extLst>
                  <a:ext uri="{FF2B5EF4-FFF2-40B4-BE49-F238E27FC236}">
                    <a16:creationId xmlns:a16="http://schemas.microsoft.com/office/drawing/2014/main" id="{161E4833-BB86-994F-833D-93E67F55990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2" name="TextBox 131">
                <a:extLst>
                  <a:ext uri="{FF2B5EF4-FFF2-40B4-BE49-F238E27FC236}">
                    <a16:creationId xmlns:a16="http://schemas.microsoft.com/office/drawing/2014/main" id="{8DAA1AE3-7284-B649-9EEF-97FFE151F8C8}"/>
                  </a:ext>
                </a:extLst>
              </p:cNvPr>
              <p:cNvSpPr txBox="1"/>
              <p:nvPr userDrawn="1"/>
            </p:nvSpPr>
            <p:spPr>
              <a:xfrm>
                <a:off x="9446538" y="7369972"/>
                <a:ext cx="2214055" cy="53707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a:solidFill>
                      <a:schemeClr val="tx1">
                        <a:lumMod val="50000"/>
                        <a:lumOff val="50000"/>
                      </a:schemeClr>
                    </a:solidFill>
                    <a:latin typeface="Arial" charset="0"/>
                    <a:cs typeface="Arial" charset="0"/>
                  </a:rPr>
                  <a:t>Turn on guides (View &gt; Guides) to enable snapping.</a:t>
                </a:r>
              </a:p>
            </p:txBody>
          </p:sp>
        </p:grpSp>
      </p:grpSp>
      <p:sp>
        <p:nvSpPr>
          <p:cNvPr id="500" name="Caption">
            <a:extLst>
              <a:ext uri="{FF2B5EF4-FFF2-40B4-BE49-F238E27FC236}">
                <a16:creationId xmlns:a16="http://schemas.microsoft.com/office/drawing/2014/main" id="{659A1A30-0D40-E04A-93E5-5EBF0216ED61}"/>
              </a:ext>
            </a:extLst>
          </p:cNvPr>
          <p:cNvSpPr>
            <a:spLocks noGrp="1"/>
          </p:cNvSpPr>
          <p:nvPr>
            <p:ph type="body" sz="quarter" idx="500" hasCustomPrompt="1"/>
          </p:nvPr>
        </p:nvSpPr>
        <p:spPr>
          <a:xfrm>
            <a:off x="7947046" y="6200776"/>
            <a:ext cx="3657167"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grpSp>
        <p:nvGrpSpPr>
          <p:cNvPr id="103" name="Group 102">
            <a:extLst>
              <a:ext uri="{FF2B5EF4-FFF2-40B4-BE49-F238E27FC236}">
                <a16:creationId xmlns:a16="http://schemas.microsoft.com/office/drawing/2014/main" id="{47959447-87F2-A44E-9C64-C1D36F805A3D}"/>
              </a:ext>
            </a:extLst>
          </p:cNvPr>
          <p:cNvGrpSpPr/>
          <p:nvPr userDrawn="1"/>
        </p:nvGrpSpPr>
        <p:grpSpPr>
          <a:xfrm>
            <a:off x="-266701" y="-246933"/>
            <a:ext cx="12724248" cy="7348688"/>
            <a:chOff x="-266701" y="-246933"/>
            <a:chExt cx="12724248" cy="7348688"/>
          </a:xfrm>
        </p:grpSpPr>
        <p:grpSp>
          <p:nvGrpSpPr>
            <p:cNvPr id="105" name="Group 104">
              <a:extLst>
                <a:ext uri="{FF2B5EF4-FFF2-40B4-BE49-F238E27FC236}">
                  <a16:creationId xmlns:a16="http://schemas.microsoft.com/office/drawing/2014/main" id="{25C74958-7467-8642-A03F-9750704446B4}"/>
                </a:ext>
              </a:extLst>
            </p:cNvPr>
            <p:cNvGrpSpPr/>
            <p:nvPr userDrawn="1"/>
          </p:nvGrpSpPr>
          <p:grpSpPr>
            <a:xfrm>
              <a:off x="-266701" y="417981"/>
              <a:ext cx="12724248" cy="6286918"/>
              <a:chOff x="-266701" y="417981"/>
              <a:chExt cx="12724248" cy="6286918"/>
            </a:xfrm>
          </p:grpSpPr>
          <p:cxnSp>
            <p:nvCxnSpPr>
              <p:cNvPr id="175" name="Straight Connector 174">
                <a:extLst>
                  <a:ext uri="{FF2B5EF4-FFF2-40B4-BE49-F238E27FC236}">
                    <a16:creationId xmlns:a16="http://schemas.microsoft.com/office/drawing/2014/main" id="{1F4090F4-FD63-B04D-9658-B5B7EF7A847C}"/>
                  </a:ext>
                </a:extLst>
              </p:cNvPr>
              <p:cNvCxnSpPr>
                <a:cxnSpLocks/>
              </p:cNvCxnSpPr>
              <p:nvPr userDrawn="1"/>
            </p:nvCxnSpPr>
            <p:spPr>
              <a:xfrm rot="16200000" flipV="1">
                <a:off x="-137018" y="291969"/>
                <a:ext cx="0" cy="259364"/>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76" name="Group 175">
                <a:extLst>
                  <a:ext uri="{FF2B5EF4-FFF2-40B4-BE49-F238E27FC236}">
                    <a16:creationId xmlns:a16="http://schemas.microsoft.com/office/drawing/2014/main" id="{36EDE3E6-2363-1740-B6B5-D1AA31225CA1}"/>
                  </a:ext>
                </a:extLst>
              </p:cNvPr>
              <p:cNvGrpSpPr/>
              <p:nvPr userDrawn="1"/>
            </p:nvGrpSpPr>
            <p:grpSpPr>
              <a:xfrm>
                <a:off x="-266700" y="6199390"/>
                <a:ext cx="259364" cy="505509"/>
                <a:chOff x="-256403" y="6200775"/>
                <a:chExt cx="251461" cy="505509"/>
              </a:xfrm>
            </p:grpSpPr>
            <p:grpSp>
              <p:nvGrpSpPr>
                <p:cNvPr id="189" name="Group 188">
                  <a:extLst>
                    <a:ext uri="{FF2B5EF4-FFF2-40B4-BE49-F238E27FC236}">
                      <a16:creationId xmlns:a16="http://schemas.microsoft.com/office/drawing/2014/main" id="{6C50CEA7-9039-844C-8EC7-5D5696573FE9}"/>
                    </a:ext>
                  </a:extLst>
                </p:cNvPr>
                <p:cNvGrpSpPr/>
                <p:nvPr userDrawn="1"/>
              </p:nvGrpSpPr>
              <p:grpSpPr>
                <a:xfrm rot="16200000">
                  <a:off x="-383427" y="6327799"/>
                  <a:ext cx="505509" cy="251461"/>
                  <a:chOff x="431800" y="-235792"/>
                  <a:chExt cx="4400551" cy="235792"/>
                </a:xfrm>
              </p:grpSpPr>
              <p:cxnSp>
                <p:nvCxnSpPr>
                  <p:cNvPr id="191" name="Straight Connector 190">
                    <a:extLst>
                      <a:ext uri="{FF2B5EF4-FFF2-40B4-BE49-F238E27FC236}">
                        <a16:creationId xmlns:a16="http://schemas.microsoft.com/office/drawing/2014/main" id="{CEE7C017-8462-6144-8218-29F4B15DAF3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2377CE78-3AC9-3B4A-AFD3-FF438FD14DE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93" name="Rectangle 192">
                    <a:extLst>
                      <a:ext uri="{FF2B5EF4-FFF2-40B4-BE49-F238E27FC236}">
                        <a16:creationId xmlns:a16="http://schemas.microsoft.com/office/drawing/2014/main" id="{60E2B301-32EB-4244-80DD-A91859E90F6C}"/>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190" name="TextBox 189">
                  <a:extLst>
                    <a:ext uri="{FF2B5EF4-FFF2-40B4-BE49-F238E27FC236}">
                      <a16:creationId xmlns:a16="http://schemas.microsoft.com/office/drawing/2014/main" id="{FC6F7199-65D4-5A4E-9E4C-9B5E5DE19EA5}"/>
                    </a:ext>
                  </a:extLst>
                </p:cNvPr>
                <p:cNvSpPr txBox="1"/>
                <p:nvPr userDrawn="1"/>
              </p:nvSpPr>
              <p:spPr>
                <a:xfrm rot="16200000">
                  <a:off x="-284561" y="6399801"/>
                  <a:ext cx="307777" cy="129266"/>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FOOT</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NOTES</a:t>
                  </a:r>
                </a:p>
              </p:txBody>
            </p:sp>
          </p:grpSp>
          <p:grpSp>
            <p:nvGrpSpPr>
              <p:cNvPr id="177" name="Group 176">
                <a:extLst>
                  <a:ext uri="{FF2B5EF4-FFF2-40B4-BE49-F238E27FC236}">
                    <a16:creationId xmlns:a16="http://schemas.microsoft.com/office/drawing/2014/main" id="{CFD59CD4-406C-644D-8FCB-CF107A8CDEE8}"/>
                  </a:ext>
                </a:extLst>
              </p:cNvPr>
              <p:cNvGrpSpPr/>
              <p:nvPr userDrawn="1"/>
            </p:nvGrpSpPr>
            <p:grpSpPr>
              <a:xfrm>
                <a:off x="-266701" y="417981"/>
                <a:ext cx="259364" cy="5746484"/>
                <a:chOff x="-256404" y="503932"/>
                <a:chExt cx="251461" cy="5644208"/>
              </a:xfrm>
            </p:grpSpPr>
            <p:grpSp>
              <p:nvGrpSpPr>
                <p:cNvPr id="183" name="Group 182">
                  <a:extLst>
                    <a:ext uri="{FF2B5EF4-FFF2-40B4-BE49-F238E27FC236}">
                      <a16:creationId xmlns:a16="http://schemas.microsoft.com/office/drawing/2014/main" id="{AFBFDB1E-C618-0F45-9F4B-BD1CDA82B6BF}"/>
                    </a:ext>
                  </a:extLst>
                </p:cNvPr>
                <p:cNvGrpSpPr/>
                <p:nvPr userDrawn="1"/>
              </p:nvGrpSpPr>
              <p:grpSpPr>
                <a:xfrm rot="16200000">
                  <a:off x="-2952777" y="3200305"/>
                  <a:ext cx="5644208" cy="251461"/>
                  <a:chOff x="431799" y="-235793"/>
                  <a:chExt cx="5128334" cy="235792"/>
                </a:xfrm>
              </p:grpSpPr>
              <p:cxnSp>
                <p:nvCxnSpPr>
                  <p:cNvPr id="187" name="Straight Connector 186">
                    <a:extLst>
                      <a:ext uri="{FF2B5EF4-FFF2-40B4-BE49-F238E27FC236}">
                        <a16:creationId xmlns:a16="http://schemas.microsoft.com/office/drawing/2014/main" id="{131A4BF5-B465-6F47-A1B4-96F5DB7C102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8" name="Rectangle 187">
                    <a:extLst>
                      <a:ext uri="{FF2B5EF4-FFF2-40B4-BE49-F238E27FC236}">
                        <a16:creationId xmlns:a16="http://schemas.microsoft.com/office/drawing/2014/main" id="{5A708478-1D0D-5546-B848-97B7CB59524E}"/>
                      </a:ext>
                    </a:extLst>
                  </p:cNvPr>
                  <p:cNvSpPr/>
                  <p:nvPr userDrawn="1"/>
                </p:nvSpPr>
                <p:spPr>
                  <a:xfrm rot="5400000">
                    <a:off x="2878070" y="-2682064"/>
                    <a:ext cx="235791" cy="5128334"/>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184" name="TextBox 183">
                  <a:extLst>
                    <a:ext uri="{FF2B5EF4-FFF2-40B4-BE49-F238E27FC236}">
                      <a16:creationId xmlns:a16="http://schemas.microsoft.com/office/drawing/2014/main" id="{13699AC2-8274-8C40-AFAC-3484F0868DB8}"/>
                    </a:ext>
                  </a:extLst>
                </p:cNvPr>
                <p:cNvSpPr txBox="1"/>
                <p:nvPr userDrawn="1"/>
              </p:nvSpPr>
              <p:spPr>
                <a:xfrm rot="16200000">
                  <a:off x="-991957" y="3304120"/>
                  <a:ext cx="1722572" cy="8079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185" name="Straight Arrow Connector 184">
                  <a:extLst>
                    <a:ext uri="{FF2B5EF4-FFF2-40B4-BE49-F238E27FC236}">
                      <a16:creationId xmlns:a16="http://schemas.microsoft.com/office/drawing/2014/main" id="{CDD5990C-CA0E-6D47-9C95-8FC6B8ADC018}"/>
                    </a:ext>
                  </a:extLst>
                </p:cNvPr>
                <p:cNvCxnSpPr>
                  <a:cxnSpLocks/>
                  <a:stCxn id="184" idx="1"/>
                </p:cNvCxnSpPr>
                <p:nvPr userDrawn="1"/>
              </p:nvCxnSpPr>
              <p:spPr>
                <a:xfrm flipH="1">
                  <a:off x="-130671" y="4205802"/>
                  <a:ext cx="1" cy="156032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86" name="Straight Arrow Connector 185">
                  <a:extLst>
                    <a:ext uri="{FF2B5EF4-FFF2-40B4-BE49-F238E27FC236}">
                      <a16:creationId xmlns:a16="http://schemas.microsoft.com/office/drawing/2014/main" id="{1430EF3A-492B-2A4D-9AFA-BA1541E5B54D}"/>
                    </a:ext>
                  </a:extLst>
                </p:cNvPr>
                <p:cNvCxnSpPr>
                  <a:cxnSpLocks/>
                  <a:stCxn id="184" idx="3"/>
                  <a:endCxn id="188" idx="0"/>
                </p:cNvCxnSpPr>
                <p:nvPr userDrawn="1"/>
              </p:nvCxnSpPr>
              <p:spPr>
                <a:xfrm flipH="1" flipV="1">
                  <a:off x="-130672" y="503932"/>
                  <a:ext cx="1" cy="1979298"/>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cxnSp>
            <p:nvCxnSpPr>
              <p:cNvPr id="178" name="Straight Connector 177">
                <a:extLst>
                  <a:ext uri="{FF2B5EF4-FFF2-40B4-BE49-F238E27FC236}">
                    <a16:creationId xmlns:a16="http://schemas.microsoft.com/office/drawing/2014/main" id="{AD1D2090-7BC0-2A4C-A3DC-16A49C18072B}"/>
                  </a:ext>
                </a:extLst>
              </p:cNvPr>
              <p:cNvCxnSpPr>
                <a:cxnSpLocks/>
              </p:cNvCxnSpPr>
              <p:nvPr userDrawn="1"/>
            </p:nvCxnSpPr>
            <p:spPr>
              <a:xfrm rot="16200000" flipV="1">
                <a:off x="12327866" y="291969"/>
                <a:ext cx="0" cy="25936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79" name="Group 178">
                <a:extLst>
                  <a:ext uri="{FF2B5EF4-FFF2-40B4-BE49-F238E27FC236}">
                    <a16:creationId xmlns:a16="http://schemas.microsoft.com/office/drawing/2014/main" id="{98E3C99A-EDC6-0145-8EDB-3A9263643CFC}"/>
                  </a:ext>
                </a:extLst>
              </p:cNvPr>
              <p:cNvGrpSpPr/>
              <p:nvPr userDrawn="1"/>
            </p:nvGrpSpPr>
            <p:grpSpPr>
              <a:xfrm rot="16200000">
                <a:off x="12075109" y="6322462"/>
                <a:ext cx="505509" cy="259364"/>
                <a:chOff x="431801" y="-235792"/>
                <a:chExt cx="4400550" cy="235792"/>
              </a:xfrm>
            </p:grpSpPr>
            <p:cxnSp>
              <p:nvCxnSpPr>
                <p:cNvPr id="181" name="Straight Connector 180">
                  <a:extLst>
                    <a:ext uri="{FF2B5EF4-FFF2-40B4-BE49-F238E27FC236}">
                      <a16:creationId xmlns:a16="http://schemas.microsoft.com/office/drawing/2014/main" id="{47E99AE5-6D9F-C94C-B84B-7C9E279BA0C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CC973DDC-E758-6747-8AA5-692632E0ED55}"/>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180" name="Straight Connector 179">
                <a:extLst>
                  <a:ext uri="{FF2B5EF4-FFF2-40B4-BE49-F238E27FC236}">
                    <a16:creationId xmlns:a16="http://schemas.microsoft.com/office/drawing/2014/main" id="{371127D9-3210-5D49-9E25-FF7079DAC6B0}"/>
                  </a:ext>
                </a:extLst>
              </p:cNvPr>
              <p:cNvCxnSpPr>
                <a:cxnSpLocks/>
              </p:cNvCxnSpPr>
              <p:nvPr userDrawn="1"/>
            </p:nvCxnSpPr>
            <p:spPr>
              <a:xfrm rot="16200000" flipV="1">
                <a:off x="12327864" y="6034782"/>
                <a:ext cx="0" cy="259363"/>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13" name="Group 112">
              <a:extLst>
                <a:ext uri="{FF2B5EF4-FFF2-40B4-BE49-F238E27FC236}">
                  <a16:creationId xmlns:a16="http://schemas.microsoft.com/office/drawing/2014/main" id="{20D888D3-7A63-2A48-AB4A-3883055FA6BF}"/>
                </a:ext>
              </a:extLst>
            </p:cNvPr>
            <p:cNvGrpSpPr/>
            <p:nvPr userDrawn="1"/>
          </p:nvGrpSpPr>
          <p:grpSpPr>
            <a:xfrm>
              <a:off x="574987" y="-246933"/>
              <a:ext cx="11040535" cy="7348688"/>
              <a:chOff x="574987" y="-246933"/>
              <a:chExt cx="11040535" cy="7348688"/>
            </a:xfrm>
          </p:grpSpPr>
          <p:grpSp>
            <p:nvGrpSpPr>
              <p:cNvPr id="126" name="Group 125">
                <a:extLst>
                  <a:ext uri="{FF2B5EF4-FFF2-40B4-BE49-F238E27FC236}">
                    <a16:creationId xmlns:a16="http://schemas.microsoft.com/office/drawing/2014/main" id="{46B55195-4FD3-B044-AC3A-E69A97424746}"/>
                  </a:ext>
                </a:extLst>
              </p:cNvPr>
              <p:cNvGrpSpPr/>
              <p:nvPr userDrawn="1"/>
            </p:nvGrpSpPr>
            <p:grpSpPr>
              <a:xfrm>
                <a:off x="574987" y="-246933"/>
                <a:ext cx="11040535" cy="7347304"/>
                <a:chOff x="431240" y="-246933"/>
                <a:chExt cx="8280401" cy="7347304"/>
              </a:xfrm>
            </p:grpSpPr>
            <p:grpSp>
              <p:nvGrpSpPr>
                <p:cNvPr id="164" name="Group 163">
                  <a:extLst>
                    <a:ext uri="{FF2B5EF4-FFF2-40B4-BE49-F238E27FC236}">
                      <a16:creationId xmlns:a16="http://schemas.microsoft.com/office/drawing/2014/main" id="{47A9F740-012C-1242-AC98-92636B740401}"/>
                    </a:ext>
                  </a:extLst>
                </p:cNvPr>
                <p:cNvGrpSpPr/>
                <p:nvPr userDrawn="1"/>
              </p:nvGrpSpPr>
              <p:grpSpPr>
                <a:xfrm>
                  <a:off x="431242" y="6864579"/>
                  <a:ext cx="8280398" cy="235792"/>
                  <a:chOff x="431801" y="-235792"/>
                  <a:chExt cx="4400550" cy="235792"/>
                </a:xfrm>
              </p:grpSpPr>
              <p:cxnSp>
                <p:nvCxnSpPr>
                  <p:cNvPr id="173" name="Straight Connector 172">
                    <a:extLst>
                      <a:ext uri="{FF2B5EF4-FFF2-40B4-BE49-F238E27FC236}">
                        <a16:creationId xmlns:a16="http://schemas.microsoft.com/office/drawing/2014/main" id="{3E44BF90-0F01-D840-BDA7-C664113C7AC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986D0AD0-70D8-D241-89C2-C8ECBBDB9F52}"/>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65" name="Group 164">
                  <a:extLst>
                    <a:ext uri="{FF2B5EF4-FFF2-40B4-BE49-F238E27FC236}">
                      <a16:creationId xmlns:a16="http://schemas.microsoft.com/office/drawing/2014/main" id="{E52C3B31-83E9-6F45-95ED-3C09BAF28D39}"/>
                    </a:ext>
                  </a:extLst>
                </p:cNvPr>
                <p:cNvGrpSpPr/>
                <p:nvPr userDrawn="1"/>
              </p:nvGrpSpPr>
              <p:grpSpPr>
                <a:xfrm>
                  <a:off x="431240" y="-246933"/>
                  <a:ext cx="8280401" cy="235792"/>
                  <a:chOff x="431800" y="-240735"/>
                  <a:chExt cx="8280401" cy="235792"/>
                </a:xfrm>
              </p:grpSpPr>
              <p:grpSp>
                <p:nvGrpSpPr>
                  <p:cNvPr id="166" name="Group 165">
                    <a:extLst>
                      <a:ext uri="{FF2B5EF4-FFF2-40B4-BE49-F238E27FC236}">
                        <a16:creationId xmlns:a16="http://schemas.microsoft.com/office/drawing/2014/main" id="{D373BDAF-C12F-1046-B0BD-6111CD213F7F}"/>
                      </a:ext>
                    </a:extLst>
                  </p:cNvPr>
                  <p:cNvGrpSpPr/>
                  <p:nvPr userDrawn="1"/>
                </p:nvGrpSpPr>
                <p:grpSpPr>
                  <a:xfrm>
                    <a:off x="431800" y="-240735"/>
                    <a:ext cx="8280400" cy="235792"/>
                    <a:chOff x="431800" y="-235792"/>
                    <a:chExt cx="4400551" cy="235792"/>
                  </a:xfrm>
                </p:grpSpPr>
                <p:cxnSp>
                  <p:nvCxnSpPr>
                    <p:cNvPr id="170" name="Straight Connector 169">
                      <a:extLst>
                        <a:ext uri="{FF2B5EF4-FFF2-40B4-BE49-F238E27FC236}">
                          <a16:creationId xmlns:a16="http://schemas.microsoft.com/office/drawing/2014/main" id="{2D6584B0-ADCE-D24B-81A2-8FC45CDB912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9986BB13-426C-904D-B875-49EA26FB75FA}"/>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2" name="Rectangle 171">
                      <a:extLst>
                        <a:ext uri="{FF2B5EF4-FFF2-40B4-BE49-F238E27FC236}">
                          <a16:creationId xmlns:a16="http://schemas.microsoft.com/office/drawing/2014/main" id="{18A31DBF-8E42-3741-BA22-A2ADA799067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167" name="TextBox 166">
                    <a:extLst>
                      <a:ext uri="{FF2B5EF4-FFF2-40B4-BE49-F238E27FC236}">
                        <a16:creationId xmlns:a16="http://schemas.microsoft.com/office/drawing/2014/main" id="{EEAABB0D-9B3B-9D4D-A86D-61A2A0147F6F}"/>
                      </a:ext>
                    </a:extLst>
                  </p:cNvPr>
                  <p:cNvSpPr txBox="1"/>
                  <p:nvPr userDrawn="1"/>
                </p:nvSpPr>
                <p:spPr>
                  <a:xfrm>
                    <a:off x="3914336" y="-176700"/>
                    <a:ext cx="1315339"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168" name="Straight Arrow Connector 167">
                    <a:extLst>
                      <a:ext uri="{FF2B5EF4-FFF2-40B4-BE49-F238E27FC236}">
                        <a16:creationId xmlns:a16="http://schemas.microsoft.com/office/drawing/2014/main" id="{F8E91092-63CA-3745-9274-31EFAFFEADC0}"/>
                      </a:ext>
                    </a:extLst>
                  </p:cNvPr>
                  <p:cNvCxnSpPr>
                    <a:cxnSpLocks/>
                    <a:stCxn id="167" idx="1"/>
                    <a:endCxn id="172" idx="2"/>
                  </p:cNvCxnSpPr>
                  <p:nvPr userDrawn="1"/>
                </p:nvCxnSpPr>
                <p:spPr>
                  <a:xfrm flipH="1">
                    <a:off x="431801" y="-122839"/>
                    <a:ext cx="3482535"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FA5A5760-DEF5-4B46-BF87-9A200A78F7BC}"/>
                      </a:ext>
                    </a:extLst>
                  </p:cNvPr>
                  <p:cNvCxnSpPr>
                    <a:cxnSpLocks/>
                    <a:stCxn id="167" idx="3"/>
                    <a:endCxn id="172" idx="0"/>
                  </p:cNvCxnSpPr>
                  <p:nvPr userDrawn="1"/>
                </p:nvCxnSpPr>
                <p:spPr>
                  <a:xfrm flipV="1">
                    <a:off x="5229674" y="-122840"/>
                    <a:ext cx="3482527"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27" name="Group 126">
                <a:extLst>
                  <a:ext uri="{FF2B5EF4-FFF2-40B4-BE49-F238E27FC236}">
                    <a16:creationId xmlns:a16="http://schemas.microsoft.com/office/drawing/2014/main" id="{62F4EFC3-B97A-F94D-B3B7-7A0B5951FE63}"/>
                  </a:ext>
                </a:extLst>
              </p:cNvPr>
              <p:cNvGrpSpPr/>
              <p:nvPr userDrawn="1"/>
            </p:nvGrpSpPr>
            <p:grpSpPr>
              <a:xfrm>
                <a:off x="4161863" y="6865965"/>
                <a:ext cx="3906819" cy="235790"/>
                <a:chOff x="3121388" y="6869197"/>
                <a:chExt cx="2930114" cy="235790"/>
              </a:xfrm>
            </p:grpSpPr>
            <p:grpSp>
              <p:nvGrpSpPr>
                <p:cNvPr id="139" name="Group 138">
                  <a:extLst>
                    <a:ext uri="{FF2B5EF4-FFF2-40B4-BE49-F238E27FC236}">
                      <a16:creationId xmlns:a16="http://schemas.microsoft.com/office/drawing/2014/main" id="{C68ACF57-3B96-9D43-8A75-FA668ACEDBB4}"/>
                    </a:ext>
                  </a:extLst>
                </p:cNvPr>
                <p:cNvGrpSpPr/>
                <p:nvPr userDrawn="1"/>
              </p:nvGrpSpPr>
              <p:grpSpPr>
                <a:xfrm>
                  <a:off x="3184525" y="6869197"/>
                  <a:ext cx="2774950" cy="60992"/>
                  <a:chOff x="3184525" y="6869196"/>
                  <a:chExt cx="2774950" cy="235791"/>
                </a:xfrm>
              </p:grpSpPr>
              <p:cxnSp>
                <p:nvCxnSpPr>
                  <p:cNvPr id="160" name="Straight Connector 159">
                    <a:extLst>
                      <a:ext uri="{FF2B5EF4-FFF2-40B4-BE49-F238E27FC236}">
                        <a16:creationId xmlns:a16="http://schemas.microsoft.com/office/drawing/2014/main" id="{F8241A8D-7C3F-7C4C-8979-C733C621B0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C1580CEB-1952-1749-A8B4-5D8CE51EF9A7}"/>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BD8ACBD0-F80D-B54E-AAFB-90D284D7CB2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40" name="TextBox 139">
                  <a:extLst>
                    <a:ext uri="{FF2B5EF4-FFF2-40B4-BE49-F238E27FC236}">
                      <a16:creationId xmlns:a16="http://schemas.microsoft.com/office/drawing/2014/main" id="{B1501C91-4C02-DC4B-ADC6-9662E95CF12E}"/>
                    </a:ext>
                  </a:extLst>
                </p:cNvPr>
                <p:cNvSpPr txBox="1"/>
                <p:nvPr userDrawn="1"/>
              </p:nvSpPr>
              <p:spPr>
                <a:xfrm>
                  <a:off x="3121388" y="6954537"/>
                  <a:ext cx="153888"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1/3</a:t>
                  </a:r>
                  <a:r>
                    <a:rPr lang="en-US" sz="650" kern="1200" baseline="30000">
                      <a:solidFill>
                        <a:schemeClr val="accent2"/>
                      </a:solidFill>
                      <a:latin typeface="Arial" charset="0"/>
                      <a:ea typeface="Arial" charset="0"/>
                      <a:cs typeface="Arial" charset="0"/>
                    </a:rPr>
                    <a:t>RD</a:t>
                  </a:r>
                </a:p>
              </p:txBody>
            </p:sp>
            <p:sp>
              <p:nvSpPr>
                <p:cNvPr id="141" name="TextBox 140">
                  <a:extLst>
                    <a:ext uri="{FF2B5EF4-FFF2-40B4-BE49-F238E27FC236}">
                      <a16:creationId xmlns:a16="http://schemas.microsoft.com/office/drawing/2014/main" id="{7F6155EA-DE69-844A-9BD3-107DBE7DE067}"/>
                    </a:ext>
                  </a:extLst>
                </p:cNvPr>
                <p:cNvSpPr txBox="1"/>
                <p:nvPr userDrawn="1"/>
              </p:nvSpPr>
              <p:spPr>
                <a:xfrm>
                  <a:off x="4487991" y="6954537"/>
                  <a:ext cx="170720"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HALF</a:t>
                  </a:r>
                </a:p>
              </p:txBody>
            </p:sp>
            <p:sp>
              <p:nvSpPr>
                <p:cNvPr id="142" name="TextBox 141">
                  <a:extLst>
                    <a:ext uri="{FF2B5EF4-FFF2-40B4-BE49-F238E27FC236}">
                      <a16:creationId xmlns:a16="http://schemas.microsoft.com/office/drawing/2014/main" id="{28DF97FE-9E44-8D4B-BF7D-92984FD3B23D}"/>
                    </a:ext>
                  </a:extLst>
                </p:cNvPr>
                <p:cNvSpPr txBox="1"/>
                <p:nvPr userDrawn="1"/>
              </p:nvSpPr>
              <p:spPr>
                <a:xfrm>
                  <a:off x="5869961" y="6954537"/>
                  <a:ext cx="181541"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2/3</a:t>
                  </a:r>
                  <a:r>
                    <a:rPr lang="en-US" sz="650" baseline="30000">
                      <a:solidFill>
                        <a:schemeClr val="accent2"/>
                      </a:solidFill>
                      <a:latin typeface="Arial" charset="0"/>
                      <a:ea typeface="Arial" charset="0"/>
                      <a:cs typeface="Arial" charset="0"/>
                    </a:rPr>
                    <a:t>RDS</a:t>
                  </a:r>
                </a:p>
              </p:txBody>
            </p:sp>
            <p:grpSp>
              <p:nvGrpSpPr>
                <p:cNvPr id="143" name="Group 142">
                  <a:extLst>
                    <a:ext uri="{FF2B5EF4-FFF2-40B4-BE49-F238E27FC236}">
                      <a16:creationId xmlns:a16="http://schemas.microsoft.com/office/drawing/2014/main" id="{844A9B4F-E623-B84F-B553-213B2C2226DA}"/>
                    </a:ext>
                  </a:extLst>
                </p:cNvPr>
                <p:cNvGrpSpPr/>
                <p:nvPr userDrawn="1"/>
              </p:nvGrpSpPr>
              <p:grpSpPr>
                <a:xfrm>
                  <a:off x="3184525" y="7040714"/>
                  <a:ext cx="2774950" cy="64273"/>
                  <a:chOff x="3184525" y="6869196"/>
                  <a:chExt cx="2774950" cy="235791"/>
                </a:xfrm>
              </p:grpSpPr>
              <p:cxnSp>
                <p:nvCxnSpPr>
                  <p:cNvPr id="157" name="Straight Connector 156">
                    <a:extLst>
                      <a:ext uri="{FF2B5EF4-FFF2-40B4-BE49-F238E27FC236}">
                        <a16:creationId xmlns:a16="http://schemas.microsoft.com/office/drawing/2014/main" id="{DB557D9C-1E4D-B14A-983E-1323273C52C0}"/>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AA8D8CFB-0BC1-FD49-A772-D60F75C95802}"/>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CDCFF158-D4E4-F64F-979D-82E72BF514D4}"/>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grpSp>
    </p:spTree>
    <p:extLst>
      <p:ext uri="{BB962C8B-B14F-4D97-AF65-F5344CB8AC3E}">
        <p14:creationId xmlns:p14="http://schemas.microsoft.com/office/powerpoint/2010/main" val="1587903709"/>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Single Large Stat Over Photo (Full)">
    <p:bg>
      <p:bgPr>
        <a:solidFill>
          <a:schemeClr val="bg1"/>
        </a:solidFill>
        <a:effectLst/>
      </p:bgPr>
    </p:bg>
    <p:spTree>
      <p:nvGrpSpPr>
        <p:cNvPr id="1" name=""/>
        <p:cNvGrpSpPr/>
        <p:nvPr/>
      </p:nvGrpSpPr>
      <p:grpSpPr>
        <a:xfrm>
          <a:off x="0" y="0"/>
          <a:ext cx="0" cy="0"/>
          <a:chOff x="0" y="0"/>
          <a:chExt cx="0" cy="0"/>
        </a:xfrm>
      </p:grpSpPr>
      <p:sp>
        <p:nvSpPr>
          <p:cNvPr id="90" name="Picture Placeholder 87">
            <a:extLst>
              <a:ext uri="{FF2B5EF4-FFF2-40B4-BE49-F238E27FC236}">
                <a16:creationId xmlns:a16="http://schemas.microsoft.com/office/drawing/2014/main" id="{BF83447C-29AC-9744-B39E-F120CB180641}"/>
              </a:ext>
            </a:extLst>
          </p:cNvPr>
          <p:cNvSpPr>
            <a:spLocks noGrp="1"/>
          </p:cNvSpPr>
          <p:nvPr>
            <p:ph type="pic" sz="quarter" idx="10" hasCustomPrompt="1"/>
          </p:nvPr>
        </p:nvSpPr>
        <p:spPr>
          <a:xfrm>
            <a:off x="0" y="0"/>
            <a:ext cx="12192000" cy="6858000"/>
          </a:xfrm>
          <a:custGeom>
            <a:avLst/>
            <a:gdLst>
              <a:gd name="connsiteX0" fmla="*/ 0 w 9144000"/>
              <a:gd name="connsiteY0" fmla="*/ 0 h 6858000"/>
              <a:gd name="connsiteX1" fmla="*/ 9144000 w 9144000"/>
              <a:gd name="connsiteY1" fmla="*/ 0 h 6858000"/>
              <a:gd name="connsiteX2" fmla="*/ 9144000 w 9144000"/>
              <a:gd name="connsiteY2" fmla="*/ 6858000 h 6858000"/>
              <a:gd name="connsiteX3" fmla="*/ 0 w 9144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9144000" h="6858000">
                <a:moveTo>
                  <a:pt x="0" y="0"/>
                </a:moveTo>
                <a:lnTo>
                  <a:pt x="9144000" y="0"/>
                </a:lnTo>
                <a:lnTo>
                  <a:pt x="9144000" y="6858000"/>
                </a:lnTo>
                <a:lnTo>
                  <a:pt x="0" y="6858000"/>
                </a:lnTo>
                <a:close/>
              </a:path>
            </a:pathLst>
          </a:custGeom>
          <a:solidFill>
            <a:schemeClr val="accent5">
              <a:lumMod val="60000"/>
              <a:lumOff val="40000"/>
            </a:schemeClr>
          </a:solidFill>
        </p:spPr>
        <p:txBody>
          <a:bodyPr wrap="square" rIns="432000" anchor="ctr">
            <a:noAutofit/>
          </a:bodyPr>
          <a:lstStyle>
            <a:lvl1pPr algn="r">
              <a:defRPr b="0">
                <a:solidFill>
                  <a:schemeClr val="bg1"/>
                </a:solidFill>
              </a:defRPr>
            </a:lvl1pPr>
          </a:lstStyle>
          <a:p>
            <a:r>
              <a:rPr lang="en-US"/>
              <a:t>Drag image onto slide to add photo</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1" y="0"/>
            <a:ext cx="4248743" cy="6858000"/>
          </a:xfrm>
          <a:gradFill>
            <a:gsLst>
              <a:gs pos="13000">
                <a:schemeClr val="accent1"/>
              </a:gs>
              <a:gs pos="97000">
                <a:schemeClr val="accent1">
                  <a:alpha val="80000"/>
                </a:schemeClr>
              </a:gs>
            </a:gsLst>
            <a:lin ang="5400000" scaled="0"/>
          </a:gradFill>
        </p:spPr>
        <p:txBody>
          <a:bodyPr lIns="576000" rIns="360000" bIns="360000" anchor="ctr"/>
          <a:lstStyle>
            <a:lvl1pPr marL="0" marR="0" indent="0" algn="l" defTabSz="914400" rtl="0" eaLnBrk="1" fontAlgn="auto" latinLnBrk="0" hangingPunct="1">
              <a:lnSpc>
                <a:spcPct val="90000"/>
              </a:lnSpc>
              <a:spcBef>
                <a:spcPts val="2400"/>
              </a:spcBef>
              <a:spcAft>
                <a:spcPts val="300"/>
              </a:spcAft>
              <a:buClrTx/>
              <a:buSzTx/>
              <a:buFont typeface="Wingdings" pitchFamily="2" charset="2"/>
              <a:buNone/>
              <a:tabLst/>
              <a:defRPr sz="4400">
                <a:solidFill>
                  <a:schemeClr val="bg1"/>
                </a:solidFill>
              </a:defRPr>
            </a:lvl1pPr>
            <a:lvl2pPr>
              <a:defRPr sz="1600">
                <a:solidFill>
                  <a:schemeClr val="bg1"/>
                </a:solidFill>
              </a:defRPr>
            </a:lvl2pPr>
            <a:lvl3pPr marL="0" indent="0">
              <a:buFontTx/>
              <a:buNone/>
              <a:defRPr sz="1600">
                <a:solidFill>
                  <a:schemeClr val="bg1"/>
                </a:solidFill>
              </a:defRPr>
            </a:lvl3pPr>
            <a:lvl4pPr marL="0" indent="0">
              <a:buFontTx/>
              <a:buNone/>
              <a:defRPr sz="1600">
                <a:solidFill>
                  <a:schemeClr val="bg1"/>
                </a:solidFill>
              </a:defRPr>
            </a:lvl4pPr>
            <a:lvl5pPr marL="0" indent="0">
              <a:buFontTx/>
              <a:buNone/>
              <a:defRPr sz="1600">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575733" y="6200775"/>
            <a:ext cx="3081867"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 </a:t>
            </a:r>
          </a:p>
          <a:p>
            <a:pPr lvl="1"/>
            <a:r>
              <a:rPr lang="en-US"/>
              <a:t>Footnotes – Levels 2-9 </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fld id="{078C017C-E1B9-8443-B047-B08AAA027B45}" type="slidenum">
              <a:rPr lang="en-US" smtClean="0"/>
              <a:pPr marL="12700"/>
              <a:t>‹#›</a:t>
            </a:fld>
            <a:endParaRPr lang="en-US"/>
          </a:p>
        </p:txBody>
      </p:sp>
      <p:grpSp>
        <p:nvGrpSpPr>
          <p:cNvPr id="7" name="Group 6">
            <a:extLst>
              <a:ext uri="{FF2B5EF4-FFF2-40B4-BE49-F238E27FC236}">
                <a16:creationId xmlns:a16="http://schemas.microsoft.com/office/drawing/2014/main" id="{77197522-BF99-8445-8C68-D6578288AD2D}"/>
              </a:ext>
            </a:extLst>
          </p:cNvPr>
          <p:cNvGrpSpPr/>
          <p:nvPr userDrawn="1"/>
        </p:nvGrpSpPr>
        <p:grpSpPr>
          <a:xfrm>
            <a:off x="12532244" y="-2"/>
            <a:ext cx="2979899" cy="9689553"/>
            <a:chOff x="9399182" y="-2"/>
            <a:chExt cx="2961715" cy="9689553"/>
          </a:xfrm>
        </p:grpSpPr>
        <p:sp>
          <p:nvSpPr>
            <p:cNvPr id="114" name="Rectangle 113">
              <a:extLst>
                <a:ext uri="{FF2B5EF4-FFF2-40B4-BE49-F238E27FC236}">
                  <a16:creationId xmlns:a16="http://schemas.microsoft.com/office/drawing/2014/main" id="{058DECCA-09EF-5C43-8453-6890A89614B0}"/>
                </a:ext>
              </a:extLst>
            </p:cNvPr>
            <p:cNvSpPr/>
            <p:nvPr userDrawn="1"/>
          </p:nvSpPr>
          <p:spPr>
            <a:xfrm>
              <a:off x="9399182" y="-2"/>
              <a:ext cx="2798651" cy="951547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162" name="Picture 161">
              <a:extLst>
                <a:ext uri="{FF2B5EF4-FFF2-40B4-BE49-F238E27FC236}">
                  <a16:creationId xmlns:a16="http://schemas.microsoft.com/office/drawing/2014/main" id="{512A7C54-DE21-4344-96B4-6CF162E7EF9F}"/>
                </a:ext>
              </a:extLst>
            </p:cNvPr>
            <p:cNvPicPr>
              <a:picLocks noChangeAspect="1"/>
            </p:cNvPicPr>
            <p:nvPr userDrawn="1"/>
          </p:nvPicPr>
          <p:blipFill rotWithShape="1">
            <a:blip r:embed="rId2"/>
            <a:srcRect t="18182" r="54279" b="28233"/>
            <a:stretch/>
          </p:blipFill>
          <p:spPr>
            <a:xfrm>
              <a:off x="9558506" y="1325046"/>
              <a:ext cx="2639326" cy="784740"/>
            </a:xfrm>
            <a:prstGeom prst="rect">
              <a:avLst/>
            </a:prstGeom>
          </p:spPr>
        </p:pic>
        <p:sp>
          <p:nvSpPr>
            <p:cNvPr id="154" name="Rectangle 153">
              <a:extLst>
                <a:ext uri="{FF2B5EF4-FFF2-40B4-BE49-F238E27FC236}">
                  <a16:creationId xmlns:a16="http://schemas.microsoft.com/office/drawing/2014/main" id="{21F4F9E6-E172-8440-B1C2-D5D4BD628238}"/>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55" name="TextBox 154">
              <a:extLst>
                <a:ext uri="{FF2B5EF4-FFF2-40B4-BE49-F238E27FC236}">
                  <a16:creationId xmlns:a16="http://schemas.microsoft.com/office/drawing/2014/main" id="{9C96D69A-1828-5C46-BC13-9C94FCBFE241}"/>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 Access programmed text formats by using the ‘Indent More’ button to change the indent level. </a:t>
              </a:r>
            </a:p>
          </p:txBody>
        </p:sp>
        <p:pic>
          <p:nvPicPr>
            <p:cNvPr id="156" name="Picture 155">
              <a:extLst>
                <a:ext uri="{FF2B5EF4-FFF2-40B4-BE49-F238E27FC236}">
                  <a16:creationId xmlns:a16="http://schemas.microsoft.com/office/drawing/2014/main" id="{8103D77D-8415-7749-BCBB-4905B395A710}"/>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33" name="TextBox 132">
              <a:extLst>
                <a:ext uri="{FF2B5EF4-FFF2-40B4-BE49-F238E27FC236}">
                  <a16:creationId xmlns:a16="http://schemas.microsoft.com/office/drawing/2014/main" id="{A1DB698E-0CEF-AD45-8121-4CD4E026F6C2}"/>
                </a:ext>
              </a:extLst>
            </p:cNvPr>
            <p:cNvSpPr txBox="1"/>
            <p:nvPr userDrawn="1"/>
          </p:nvSpPr>
          <p:spPr>
            <a:xfrm>
              <a:off x="9558507" y="1119891"/>
              <a:ext cx="173485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 TEXT FORMATS IN THIS LAYOUT </a:t>
              </a:r>
            </a:p>
          </p:txBody>
        </p:sp>
        <p:cxnSp>
          <p:nvCxnSpPr>
            <p:cNvPr id="134" name="Straight Connector 133">
              <a:extLst>
                <a:ext uri="{FF2B5EF4-FFF2-40B4-BE49-F238E27FC236}">
                  <a16:creationId xmlns:a16="http://schemas.microsoft.com/office/drawing/2014/main" id="{E884F550-2205-3843-81FA-454481A85FD7}"/>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12E1247F-233F-F94C-98B1-C8EC05E1729D}"/>
                </a:ext>
              </a:extLst>
            </p:cNvPr>
            <p:cNvGrpSpPr/>
            <p:nvPr userDrawn="1"/>
          </p:nvGrpSpPr>
          <p:grpSpPr>
            <a:xfrm>
              <a:off x="9521833" y="2253495"/>
              <a:ext cx="2754815" cy="7436056"/>
              <a:chOff x="9521833" y="2531409"/>
              <a:chExt cx="2754815" cy="7436056"/>
            </a:xfrm>
          </p:grpSpPr>
          <p:sp>
            <p:nvSpPr>
              <p:cNvPr id="116" name="TextBox 115">
                <a:extLst>
                  <a:ext uri="{FF2B5EF4-FFF2-40B4-BE49-F238E27FC236}">
                    <a16:creationId xmlns:a16="http://schemas.microsoft.com/office/drawing/2014/main" id="{E8B2BC36-E252-F449-91B0-E44A4C6E88AC}"/>
                  </a:ext>
                </a:extLst>
              </p:cNvPr>
              <p:cNvSpPr txBox="1"/>
              <p:nvPr userDrawn="1"/>
            </p:nvSpPr>
            <p:spPr>
              <a:xfrm>
                <a:off x="9558507" y="3953640"/>
                <a:ext cx="129121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 HOW TO ADD AN IMAGE </a:t>
                </a:r>
              </a:p>
            </p:txBody>
          </p:sp>
          <p:cxnSp>
            <p:nvCxnSpPr>
              <p:cNvPr id="117" name="Straight Connector 116">
                <a:extLst>
                  <a:ext uri="{FF2B5EF4-FFF2-40B4-BE49-F238E27FC236}">
                    <a16:creationId xmlns:a16="http://schemas.microsoft.com/office/drawing/2014/main" id="{828801CA-93C8-9E4C-AB3C-451F07B6D7FB}"/>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5B9A3BF-AC32-DA42-A161-4BB2E2281D4D}"/>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 Method 1: </a:t>
                </a:r>
                <a:r>
                  <a:rPr lang="en-US" sz="600" b="0"/>
                  <a:t> from file browser </a:t>
                </a:r>
              </a:p>
              <a:p>
                <a:pPr lvl="1">
                  <a:buNone/>
                </a:pPr>
                <a:r>
                  <a:rPr lang="en-US" sz="1050"/>
                  <a:t> Drag the image onto the slide. </a:t>
                </a:r>
              </a:p>
            </p:txBody>
          </p:sp>
          <p:sp>
            <p:nvSpPr>
              <p:cNvPr id="148" name="Rectangle 147">
                <a:extLst>
                  <a:ext uri="{FF2B5EF4-FFF2-40B4-BE49-F238E27FC236}">
                    <a16:creationId xmlns:a16="http://schemas.microsoft.com/office/drawing/2014/main" id="{924F2A4D-5E0A-1240-8BED-C913FAAFD6F2}"/>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49" name="TextBox 148">
                <a:extLst>
                  <a:ext uri="{FF2B5EF4-FFF2-40B4-BE49-F238E27FC236}">
                    <a16:creationId xmlns:a16="http://schemas.microsoft.com/office/drawing/2014/main" id="{8A3C99CB-E95A-B74E-BE7F-0792FAF9671D}"/>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 TIP: Change Image </a:t>
                </a:r>
              </a:p>
            </p:txBody>
          </p:sp>
          <p:pic>
            <p:nvPicPr>
              <p:cNvPr id="150" name="Graphic 149">
                <a:extLst>
                  <a:ext uri="{FF2B5EF4-FFF2-40B4-BE49-F238E27FC236}">
                    <a16:creationId xmlns:a16="http://schemas.microsoft.com/office/drawing/2014/main" id="{9D2838B6-04DF-EB45-9DD9-3C36BB13157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151" name="TextBox 150">
                <a:extLst>
                  <a:ext uri="{FF2B5EF4-FFF2-40B4-BE49-F238E27FC236}">
                    <a16:creationId xmlns:a16="http://schemas.microsoft.com/office/drawing/2014/main" id="{C2A77126-7E90-1843-AE86-D347F2D075EE}"/>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 Deleting the image may bring the image placeholder to the top layer. Right-click on the placeholder and choose “Send to Back”. </a:t>
                </a:r>
              </a:p>
            </p:txBody>
          </p:sp>
          <p:sp>
            <p:nvSpPr>
              <p:cNvPr id="152" name="TextBox 151">
                <a:extLst>
                  <a:ext uri="{FF2B5EF4-FFF2-40B4-BE49-F238E27FC236}">
                    <a16:creationId xmlns:a16="http://schemas.microsoft.com/office/drawing/2014/main" id="{0FAD37BE-7E80-0046-A61C-0B15F860162C}"/>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 First, delete the existing image to reset the photo placeholder functionality. </a:t>
                </a:r>
              </a:p>
            </p:txBody>
          </p:sp>
          <p:sp>
            <p:nvSpPr>
              <p:cNvPr id="153" name="TextBox 152">
                <a:extLst>
                  <a:ext uri="{FF2B5EF4-FFF2-40B4-BE49-F238E27FC236}">
                    <a16:creationId xmlns:a16="http://schemas.microsoft.com/office/drawing/2014/main" id="{5B98A223-2512-6C4D-87C9-B2267FF7CCD9}"/>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 You can now add a new image as normal. </a:t>
                </a:r>
              </a:p>
            </p:txBody>
          </p:sp>
          <p:sp>
            <p:nvSpPr>
              <p:cNvPr id="138" name="Rectangle 137">
                <a:extLst>
                  <a:ext uri="{FF2B5EF4-FFF2-40B4-BE49-F238E27FC236}">
                    <a16:creationId xmlns:a16="http://schemas.microsoft.com/office/drawing/2014/main" id="{330B2B4B-905D-9A46-A3F8-DF5095A8A808}"/>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44" name="TextBox 143">
                <a:extLst>
                  <a:ext uri="{FF2B5EF4-FFF2-40B4-BE49-F238E27FC236}">
                    <a16:creationId xmlns:a16="http://schemas.microsoft.com/office/drawing/2014/main" id="{2150B26E-162C-6547-A215-96C9E1F3D965}"/>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 TIP: Crop Image </a:t>
                </a:r>
              </a:p>
            </p:txBody>
          </p:sp>
          <p:pic>
            <p:nvPicPr>
              <p:cNvPr id="145" name="Graphic 144">
                <a:extLst>
                  <a:ext uri="{FF2B5EF4-FFF2-40B4-BE49-F238E27FC236}">
                    <a16:creationId xmlns:a16="http://schemas.microsoft.com/office/drawing/2014/main" id="{B7C5CED2-A0E3-BC4E-91D6-56BB03F90E1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146" name="TextBox 145">
                <a:extLst>
                  <a:ext uri="{FF2B5EF4-FFF2-40B4-BE49-F238E27FC236}">
                    <a16:creationId xmlns:a16="http://schemas.microsoft.com/office/drawing/2014/main" id="{BF216341-3721-3F4D-8307-92E095EF4A01}"/>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 Right-click on the image. </a:t>
                </a:r>
              </a:p>
              <a:p>
                <a:pPr lvl="1">
                  <a:defRPr/>
                </a:pPr>
                <a:r>
                  <a:rPr lang="en-US" sz="900" kern="1200">
                    <a:solidFill>
                      <a:schemeClr val="tx1">
                        <a:lumMod val="50000"/>
                        <a:lumOff val="50000"/>
                      </a:schemeClr>
                    </a:solidFill>
                    <a:latin typeface="Arial" charset="0"/>
                    <a:cs typeface="Arial" charset="0"/>
                  </a:rPr>
                  <a:t> Choose “Crop” from the menu. ( ) </a:t>
                </a:r>
              </a:p>
              <a:p>
                <a:pPr lvl="1">
                  <a:defRPr/>
                </a:pPr>
                <a:r>
                  <a:rPr lang="en-US" sz="900" kern="1200">
                    <a:solidFill>
                      <a:schemeClr val="tx1">
                        <a:lumMod val="50000"/>
                        <a:lumOff val="50000"/>
                      </a:schemeClr>
                    </a:solidFill>
                    <a:latin typeface="Arial" charset="0"/>
                    <a:cs typeface="Arial" charset="0"/>
                  </a:rPr>
                  <a:t> Adjust the size and position of the image. </a:t>
                </a:r>
              </a:p>
              <a:p>
                <a:pPr lvl="1">
                  <a:defRPr/>
                </a:pPr>
                <a:r>
                  <a:rPr lang="en-US" sz="900" kern="1200">
                    <a:solidFill>
                      <a:schemeClr val="tx1">
                        <a:lumMod val="50000"/>
                        <a:lumOff val="50000"/>
                      </a:schemeClr>
                    </a:solidFill>
                    <a:latin typeface="Arial" charset="0"/>
                    <a:cs typeface="Arial" charset="0"/>
                  </a:rPr>
                  <a:t> Press Esc or click outside the image area to exit the cropping mode. </a:t>
                </a:r>
              </a:p>
            </p:txBody>
          </p:sp>
          <p:pic>
            <p:nvPicPr>
              <p:cNvPr id="147" name="Picture 146">
                <a:extLst>
                  <a:ext uri="{FF2B5EF4-FFF2-40B4-BE49-F238E27FC236}">
                    <a16:creationId xmlns:a16="http://schemas.microsoft.com/office/drawing/2014/main" id="{06858368-B053-6843-9D5C-3B4B3F349159}"/>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135" name="TextBox 134">
                <a:extLst>
                  <a:ext uri="{FF2B5EF4-FFF2-40B4-BE49-F238E27FC236}">
                    <a16:creationId xmlns:a16="http://schemas.microsoft.com/office/drawing/2014/main" id="{E31E6EE2-4F47-504B-B3F7-9B15B3C8AF25}"/>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 1 </a:t>
                </a:r>
              </a:p>
            </p:txBody>
          </p:sp>
          <p:sp>
            <p:nvSpPr>
              <p:cNvPr id="136" name="TextBox 135">
                <a:extLst>
                  <a:ext uri="{FF2B5EF4-FFF2-40B4-BE49-F238E27FC236}">
                    <a16:creationId xmlns:a16="http://schemas.microsoft.com/office/drawing/2014/main" id="{349068D4-361C-5C46-A532-3801C2F1365D}"/>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 2 </a:t>
                </a:r>
              </a:p>
            </p:txBody>
          </p:sp>
          <p:sp>
            <p:nvSpPr>
              <p:cNvPr id="137" name="TextBox 136">
                <a:extLst>
                  <a:ext uri="{FF2B5EF4-FFF2-40B4-BE49-F238E27FC236}">
                    <a16:creationId xmlns:a16="http://schemas.microsoft.com/office/drawing/2014/main" id="{F2DCEAA6-A668-EA47-BC03-B82CE31AF08C}"/>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 Select and download images from the Marketing Resource Database. </a:t>
                </a:r>
              </a:p>
              <a:p>
                <a:pPr lvl="0"/>
                <a:r>
                  <a:rPr lang="en-US" sz="1050"/>
                  <a:t> Add the image to the placeholder. </a:t>
                </a:r>
              </a:p>
            </p:txBody>
          </p:sp>
          <p:sp>
            <p:nvSpPr>
              <p:cNvPr id="122" name="TextBox 121">
                <a:extLst>
                  <a:ext uri="{FF2B5EF4-FFF2-40B4-BE49-F238E27FC236}">
                    <a16:creationId xmlns:a16="http://schemas.microsoft.com/office/drawing/2014/main" id="{488662D1-77FE-D34D-BFA8-B58A59DB47EA}"/>
                  </a:ext>
                </a:extLst>
              </p:cNvPr>
              <p:cNvSpPr txBox="1"/>
              <p:nvPr userDrawn="1"/>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 Note: If there are multiple image placeholders on the slide, select the intended placeholder before dragging in the image to let PowerPoint know where you want it. </a:t>
                </a:r>
              </a:p>
            </p:txBody>
          </p:sp>
          <p:sp>
            <p:nvSpPr>
              <p:cNvPr id="123" name="TextBox 122">
                <a:extLst>
                  <a:ext uri="{FF2B5EF4-FFF2-40B4-BE49-F238E27FC236}">
                    <a16:creationId xmlns:a16="http://schemas.microsoft.com/office/drawing/2014/main" id="{10E9AA29-096E-D54C-95D4-EFDFFD7CC612}"/>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 Method 2: </a:t>
                </a:r>
                <a:r>
                  <a:rPr lang="en-US" sz="600" b="0"/>
                  <a:t> Paste from clipboard </a:t>
                </a:r>
              </a:p>
              <a:p>
                <a:pPr lvl="1">
                  <a:buNone/>
                </a:pPr>
                <a:r>
                  <a:rPr lang="en-US" sz="1050"/>
                  <a:t> Select the image placeholder. </a:t>
                </a:r>
              </a:p>
              <a:p>
                <a:pPr lvl="1">
                  <a:buNone/>
                </a:pPr>
                <a:r>
                  <a:rPr lang="en-US" sz="1050"/>
                  <a:t> Right-click or use keyboard shortcuts to paste the image. </a:t>
                </a:r>
              </a:p>
            </p:txBody>
          </p:sp>
          <p:sp>
            <p:nvSpPr>
              <p:cNvPr id="124" name="TextBox 123">
                <a:extLst>
                  <a:ext uri="{FF2B5EF4-FFF2-40B4-BE49-F238E27FC236}">
                    <a16:creationId xmlns:a16="http://schemas.microsoft.com/office/drawing/2014/main" id="{0B4A71BF-5B38-0644-8E4F-605A80E979B2}"/>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 Method 3: </a:t>
                </a:r>
                <a:r>
                  <a:rPr lang="en-US" sz="600" b="0"/>
                  <a:t> Placeholder icon </a:t>
                </a:r>
              </a:p>
              <a:p>
                <a:pPr lvl="1">
                  <a:buNone/>
                </a:pPr>
                <a:r>
                  <a:rPr lang="en-US" sz="1050"/>
                  <a:t> Click the image icon inside the placeholder to browse for an image. </a:t>
                </a:r>
              </a:p>
            </p:txBody>
          </p:sp>
          <p:sp>
            <p:nvSpPr>
              <p:cNvPr id="125" name="TextBox 124">
                <a:extLst>
                  <a:ext uri="{FF2B5EF4-FFF2-40B4-BE49-F238E27FC236}">
                    <a16:creationId xmlns:a16="http://schemas.microsoft.com/office/drawing/2014/main" id="{2A674F33-12AC-0340-BFB9-C1CA46F83893}"/>
                  </a:ext>
                </a:extLst>
              </p:cNvPr>
              <p:cNvSpPr txBox="1"/>
              <p:nvPr userDrawn="1"/>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 Note: This icon may be covered by another element. </a:t>
                </a:r>
                <a:br>
                  <a:rPr lang="en-US" sz="700"/>
                </a:br>
                <a:r>
                  <a:rPr lang="en-US" sz="700"/>
                  <a:t> In this case use one of the other methods. </a:t>
                </a:r>
              </a:p>
            </p:txBody>
          </p:sp>
          <p:sp>
            <p:nvSpPr>
              <p:cNvPr id="129" name="Rectangle 128">
                <a:extLst>
                  <a:ext uri="{FF2B5EF4-FFF2-40B4-BE49-F238E27FC236}">
                    <a16:creationId xmlns:a16="http://schemas.microsoft.com/office/drawing/2014/main" id="{318F2069-729F-9B4A-8445-081E2247CBB1}"/>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0" name="TextBox 129">
                <a:extLst>
                  <a:ext uri="{FF2B5EF4-FFF2-40B4-BE49-F238E27FC236}">
                    <a16:creationId xmlns:a16="http://schemas.microsoft.com/office/drawing/2014/main" id="{905C9F4A-8864-BA4C-B90C-28BC8E5E724C}"/>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 TIP: Adjust overlay text box size </a:t>
                </a:r>
              </a:p>
            </p:txBody>
          </p:sp>
          <p:pic>
            <p:nvPicPr>
              <p:cNvPr id="131" name="Graphic 130">
                <a:extLst>
                  <a:ext uri="{FF2B5EF4-FFF2-40B4-BE49-F238E27FC236}">
                    <a16:creationId xmlns:a16="http://schemas.microsoft.com/office/drawing/2014/main" id="{F23C5373-D4CD-5047-843F-B92DB290985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32" name="TextBox 131">
                <a:extLst>
                  <a:ext uri="{FF2B5EF4-FFF2-40B4-BE49-F238E27FC236}">
                    <a16:creationId xmlns:a16="http://schemas.microsoft.com/office/drawing/2014/main" id="{C0F58EBC-DF0A-A441-813C-62553D74D316}"/>
                  </a:ext>
                </a:extLst>
              </p:cNvPr>
              <p:cNvSpPr txBox="1"/>
              <p:nvPr userDrawn="1"/>
            </p:nvSpPr>
            <p:spPr>
              <a:xfrm>
                <a:off x="9701720" y="2924393"/>
                <a:ext cx="2214055" cy="53707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 If extra space is required for content, use the size handle on this shape to extend the right edge of the shape to the “2/3rds” slide ruler mark. </a:t>
                </a:r>
              </a:p>
              <a:p>
                <a:pPr lvl="1">
                  <a:defRPr/>
                </a:pPr>
                <a:r>
                  <a:rPr lang="en-US" sz="900" kern="1200">
                    <a:solidFill>
                      <a:schemeClr val="tx1">
                        <a:lumMod val="50000"/>
                        <a:lumOff val="50000"/>
                      </a:schemeClr>
                    </a:solidFill>
                    <a:latin typeface="Arial" charset="0"/>
                    <a:cs typeface="Arial" charset="0"/>
                  </a:rPr>
                  <a:t> Turn on guides (View &gt; Guides) to enable snapping. </a:t>
                </a:r>
              </a:p>
            </p:txBody>
          </p:sp>
        </p:grpSp>
      </p:grpSp>
      <p:sp>
        <p:nvSpPr>
          <p:cNvPr id="500" name="Caption">
            <a:extLst>
              <a:ext uri="{FF2B5EF4-FFF2-40B4-BE49-F238E27FC236}">
                <a16:creationId xmlns:a16="http://schemas.microsoft.com/office/drawing/2014/main" id="{C8FA2963-29D5-4B4C-9DB5-0731074098A4}"/>
              </a:ext>
            </a:extLst>
          </p:cNvPr>
          <p:cNvSpPr>
            <a:spLocks noGrp="1"/>
          </p:cNvSpPr>
          <p:nvPr>
            <p:ph type="body" sz="quarter" idx="500" hasCustomPrompt="1"/>
          </p:nvPr>
        </p:nvSpPr>
        <p:spPr>
          <a:xfrm>
            <a:off x="7947046" y="6200776"/>
            <a:ext cx="3657167"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grpSp>
        <p:nvGrpSpPr>
          <p:cNvPr id="103" name="Group 102">
            <a:extLst>
              <a:ext uri="{FF2B5EF4-FFF2-40B4-BE49-F238E27FC236}">
                <a16:creationId xmlns:a16="http://schemas.microsoft.com/office/drawing/2014/main" id="{D3B7D0B9-BB85-9A41-A49B-A2B7F00AD6D1}"/>
              </a:ext>
            </a:extLst>
          </p:cNvPr>
          <p:cNvGrpSpPr/>
          <p:nvPr userDrawn="1"/>
        </p:nvGrpSpPr>
        <p:grpSpPr>
          <a:xfrm>
            <a:off x="-266701" y="-246933"/>
            <a:ext cx="12724248" cy="7348688"/>
            <a:chOff x="-266701" y="-246933"/>
            <a:chExt cx="12724248" cy="7348688"/>
          </a:xfrm>
        </p:grpSpPr>
        <p:grpSp>
          <p:nvGrpSpPr>
            <p:cNvPr id="105" name="Group 104">
              <a:extLst>
                <a:ext uri="{FF2B5EF4-FFF2-40B4-BE49-F238E27FC236}">
                  <a16:creationId xmlns:a16="http://schemas.microsoft.com/office/drawing/2014/main" id="{B7D8906A-90CC-394E-934F-B9DAD0BB22B6}"/>
                </a:ext>
              </a:extLst>
            </p:cNvPr>
            <p:cNvGrpSpPr/>
            <p:nvPr userDrawn="1"/>
          </p:nvGrpSpPr>
          <p:grpSpPr>
            <a:xfrm>
              <a:off x="-266701" y="417981"/>
              <a:ext cx="12724248" cy="6286918"/>
              <a:chOff x="-266701" y="417981"/>
              <a:chExt cx="12724248" cy="6286918"/>
            </a:xfrm>
          </p:grpSpPr>
          <p:cxnSp>
            <p:nvCxnSpPr>
              <p:cNvPr id="170" name="Straight Connector 169">
                <a:extLst>
                  <a:ext uri="{FF2B5EF4-FFF2-40B4-BE49-F238E27FC236}">
                    <a16:creationId xmlns:a16="http://schemas.microsoft.com/office/drawing/2014/main" id="{B1D121C5-7BB0-1E4A-B6DE-3F43333599D6}"/>
                  </a:ext>
                </a:extLst>
              </p:cNvPr>
              <p:cNvCxnSpPr>
                <a:cxnSpLocks/>
              </p:cNvCxnSpPr>
              <p:nvPr userDrawn="1"/>
            </p:nvCxnSpPr>
            <p:spPr>
              <a:xfrm rot="16200000" flipV="1">
                <a:off x="-137018" y="291969"/>
                <a:ext cx="0" cy="259364"/>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71" name="Group 170">
                <a:extLst>
                  <a:ext uri="{FF2B5EF4-FFF2-40B4-BE49-F238E27FC236}">
                    <a16:creationId xmlns:a16="http://schemas.microsoft.com/office/drawing/2014/main" id="{9D0D8D77-FA67-7947-9B73-58A4EFF86748}"/>
                  </a:ext>
                </a:extLst>
              </p:cNvPr>
              <p:cNvGrpSpPr/>
              <p:nvPr userDrawn="1"/>
            </p:nvGrpSpPr>
            <p:grpSpPr>
              <a:xfrm>
                <a:off x="-266700" y="6199390"/>
                <a:ext cx="259364" cy="505509"/>
                <a:chOff x="-256403" y="6200775"/>
                <a:chExt cx="251461" cy="505509"/>
              </a:xfrm>
            </p:grpSpPr>
            <p:grpSp>
              <p:nvGrpSpPr>
                <p:cNvPr id="184" name="Group 183">
                  <a:extLst>
                    <a:ext uri="{FF2B5EF4-FFF2-40B4-BE49-F238E27FC236}">
                      <a16:creationId xmlns:a16="http://schemas.microsoft.com/office/drawing/2014/main" id="{AE3A1104-D1E2-C843-B769-7747DCA71406}"/>
                    </a:ext>
                  </a:extLst>
                </p:cNvPr>
                <p:cNvGrpSpPr/>
                <p:nvPr userDrawn="1"/>
              </p:nvGrpSpPr>
              <p:grpSpPr>
                <a:xfrm rot="16200000">
                  <a:off x="-383427" y="6327799"/>
                  <a:ext cx="505509" cy="251461"/>
                  <a:chOff x="431800" y="-235792"/>
                  <a:chExt cx="4400551" cy="235792"/>
                </a:xfrm>
              </p:grpSpPr>
              <p:cxnSp>
                <p:nvCxnSpPr>
                  <p:cNvPr id="186" name="Straight Connector 185">
                    <a:extLst>
                      <a:ext uri="{FF2B5EF4-FFF2-40B4-BE49-F238E27FC236}">
                        <a16:creationId xmlns:a16="http://schemas.microsoft.com/office/drawing/2014/main" id="{BA9E6879-E207-C848-879E-893354B6C27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7" name="Straight Connector 186">
                    <a:extLst>
                      <a:ext uri="{FF2B5EF4-FFF2-40B4-BE49-F238E27FC236}">
                        <a16:creationId xmlns:a16="http://schemas.microsoft.com/office/drawing/2014/main" id="{F7C55215-009F-7645-BEEE-5CA14A67CD2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8" name="Rectangle 187">
                    <a:extLst>
                      <a:ext uri="{FF2B5EF4-FFF2-40B4-BE49-F238E27FC236}">
                        <a16:creationId xmlns:a16="http://schemas.microsoft.com/office/drawing/2014/main" id="{5D3AAC04-1B0F-C643-86F5-33A59249F83C}"/>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185" name="TextBox 184">
                  <a:extLst>
                    <a:ext uri="{FF2B5EF4-FFF2-40B4-BE49-F238E27FC236}">
                      <a16:creationId xmlns:a16="http://schemas.microsoft.com/office/drawing/2014/main" id="{4441BE48-BEE4-224C-9DD5-AB14E6B57C89}"/>
                    </a:ext>
                  </a:extLst>
                </p:cNvPr>
                <p:cNvSpPr txBox="1"/>
                <p:nvPr userDrawn="1"/>
              </p:nvSpPr>
              <p:spPr>
                <a:xfrm rot="16200000">
                  <a:off x="-284561" y="6399801"/>
                  <a:ext cx="307777" cy="129266"/>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FOOT</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NOTES</a:t>
                  </a:r>
                </a:p>
              </p:txBody>
            </p:sp>
          </p:grpSp>
          <p:grpSp>
            <p:nvGrpSpPr>
              <p:cNvPr id="172" name="Group 171">
                <a:extLst>
                  <a:ext uri="{FF2B5EF4-FFF2-40B4-BE49-F238E27FC236}">
                    <a16:creationId xmlns:a16="http://schemas.microsoft.com/office/drawing/2014/main" id="{7C2B8E79-D8EA-E947-BCD5-BB8FA743A710}"/>
                  </a:ext>
                </a:extLst>
              </p:cNvPr>
              <p:cNvGrpSpPr/>
              <p:nvPr userDrawn="1"/>
            </p:nvGrpSpPr>
            <p:grpSpPr>
              <a:xfrm>
                <a:off x="-266701" y="417981"/>
                <a:ext cx="259364" cy="5746484"/>
                <a:chOff x="-256404" y="503932"/>
                <a:chExt cx="251461" cy="5644208"/>
              </a:xfrm>
            </p:grpSpPr>
            <p:grpSp>
              <p:nvGrpSpPr>
                <p:cNvPr id="178" name="Group 177">
                  <a:extLst>
                    <a:ext uri="{FF2B5EF4-FFF2-40B4-BE49-F238E27FC236}">
                      <a16:creationId xmlns:a16="http://schemas.microsoft.com/office/drawing/2014/main" id="{FD0DA0AE-405B-AB49-8A6C-0138BC88F7BE}"/>
                    </a:ext>
                  </a:extLst>
                </p:cNvPr>
                <p:cNvGrpSpPr/>
                <p:nvPr userDrawn="1"/>
              </p:nvGrpSpPr>
              <p:grpSpPr>
                <a:xfrm rot="16200000">
                  <a:off x="-2952777" y="3200305"/>
                  <a:ext cx="5644208" cy="251461"/>
                  <a:chOff x="431799" y="-235793"/>
                  <a:chExt cx="5128334" cy="235792"/>
                </a:xfrm>
              </p:grpSpPr>
              <p:cxnSp>
                <p:nvCxnSpPr>
                  <p:cNvPr id="182" name="Straight Connector 181">
                    <a:extLst>
                      <a:ext uri="{FF2B5EF4-FFF2-40B4-BE49-F238E27FC236}">
                        <a16:creationId xmlns:a16="http://schemas.microsoft.com/office/drawing/2014/main" id="{9BC19DBE-F4EE-F248-9CEB-F653530C83D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3" name="Rectangle 182">
                    <a:extLst>
                      <a:ext uri="{FF2B5EF4-FFF2-40B4-BE49-F238E27FC236}">
                        <a16:creationId xmlns:a16="http://schemas.microsoft.com/office/drawing/2014/main" id="{091F49DF-FAFE-7F4D-82F6-5CC7EC037A76}"/>
                      </a:ext>
                    </a:extLst>
                  </p:cNvPr>
                  <p:cNvSpPr/>
                  <p:nvPr userDrawn="1"/>
                </p:nvSpPr>
                <p:spPr>
                  <a:xfrm rot="5400000">
                    <a:off x="2878070" y="-2682064"/>
                    <a:ext cx="235791" cy="5128334"/>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179" name="TextBox 178">
                  <a:extLst>
                    <a:ext uri="{FF2B5EF4-FFF2-40B4-BE49-F238E27FC236}">
                      <a16:creationId xmlns:a16="http://schemas.microsoft.com/office/drawing/2014/main" id="{C415AEA6-8C7C-5247-9B47-B9DE0A731CEA}"/>
                    </a:ext>
                  </a:extLst>
                </p:cNvPr>
                <p:cNvSpPr txBox="1"/>
                <p:nvPr userDrawn="1"/>
              </p:nvSpPr>
              <p:spPr>
                <a:xfrm rot="16200000">
                  <a:off x="-991957" y="3304120"/>
                  <a:ext cx="1722572" cy="8079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180" name="Straight Arrow Connector 179">
                  <a:extLst>
                    <a:ext uri="{FF2B5EF4-FFF2-40B4-BE49-F238E27FC236}">
                      <a16:creationId xmlns:a16="http://schemas.microsoft.com/office/drawing/2014/main" id="{E704F2E0-90B5-B94A-903D-D7BEE7383E6C}"/>
                    </a:ext>
                  </a:extLst>
                </p:cNvPr>
                <p:cNvCxnSpPr>
                  <a:cxnSpLocks/>
                  <a:stCxn id="179" idx="1"/>
                </p:cNvCxnSpPr>
                <p:nvPr userDrawn="1"/>
              </p:nvCxnSpPr>
              <p:spPr>
                <a:xfrm flipH="1">
                  <a:off x="-130671" y="4205802"/>
                  <a:ext cx="1" cy="156032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81" name="Straight Arrow Connector 180">
                  <a:extLst>
                    <a:ext uri="{FF2B5EF4-FFF2-40B4-BE49-F238E27FC236}">
                      <a16:creationId xmlns:a16="http://schemas.microsoft.com/office/drawing/2014/main" id="{1DDD0B3B-3F7F-B74A-8953-27B972320577}"/>
                    </a:ext>
                  </a:extLst>
                </p:cNvPr>
                <p:cNvCxnSpPr>
                  <a:cxnSpLocks/>
                  <a:stCxn id="179" idx="3"/>
                  <a:endCxn id="183" idx="0"/>
                </p:cNvCxnSpPr>
                <p:nvPr userDrawn="1"/>
              </p:nvCxnSpPr>
              <p:spPr>
                <a:xfrm flipH="1" flipV="1">
                  <a:off x="-130672" y="503932"/>
                  <a:ext cx="1" cy="1979298"/>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cxnSp>
            <p:nvCxnSpPr>
              <p:cNvPr id="173" name="Straight Connector 172">
                <a:extLst>
                  <a:ext uri="{FF2B5EF4-FFF2-40B4-BE49-F238E27FC236}">
                    <a16:creationId xmlns:a16="http://schemas.microsoft.com/office/drawing/2014/main" id="{F0F8953E-D4E6-B747-BB63-647704B93CA3}"/>
                  </a:ext>
                </a:extLst>
              </p:cNvPr>
              <p:cNvCxnSpPr>
                <a:cxnSpLocks/>
              </p:cNvCxnSpPr>
              <p:nvPr userDrawn="1"/>
            </p:nvCxnSpPr>
            <p:spPr>
              <a:xfrm rot="16200000" flipV="1">
                <a:off x="12327866" y="291969"/>
                <a:ext cx="0" cy="25936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74" name="Group 173">
                <a:extLst>
                  <a:ext uri="{FF2B5EF4-FFF2-40B4-BE49-F238E27FC236}">
                    <a16:creationId xmlns:a16="http://schemas.microsoft.com/office/drawing/2014/main" id="{7774C869-A705-3A40-B52C-2C72B884CE03}"/>
                  </a:ext>
                </a:extLst>
              </p:cNvPr>
              <p:cNvGrpSpPr/>
              <p:nvPr userDrawn="1"/>
            </p:nvGrpSpPr>
            <p:grpSpPr>
              <a:xfrm rot="16200000">
                <a:off x="12075109" y="6322462"/>
                <a:ext cx="505509" cy="259364"/>
                <a:chOff x="431801" y="-235792"/>
                <a:chExt cx="4400550" cy="235792"/>
              </a:xfrm>
            </p:grpSpPr>
            <p:cxnSp>
              <p:nvCxnSpPr>
                <p:cNvPr id="176" name="Straight Connector 175">
                  <a:extLst>
                    <a:ext uri="{FF2B5EF4-FFF2-40B4-BE49-F238E27FC236}">
                      <a16:creationId xmlns:a16="http://schemas.microsoft.com/office/drawing/2014/main" id="{DFD652F6-713C-3E49-ADFA-054A1E4C312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7" name="Straight Connector 176">
                  <a:extLst>
                    <a:ext uri="{FF2B5EF4-FFF2-40B4-BE49-F238E27FC236}">
                      <a16:creationId xmlns:a16="http://schemas.microsoft.com/office/drawing/2014/main" id="{42E43B25-DC8E-474C-B5A5-87358C65C345}"/>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175" name="Straight Connector 174">
                <a:extLst>
                  <a:ext uri="{FF2B5EF4-FFF2-40B4-BE49-F238E27FC236}">
                    <a16:creationId xmlns:a16="http://schemas.microsoft.com/office/drawing/2014/main" id="{6966120F-BB84-FB4D-8CA6-8474F3992110}"/>
                  </a:ext>
                </a:extLst>
              </p:cNvPr>
              <p:cNvCxnSpPr>
                <a:cxnSpLocks/>
              </p:cNvCxnSpPr>
              <p:nvPr userDrawn="1"/>
            </p:nvCxnSpPr>
            <p:spPr>
              <a:xfrm rot="16200000" flipV="1">
                <a:off x="12327864" y="6034782"/>
                <a:ext cx="0" cy="259363"/>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13" name="Group 112">
              <a:extLst>
                <a:ext uri="{FF2B5EF4-FFF2-40B4-BE49-F238E27FC236}">
                  <a16:creationId xmlns:a16="http://schemas.microsoft.com/office/drawing/2014/main" id="{B311F075-A390-C945-AA6A-362C4A86D917}"/>
                </a:ext>
              </a:extLst>
            </p:cNvPr>
            <p:cNvGrpSpPr/>
            <p:nvPr userDrawn="1"/>
          </p:nvGrpSpPr>
          <p:grpSpPr>
            <a:xfrm>
              <a:off x="574987" y="-246933"/>
              <a:ext cx="11040535" cy="7348688"/>
              <a:chOff x="574987" y="-246933"/>
              <a:chExt cx="11040535" cy="7348688"/>
            </a:xfrm>
          </p:grpSpPr>
          <p:grpSp>
            <p:nvGrpSpPr>
              <p:cNvPr id="115" name="Group 114">
                <a:extLst>
                  <a:ext uri="{FF2B5EF4-FFF2-40B4-BE49-F238E27FC236}">
                    <a16:creationId xmlns:a16="http://schemas.microsoft.com/office/drawing/2014/main" id="{63854585-35B6-334B-A85D-3C9F6CFA6321}"/>
                  </a:ext>
                </a:extLst>
              </p:cNvPr>
              <p:cNvGrpSpPr/>
              <p:nvPr userDrawn="1"/>
            </p:nvGrpSpPr>
            <p:grpSpPr>
              <a:xfrm>
                <a:off x="574987" y="-246933"/>
                <a:ext cx="11040535" cy="7347304"/>
                <a:chOff x="431240" y="-246933"/>
                <a:chExt cx="8280401" cy="7347304"/>
              </a:xfrm>
            </p:grpSpPr>
            <p:grpSp>
              <p:nvGrpSpPr>
                <p:cNvPr id="158" name="Group 157">
                  <a:extLst>
                    <a:ext uri="{FF2B5EF4-FFF2-40B4-BE49-F238E27FC236}">
                      <a16:creationId xmlns:a16="http://schemas.microsoft.com/office/drawing/2014/main" id="{729EE4B2-D1DA-744A-9AA6-0F5B1BC739B8}"/>
                    </a:ext>
                  </a:extLst>
                </p:cNvPr>
                <p:cNvGrpSpPr/>
                <p:nvPr userDrawn="1"/>
              </p:nvGrpSpPr>
              <p:grpSpPr>
                <a:xfrm>
                  <a:off x="431242" y="6864579"/>
                  <a:ext cx="8280398" cy="235792"/>
                  <a:chOff x="431801" y="-235792"/>
                  <a:chExt cx="4400550" cy="235792"/>
                </a:xfrm>
              </p:grpSpPr>
              <p:cxnSp>
                <p:nvCxnSpPr>
                  <p:cNvPr id="168" name="Straight Connector 167">
                    <a:extLst>
                      <a:ext uri="{FF2B5EF4-FFF2-40B4-BE49-F238E27FC236}">
                        <a16:creationId xmlns:a16="http://schemas.microsoft.com/office/drawing/2014/main" id="{5EC8F1B7-4118-034A-88AA-ECBF2B187679}"/>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9CA6583A-70BB-854A-A175-0CB4026111C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59" name="Group 158">
                  <a:extLst>
                    <a:ext uri="{FF2B5EF4-FFF2-40B4-BE49-F238E27FC236}">
                      <a16:creationId xmlns:a16="http://schemas.microsoft.com/office/drawing/2014/main" id="{6F991951-E723-F641-95D6-529AB91BEBE0}"/>
                    </a:ext>
                  </a:extLst>
                </p:cNvPr>
                <p:cNvGrpSpPr/>
                <p:nvPr userDrawn="1"/>
              </p:nvGrpSpPr>
              <p:grpSpPr>
                <a:xfrm>
                  <a:off x="431240" y="-246933"/>
                  <a:ext cx="8280401" cy="235792"/>
                  <a:chOff x="431800" y="-240735"/>
                  <a:chExt cx="8280401" cy="235792"/>
                </a:xfrm>
              </p:grpSpPr>
              <p:grpSp>
                <p:nvGrpSpPr>
                  <p:cNvPr id="160" name="Group 159">
                    <a:extLst>
                      <a:ext uri="{FF2B5EF4-FFF2-40B4-BE49-F238E27FC236}">
                        <a16:creationId xmlns:a16="http://schemas.microsoft.com/office/drawing/2014/main" id="{F5162FB2-C2BB-D342-907F-F900FA7AE2A4}"/>
                      </a:ext>
                    </a:extLst>
                  </p:cNvPr>
                  <p:cNvGrpSpPr/>
                  <p:nvPr userDrawn="1"/>
                </p:nvGrpSpPr>
                <p:grpSpPr>
                  <a:xfrm>
                    <a:off x="431800" y="-240735"/>
                    <a:ext cx="8280400" cy="235792"/>
                    <a:chOff x="431800" y="-235792"/>
                    <a:chExt cx="4400551" cy="235792"/>
                  </a:xfrm>
                </p:grpSpPr>
                <p:cxnSp>
                  <p:nvCxnSpPr>
                    <p:cNvPr id="165" name="Straight Connector 164">
                      <a:extLst>
                        <a:ext uri="{FF2B5EF4-FFF2-40B4-BE49-F238E27FC236}">
                          <a16:creationId xmlns:a16="http://schemas.microsoft.com/office/drawing/2014/main" id="{81C4EA1A-4470-B34B-9D9C-ABFD9E59B3D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AA2586C7-DEFE-F249-937B-7474265D47F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7" name="Rectangle 166">
                      <a:extLst>
                        <a:ext uri="{FF2B5EF4-FFF2-40B4-BE49-F238E27FC236}">
                          <a16:creationId xmlns:a16="http://schemas.microsoft.com/office/drawing/2014/main" id="{9A85DC57-D078-2747-B02D-3B7621B8620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161" name="TextBox 160">
                    <a:extLst>
                      <a:ext uri="{FF2B5EF4-FFF2-40B4-BE49-F238E27FC236}">
                        <a16:creationId xmlns:a16="http://schemas.microsoft.com/office/drawing/2014/main" id="{DAAB8A5E-2172-1542-968D-E91B1387070C}"/>
                      </a:ext>
                    </a:extLst>
                  </p:cNvPr>
                  <p:cNvSpPr txBox="1"/>
                  <p:nvPr userDrawn="1"/>
                </p:nvSpPr>
                <p:spPr>
                  <a:xfrm>
                    <a:off x="3914336" y="-176700"/>
                    <a:ext cx="1315339"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163" name="Straight Arrow Connector 162">
                    <a:extLst>
                      <a:ext uri="{FF2B5EF4-FFF2-40B4-BE49-F238E27FC236}">
                        <a16:creationId xmlns:a16="http://schemas.microsoft.com/office/drawing/2014/main" id="{CC58B0C0-518E-C24B-9B5E-F8F2B1C05EA4}"/>
                      </a:ext>
                    </a:extLst>
                  </p:cNvPr>
                  <p:cNvCxnSpPr>
                    <a:cxnSpLocks/>
                    <a:stCxn id="161" idx="1"/>
                    <a:endCxn id="167" idx="2"/>
                  </p:cNvCxnSpPr>
                  <p:nvPr userDrawn="1"/>
                </p:nvCxnSpPr>
                <p:spPr>
                  <a:xfrm flipH="1">
                    <a:off x="431801" y="-122839"/>
                    <a:ext cx="3482535"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64" name="Straight Arrow Connector 163">
                    <a:extLst>
                      <a:ext uri="{FF2B5EF4-FFF2-40B4-BE49-F238E27FC236}">
                        <a16:creationId xmlns:a16="http://schemas.microsoft.com/office/drawing/2014/main" id="{7D1FD7EA-6007-D848-92CF-6F53CAD6C253}"/>
                      </a:ext>
                    </a:extLst>
                  </p:cNvPr>
                  <p:cNvCxnSpPr>
                    <a:cxnSpLocks/>
                    <a:stCxn id="161" idx="3"/>
                    <a:endCxn id="167" idx="0"/>
                  </p:cNvCxnSpPr>
                  <p:nvPr userDrawn="1"/>
                </p:nvCxnSpPr>
                <p:spPr>
                  <a:xfrm flipV="1">
                    <a:off x="5229674" y="-122840"/>
                    <a:ext cx="3482527"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19" name="Group 118">
                <a:extLst>
                  <a:ext uri="{FF2B5EF4-FFF2-40B4-BE49-F238E27FC236}">
                    <a16:creationId xmlns:a16="http://schemas.microsoft.com/office/drawing/2014/main" id="{2AD23AD3-9496-AC48-8E2D-7FA32A7C772B}"/>
                  </a:ext>
                </a:extLst>
              </p:cNvPr>
              <p:cNvGrpSpPr/>
              <p:nvPr userDrawn="1"/>
            </p:nvGrpSpPr>
            <p:grpSpPr>
              <a:xfrm>
                <a:off x="4161863" y="6865965"/>
                <a:ext cx="3906819" cy="235790"/>
                <a:chOff x="3121388" y="6869197"/>
                <a:chExt cx="2930114" cy="235790"/>
              </a:xfrm>
            </p:grpSpPr>
            <p:grpSp>
              <p:nvGrpSpPr>
                <p:cNvPr id="120" name="Group 119">
                  <a:extLst>
                    <a:ext uri="{FF2B5EF4-FFF2-40B4-BE49-F238E27FC236}">
                      <a16:creationId xmlns:a16="http://schemas.microsoft.com/office/drawing/2014/main" id="{630DEE51-6F48-4D49-B00E-5E34F69847D9}"/>
                    </a:ext>
                  </a:extLst>
                </p:cNvPr>
                <p:cNvGrpSpPr/>
                <p:nvPr userDrawn="1"/>
              </p:nvGrpSpPr>
              <p:grpSpPr>
                <a:xfrm>
                  <a:off x="3184525" y="6869197"/>
                  <a:ext cx="2774950" cy="60992"/>
                  <a:chOff x="3184525" y="6869196"/>
                  <a:chExt cx="2774950" cy="235791"/>
                </a:xfrm>
              </p:grpSpPr>
              <p:cxnSp>
                <p:nvCxnSpPr>
                  <p:cNvPr id="142" name="Straight Connector 141">
                    <a:extLst>
                      <a:ext uri="{FF2B5EF4-FFF2-40B4-BE49-F238E27FC236}">
                        <a16:creationId xmlns:a16="http://schemas.microsoft.com/office/drawing/2014/main" id="{2DFE7ADE-AC03-4347-856B-9ADC50E35945}"/>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CB4C1D07-E9F0-6649-BC6E-896FD644DE51}"/>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7" name="Straight Connector 156">
                    <a:extLst>
                      <a:ext uri="{FF2B5EF4-FFF2-40B4-BE49-F238E27FC236}">
                        <a16:creationId xmlns:a16="http://schemas.microsoft.com/office/drawing/2014/main" id="{EB9C22AE-E1FA-4C44-A519-76C500F6FFC4}"/>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21" name="TextBox 120">
                  <a:extLst>
                    <a:ext uri="{FF2B5EF4-FFF2-40B4-BE49-F238E27FC236}">
                      <a16:creationId xmlns:a16="http://schemas.microsoft.com/office/drawing/2014/main" id="{27F72AAB-E310-814F-9A46-90E0420015CC}"/>
                    </a:ext>
                  </a:extLst>
                </p:cNvPr>
                <p:cNvSpPr txBox="1"/>
                <p:nvPr userDrawn="1"/>
              </p:nvSpPr>
              <p:spPr>
                <a:xfrm>
                  <a:off x="3121388" y="6954537"/>
                  <a:ext cx="153888"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1/3</a:t>
                  </a:r>
                  <a:r>
                    <a:rPr lang="en-US" sz="650" kern="1200" baseline="30000">
                      <a:solidFill>
                        <a:schemeClr val="accent2"/>
                      </a:solidFill>
                      <a:latin typeface="Arial" charset="0"/>
                      <a:ea typeface="Arial" charset="0"/>
                      <a:cs typeface="Arial" charset="0"/>
                    </a:rPr>
                    <a:t>RD</a:t>
                  </a:r>
                </a:p>
              </p:txBody>
            </p:sp>
            <p:sp>
              <p:nvSpPr>
                <p:cNvPr id="126" name="TextBox 125">
                  <a:extLst>
                    <a:ext uri="{FF2B5EF4-FFF2-40B4-BE49-F238E27FC236}">
                      <a16:creationId xmlns:a16="http://schemas.microsoft.com/office/drawing/2014/main" id="{B78B9D0F-74FD-6845-8A0B-AB0D704607D9}"/>
                    </a:ext>
                  </a:extLst>
                </p:cNvPr>
                <p:cNvSpPr txBox="1"/>
                <p:nvPr userDrawn="1"/>
              </p:nvSpPr>
              <p:spPr>
                <a:xfrm>
                  <a:off x="4487991" y="6954537"/>
                  <a:ext cx="170720"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HALF</a:t>
                  </a:r>
                </a:p>
              </p:txBody>
            </p:sp>
            <p:sp>
              <p:nvSpPr>
                <p:cNvPr id="127" name="TextBox 126">
                  <a:extLst>
                    <a:ext uri="{FF2B5EF4-FFF2-40B4-BE49-F238E27FC236}">
                      <a16:creationId xmlns:a16="http://schemas.microsoft.com/office/drawing/2014/main" id="{25A330EA-0ED2-0345-B379-9FF7F94FBA53}"/>
                    </a:ext>
                  </a:extLst>
                </p:cNvPr>
                <p:cNvSpPr txBox="1"/>
                <p:nvPr userDrawn="1"/>
              </p:nvSpPr>
              <p:spPr>
                <a:xfrm>
                  <a:off x="5869961" y="6954537"/>
                  <a:ext cx="181541"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2/3</a:t>
                  </a:r>
                  <a:r>
                    <a:rPr lang="en-US" sz="650" baseline="30000">
                      <a:solidFill>
                        <a:schemeClr val="accent2"/>
                      </a:solidFill>
                      <a:latin typeface="Arial" charset="0"/>
                      <a:ea typeface="Arial" charset="0"/>
                      <a:cs typeface="Arial" charset="0"/>
                    </a:rPr>
                    <a:t>RDS</a:t>
                  </a:r>
                </a:p>
              </p:txBody>
            </p:sp>
            <p:grpSp>
              <p:nvGrpSpPr>
                <p:cNvPr id="128" name="Group 127">
                  <a:extLst>
                    <a:ext uri="{FF2B5EF4-FFF2-40B4-BE49-F238E27FC236}">
                      <a16:creationId xmlns:a16="http://schemas.microsoft.com/office/drawing/2014/main" id="{8C2F718E-A223-A448-AF7F-03D9399BEAE6}"/>
                    </a:ext>
                  </a:extLst>
                </p:cNvPr>
                <p:cNvGrpSpPr/>
                <p:nvPr userDrawn="1"/>
              </p:nvGrpSpPr>
              <p:grpSpPr>
                <a:xfrm>
                  <a:off x="3184525" y="7040714"/>
                  <a:ext cx="2774950" cy="64273"/>
                  <a:chOff x="3184525" y="6869196"/>
                  <a:chExt cx="2774950" cy="235791"/>
                </a:xfrm>
              </p:grpSpPr>
              <p:cxnSp>
                <p:nvCxnSpPr>
                  <p:cNvPr id="139" name="Straight Connector 138">
                    <a:extLst>
                      <a:ext uri="{FF2B5EF4-FFF2-40B4-BE49-F238E27FC236}">
                        <a16:creationId xmlns:a16="http://schemas.microsoft.com/office/drawing/2014/main" id="{51CEB7F5-936E-5D44-A446-3E0B29381379}"/>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94FF4A4E-0004-454C-8CFC-C05E221AE918}"/>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5FF7DAE9-735E-4B4E-965C-34406DBCCE1E}"/>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grpSp>
    </p:spTree>
    <p:extLst>
      <p:ext uri="{BB962C8B-B14F-4D97-AF65-F5344CB8AC3E}">
        <p14:creationId xmlns:p14="http://schemas.microsoft.com/office/powerpoint/2010/main" val="3930270987"/>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Title (Plain, Team Virginia)">
    <p:bg>
      <p:bgPr>
        <a:solidFill>
          <a:schemeClr val="bg1"/>
        </a:solid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DE709CFB-6334-2144-8B5C-43DFF610B826}"/>
              </a:ext>
            </a:extLst>
          </p:cNvPr>
          <p:cNvGrpSpPr/>
          <p:nvPr userDrawn="1"/>
        </p:nvGrpSpPr>
        <p:grpSpPr>
          <a:xfrm>
            <a:off x="-266701" y="2662815"/>
            <a:ext cx="259365" cy="3781720"/>
            <a:chOff x="-266701" y="2662815"/>
            <a:chExt cx="259365" cy="3781720"/>
          </a:xfrm>
        </p:grpSpPr>
        <p:grpSp>
          <p:nvGrpSpPr>
            <p:cNvPr id="9" name="Group 8">
              <a:extLst>
                <a:ext uri="{FF2B5EF4-FFF2-40B4-BE49-F238E27FC236}">
                  <a16:creationId xmlns:a16="http://schemas.microsoft.com/office/drawing/2014/main" id="{3F8990A5-0ABE-6D46-9F28-E80369FD7B27}"/>
                </a:ext>
              </a:extLst>
            </p:cNvPr>
            <p:cNvGrpSpPr/>
            <p:nvPr userDrawn="1"/>
          </p:nvGrpSpPr>
          <p:grpSpPr>
            <a:xfrm>
              <a:off x="-266701" y="2662815"/>
              <a:ext cx="259365" cy="803868"/>
              <a:chOff x="-256404" y="360363"/>
              <a:chExt cx="251461" cy="692152"/>
            </a:xfrm>
          </p:grpSpPr>
          <p:grpSp>
            <p:nvGrpSpPr>
              <p:cNvPr id="11" name="Group 10">
                <a:extLst>
                  <a:ext uri="{FF2B5EF4-FFF2-40B4-BE49-F238E27FC236}">
                    <a16:creationId xmlns:a16="http://schemas.microsoft.com/office/drawing/2014/main" id="{C06C7E69-FE02-E149-8BB5-434392A5681B}"/>
                  </a:ext>
                </a:extLst>
              </p:cNvPr>
              <p:cNvGrpSpPr/>
              <p:nvPr userDrawn="1"/>
            </p:nvGrpSpPr>
            <p:grpSpPr>
              <a:xfrm rot="16200000">
                <a:off x="-476749" y="580708"/>
                <a:ext cx="692152" cy="251461"/>
                <a:chOff x="431800" y="-235792"/>
                <a:chExt cx="4400551" cy="235792"/>
              </a:xfrm>
            </p:grpSpPr>
            <p:cxnSp>
              <p:nvCxnSpPr>
                <p:cNvPr id="14" name="Straight Connector 13">
                  <a:extLst>
                    <a:ext uri="{FF2B5EF4-FFF2-40B4-BE49-F238E27FC236}">
                      <a16:creationId xmlns:a16="http://schemas.microsoft.com/office/drawing/2014/main" id="{82F7D333-4D72-0B45-8D5E-E052DE17B4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BFE8D9F-D9D1-7446-8D2B-391634400FC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0647C002-34D7-E549-BD63-5A83EC7E36C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13" name="TextBox 12">
                <a:extLst>
                  <a:ext uri="{FF2B5EF4-FFF2-40B4-BE49-F238E27FC236}">
                    <a16:creationId xmlns:a16="http://schemas.microsoft.com/office/drawing/2014/main" id="{DA3789A9-A137-3A4B-87B9-41698E91325A}"/>
                  </a:ext>
                </a:extLst>
              </p:cNvPr>
              <p:cNvSpPr txBox="1"/>
              <p:nvPr userDrawn="1"/>
            </p:nvSpPr>
            <p:spPr>
              <a:xfrm rot="16200000">
                <a:off x="-235572" y="662665"/>
                <a:ext cx="209794"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ITLE</a:t>
                </a:r>
              </a:p>
            </p:txBody>
          </p:sp>
        </p:grpSp>
        <p:grpSp>
          <p:nvGrpSpPr>
            <p:cNvPr id="18" name="Group 17">
              <a:extLst>
                <a:ext uri="{FF2B5EF4-FFF2-40B4-BE49-F238E27FC236}">
                  <a16:creationId xmlns:a16="http://schemas.microsoft.com/office/drawing/2014/main" id="{9F586333-824B-794D-AA8F-3C6BE5F1C65F}"/>
                </a:ext>
              </a:extLst>
            </p:cNvPr>
            <p:cNvGrpSpPr/>
            <p:nvPr userDrawn="1"/>
          </p:nvGrpSpPr>
          <p:grpSpPr>
            <a:xfrm>
              <a:off x="-266701" y="6029563"/>
              <a:ext cx="259365" cy="414972"/>
              <a:chOff x="-256404" y="360363"/>
              <a:chExt cx="251461" cy="692152"/>
            </a:xfrm>
          </p:grpSpPr>
          <p:grpSp>
            <p:nvGrpSpPr>
              <p:cNvPr id="19" name="Group 18">
                <a:extLst>
                  <a:ext uri="{FF2B5EF4-FFF2-40B4-BE49-F238E27FC236}">
                    <a16:creationId xmlns:a16="http://schemas.microsoft.com/office/drawing/2014/main" id="{A6495F36-0325-BD46-AEAC-EFD96052E078}"/>
                  </a:ext>
                </a:extLst>
              </p:cNvPr>
              <p:cNvGrpSpPr/>
              <p:nvPr userDrawn="1"/>
            </p:nvGrpSpPr>
            <p:grpSpPr>
              <a:xfrm rot="16200000">
                <a:off x="-476749" y="580708"/>
                <a:ext cx="692152" cy="251461"/>
                <a:chOff x="431800" y="-235792"/>
                <a:chExt cx="4400551" cy="235792"/>
              </a:xfrm>
            </p:grpSpPr>
            <p:cxnSp>
              <p:nvCxnSpPr>
                <p:cNvPr id="21" name="Straight Connector 20">
                  <a:extLst>
                    <a:ext uri="{FF2B5EF4-FFF2-40B4-BE49-F238E27FC236}">
                      <a16:creationId xmlns:a16="http://schemas.microsoft.com/office/drawing/2014/main" id="{BCB0A2ED-696C-614E-B833-27629591344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D5C0D5A-FDE9-F944-909A-630F0DA12F1A}"/>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49102644-5D60-EE47-9759-33BE1EBA9F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20" name="TextBox 19">
                <a:extLst>
                  <a:ext uri="{FF2B5EF4-FFF2-40B4-BE49-F238E27FC236}">
                    <a16:creationId xmlns:a16="http://schemas.microsoft.com/office/drawing/2014/main" id="{24E28546-B774-3A40-B34C-AAF59ECF1BD9}"/>
                  </a:ext>
                </a:extLst>
              </p:cNvPr>
              <p:cNvSpPr txBox="1"/>
              <p:nvPr userDrawn="1"/>
            </p:nvSpPr>
            <p:spPr>
              <a:xfrm rot="16200000">
                <a:off x="-328529" y="662667"/>
                <a:ext cx="395711"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DATE</a:t>
                </a:r>
              </a:p>
            </p:txBody>
          </p:sp>
        </p:grpSp>
      </p:grpSp>
      <p:sp>
        <p:nvSpPr>
          <p:cNvPr id="28" name="Freeform 27">
            <a:extLst>
              <a:ext uri="{FF2B5EF4-FFF2-40B4-BE49-F238E27FC236}">
                <a16:creationId xmlns:a16="http://schemas.microsoft.com/office/drawing/2014/main" id="{563AFA77-C4E2-124D-9B5C-63DC39E98F12}"/>
              </a:ext>
            </a:extLst>
          </p:cNvPr>
          <p:cNvSpPr/>
          <p:nvPr userDrawn="1"/>
        </p:nvSpPr>
        <p:spPr>
          <a:xfrm flipH="1">
            <a:off x="2490" y="2171627"/>
            <a:ext cx="11707575" cy="1815552"/>
          </a:xfrm>
          <a:custGeom>
            <a:avLst/>
            <a:gdLst>
              <a:gd name="connsiteX0" fmla="*/ 8780681 w 8780681"/>
              <a:gd name="connsiteY0" fmla="*/ 0 h 1815552"/>
              <a:gd name="connsiteX1" fmla="*/ 861570 w 8780681"/>
              <a:gd name="connsiteY1" fmla="*/ 0 h 1815552"/>
              <a:gd name="connsiteX2" fmla="*/ 0 w 8780681"/>
              <a:gd name="connsiteY2" fmla="*/ 1815552 h 1815552"/>
              <a:gd name="connsiteX3" fmla="*/ 8780681 w 8780681"/>
              <a:gd name="connsiteY3" fmla="*/ 1815552 h 1815552"/>
            </a:gdLst>
            <a:ahLst/>
            <a:cxnLst>
              <a:cxn ang="0">
                <a:pos x="connsiteX0" y="connsiteY0"/>
              </a:cxn>
              <a:cxn ang="0">
                <a:pos x="connsiteX1" y="connsiteY1"/>
              </a:cxn>
              <a:cxn ang="0">
                <a:pos x="connsiteX2" y="connsiteY2"/>
              </a:cxn>
              <a:cxn ang="0">
                <a:pos x="connsiteX3" y="connsiteY3"/>
              </a:cxn>
            </a:cxnLst>
            <a:rect l="l" t="t" r="r" b="b"/>
            <a:pathLst>
              <a:path w="8780681" h="1815552">
                <a:moveTo>
                  <a:pt x="8780681" y="0"/>
                </a:moveTo>
                <a:lnTo>
                  <a:pt x="861570" y="0"/>
                </a:lnTo>
                <a:lnTo>
                  <a:pt x="0" y="1815552"/>
                </a:lnTo>
                <a:lnTo>
                  <a:pt x="8780681" y="1815552"/>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1200"/>
          </a:p>
        </p:txBody>
      </p:sp>
      <p:sp>
        <p:nvSpPr>
          <p:cNvPr id="30" name="Title 7">
            <a:extLst>
              <a:ext uri="{FF2B5EF4-FFF2-40B4-BE49-F238E27FC236}">
                <a16:creationId xmlns:a16="http://schemas.microsoft.com/office/drawing/2014/main" id="{A1797348-AF91-E94E-8BF4-214E0FF2812F}"/>
              </a:ext>
            </a:extLst>
          </p:cNvPr>
          <p:cNvSpPr>
            <a:spLocks noGrp="1"/>
          </p:cNvSpPr>
          <p:nvPr>
            <p:ph type="title" hasCustomPrompt="1"/>
          </p:nvPr>
        </p:nvSpPr>
        <p:spPr>
          <a:xfrm>
            <a:off x="575734" y="2357718"/>
            <a:ext cx="9993969" cy="1443370"/>
          </a:xfrm>
        </p:spPr>
        <p:txBody>
          <a:bodyPr anchor="ctr"/>
          <a:lstStyle>
            <a:lvl1pPr>
              <a:defRPr sz="3600">
                <a:solidFill>
                  <a:schemeClr val="bg1"/>
                </a:solidFill>
              </a:defRPr>
            </a:lvl1pPr>
          </a:lstStyle>
          <a:p>
            <a:pPr lvl="0"/>
            <a:r>
              <a:rPr lang="en-US"/>
              <a:t>CLICK TO EDIT PRESENTATION TITLE. ALL CAPS. TWO LINES.</a:t>
            </a:r>
          </a:p>
        </p:txBody>
      </p:sp>
      <p:sp>
        <p:nvSpPr>
          <p:cNvPr id="33" name="Freeform 32">
            <a:extLst>
              <a:ext uri="{FF2B5EF4-FFF2-40B4-BE49-F238E27FC236}">
                <a16:creationId xmlns:a16="http://schemas.microsoft.com/office/drawing/2014/main" id="{EE489B20-88FD-DE48-BD34-77731DCDF391}"/>
              </a:ext>
            </a:extLst>
          </p:cNvPr>
          <p:cNvSpPr/>
          <p:nvPr userDrawn="1"/>
        </p:nvSpPr>
        <p:spPr>
          <a:xfrm flipH="1">
            <a:off x="3" y="6025102"/>
            <a:ext cx="9829508" cy="431903"/>
          </a:xfrm>
          <a:custGeom>
            <a:avLst/>
            <a:gdLst>
              <a:gd name="connsiteX0" fmla="*/ 7372131 w 7372131"/>
              <a:gd name="connsiteY0" fmla="*/ 0 h 323927"/>
              <a:gd name="connsiteX1" fmla="*/ 7352841 w 7372131"/>
              <a:gd name="connsiteY1" fmla="*/ 0 h 323927"/>
              <a:gd name="connsiteX2" fmla="*/ 795061 w 7372131"/>
              <a:gd name="connsiteY2" fmla="*/ 0 h 323927"/>
              <a:gd name="connsiteX3" fmla="*/ 775771 w 7372131"/>
              <a:gd name="connsiteY3" fmla="*/ 0 h 323927"/>
              <a:gd name="connsiteX4" fmla="*/ 775771 w 7372131"/>
              <a:gd name="connsiteY4" fmla="*/ 7 h 323927"/>
              <a:gd name="connsiteX5" fmla="*/ 479526 w 7372131"/>
              <a:gd name="connsiteY5" fmla="*/ 7 h 323927"/>
              <a:gd name="connsiteX6" fmla="*/ 460236 w 7372131"/>
              <a:gd name="connsiteY6" fmla="*/ 7 h 323927"/>
              <a:gd name="connsiteX7" fmla="*/ 173008 w 7372131"/>
              <a:gd name="connsiteY7" fmla="*/ 7 h 323927"/>
              <a:gd name="connsiteX8" fmla="*/ 153718 w 7372131"/>
              <a:gd name="connsiteY8" fmla="*/ 7 h 323927"/>
              <a:gd name="connsiteX9" fmla="*/ 4 w 7372131"/>
              <a:gd name="connsiteY9" fmla="*/ 323921 h 323927"/>
              <a:gd name="connsiteX10" fmla="*/ 0 w 7372131"/>
              <a:gd name="connsiteY10" fmla="*/ 323927 h 323927"/>
              <a:gd name="connsiteX11" fmla="*/ 1 w 7372131"/>
              <a:gd name="connsiteY11" fmla="*/ 323927 h 323927"/>
              <a:gd name="connsiteX12" fmla="*/ 19290 w 7372131"/>
              <a:gd name="connsiteY12" fmla="*/ 323927 h 323927"/>
              <a:gd name="connsiteX13" fmla="*/ 19291 w 7372131"/>
              <a:gd name="connsiteY13" fmla="*/ 323927 h 323927"/>
              <a:gd name="connsiteX14" fmla="*/ 306520 w 7372131"/>
              <a:gd name="connsiteY14" fmla="*/ 323927 h 323927"/>
              <a:gd name="connsiteX15" fmla="*/ 325810 w 7372131"/>
              <a:gd name="connsiteY15" fmla="*/ 323927 h 323927"/>
              <a:gd name="connsiteX16" fmla="*/ 404476 w 7372131"/>
              <a:gd name="connsiteY16" fmla="*/ 323927 h 323927"/>
              <a:gd name="connsiteX17" fmla="*/ 423766 w 7372131"/>
              <a:gd name="connsiteY17" fmla="*/ 323927 h 323927"/>
              <a:gd name="connsiteX18" fmla="*/ 4832481 w 7372131"/>
              <a:gd name="connsiteY18" fmla="*/ 323927 h 323927"/>
              <a:gd name="connsiteX19" fmla="*/ 4851771 w 7372131"/>
              <a:gd name="connsiteY19" fmla="*/ 323927 h 323927"/>
              <a:gd name="connsiteX20" fmla="*/ 5139000 w 7372131"/>
              <a:gd name="connsiteY20" fmla="*/ 323927 h 323927"/>
              <a:gd name="connsiteX21" fmla="*/ 5158290 w 7372131"/>
              <a:gd name="connsiteY21" fmla="*/ 323927 h 323927"/>
              <a:gd name="connsiteX22" fmla="*/ 6376846 w 7372131"/>
              <a:gd name="connsiteY22" fmla="*/ 323927 h 323927"/>
              <a:gd name="connsiteX23" fmla="*/ 6396136 w 7372131"/>
              <a:gd name="connsiteY23" fmla="*/ 323927 h 323927"/>
              <a:gd name="connsiteX24" fmla="*/ 6781322 w 7372131"/>
              <a:gd name="connsiteY24" fmla="*/ 323927 h 323927"/>
              <a:gd name="connsiteX25" fmla="*/ 6800612 w 7372131"/>
              <a:gd name="connsiteY25" fmla="*/ 323927 h 323927"/>
              <a:gd name="connsiteX26" fmla="*/ 6800612 w 7372131"/>
              <a:gd name="connsiteY26" fmla="*/ 323920 h 323927"/>
              <a:gd name="connsiteX27" fmla="*/ 7352841 w 7372131"/>
              <a:gd name="connsiteY27" fmla="*/ 323920 h 323927"/>
              <a:gd name="connsiteX28" fmla="*/ 7372131 w 7372131"/>
              <a:gd name="connsiteY28" fmla="*/ 323920 h 323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372131" h="323927">
                <a:moveTo>
                  <a:pt x="7372131" y="0"/>
                </a:moveTo>
                <a:lnTo>
                  <a:pt x="7352841" y="0"/>
                </a:lnTo>
                <a:lnTo>
                  <a:pt x="795061" y="0"/>
                </a:lnTo>
                <a:lnTo>
                  <a:pt x="775771" y="0"/>
                </a:lnTo>
                <a:lnTo>
                  <a:pt x="775771" y="7"/>
                </a:lnTo>
                <a:lnTo>
                  <a:pt x="479526" y="7"/>
                </a:lnTo>
                <a:lnTo>
                  <a:pt x="460236" y="7"/>
                </a:lnTo>
                <a:lnTo>
                  <a:pt x="173008" y="7"/>
                </a:lnTo>
                <a:lnTo>
                  <a:pt x="153718" y="7"/>
                </a:lnTo>
                <a:lnTo>
                  <a:pt x="4" y="323921"/>
                </a:lnTo>
                <a:lnTo>
                  <a:pt x="0" y="323927"/>
                </a:lnTo>
                <a:lnTo>
                  <a:pt x="1" y="323927"/>
                </a:lnTo>
                <a:lnTo>
                  <a:pt x="19290" y="323927"/>
                </a:lnTo>
                <a:lnTo>
                  <a:pt x="19291" y="323927"/>
                </a:lnTo>
                <a:lnTo>
                  <a:pt x="306520" y="323927"/>
                </a:lnTo>
                <a:lnTo>
                  <a:pt x="325810" y="323927"/>
                </a:lnTo>
                <a:lnTo>
                  <a:pt x="404476" y="323927"/>
                </a:lnTo>
                <a:lnTo>
                  <a:pt x="423766" y="323927"/>
                </a:lnTo>
                <a:lnTo>
                  <a:pt x="4832481" y="323927"/>
                </a:lnTo>
                <a:lnTo>
                  <a:pt x="4851771" y="323927"/>
                </a:lnTo>
                <a:lnTo>
                  <a:pt x="5139000" y="323927"/>
                </a:lnTo>
                <a:lnTo>
                  <a:pt x="5158290" y="323927"/>
                </a:lnTo>
                <a:lnTo>
                  <a:pt x="6376846" y="323927"/>
                </a:lnTo>
                <a:lnTo>
                  <a:pt x="6396136" y="323927"/>
                </a:lnTo>
                <a:lnTo>
                  <a:pt x="6781322" y="323927"/>
                </a:lnTo>
                <a:lnTo>
                  <a:pt x="6800612" y="323927"/>
                </a:lnTo>
                <a:lnTo>
                  <a:pt x="6800612" y="323920"/>
                </a:lnTo>
                <a:lnTo>
                  <a:pt x="7352841" y="323920"/>
                </a:lnTo>
                <a:lnTo>
                  <a:pt x="7372131" y="323920"/>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a:solidFill>
                <a:schemeClr val="accent3"/>
              </a:solidFill>
            </a:endParaRPr>
          </a:p>
        </p:txBody>
      </p:sp>
      <p:sp>
        <p:nvSpPr>
          <p:cNvPr id="34" name="Text Placeholder 2">
            <a:extLst>
              <a:ext uri="{FF2B5EF4-FFF2-40B4-BE49-F238E27FC236}">
                <a16:creationId xmlns:a16="http://schemas.microsoft.com/office/drawing/2014/main" id="{A88C6DE8-E97F-8349-8204-70641763ED0C}"/>
              </a:ext>
            </a:extLst>
          </p:cNvPr>
          <p:cNvSpPr>
            <a:spLocks noGrp="1"/>
          </p:cNvSpPr>
          <p:nvPr>
            <p:ph type="body" sz="quarter" idx="26" hasCustomPrompt="1"/>
          </p:nvPr>
        </p:nvSpPr>
        <p:spPr>
          <a:xfrm>
            <a:off x="569913" y="6061208"/>
            <a:ext cx="3294379" cy="364145"/>
          </a:xfrm>
        </p:spPr>
        <p:txBody>
          <a:bodyPr anchor="ctr"/>
          <a:lstStyle>
            <a:lvl1pPr marL="9525" indent="0">
              <a:buFontTx/>
              <a:buNone/>
              <a:tabLst/>
              <a:defRPr sz="1400" b="0">
                <a:solidFill>
                  <a:srgbClr val="494848"/>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pic>
        <p:nvPicPr>
          <p:cNvPr id="35" name="Graphic 6">
            <a:extLst>
              <a:ext uri="{FF2B5EF4-FFF2-40B4-BE49-F238E27FC236}">
                <a16:creationId xmlns:a16="http://schemas.microsoft.com/office/drawing/2014/main" id="{9B9B1B36-E16E-6240-BB5B-A0276DB3F6EC}"/>
              </a:ext>
            </a:extLst>
          </p:cNvPr>
          <p:cNvPicPr>
            <a:picLocks noChangeAspect="1"/>
          </p:cNvPicPr>
          <p:nvPr userDrawn="1"/>
        </p:nvPicPr>
        <p:blipFill>
          <a:blip r:embed="rId2"/>
          <a:srcRect/>
          <a:stretch/>
        </p:blipFill>
        <p:spPr>
          <a:xfrm>
            <a:off x="9836850" y="6057369"/>
            <a:ext cx="2151409" cy="355304"/>
          </a:xfrm>
          <a:prstGeom prst="rect">
            <a:avLst/>
          </a:prstGeom>
        </p:spPr>
      </p:pic>
    </p:spTree>
    <p:extLst>
      <p:ext uri="{BB962C8B-B14F-4D97-AF65-F5344CB8AC3E}">
        <p14:creationId xmlns:p14="http://schemas.microsoft.com/office/powerpoint/2010/main" val="3331998097"/>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tatistics Text Over Graphic (Full)">
    <p:spTree>
      <p:nvGrpSpPr>
        <p:cNvPr id="1" name=""/>
        <p:cNvGrpSpPr/>
        <p:nvPr/>
      </p:nvGrpSpPr>
      <p:grpSpPr>
        <a:xfrm>
          <a:off x="0" y="0"/>
          <a:ext cx="0" cy="0"/>
          <a:chOff x="0" y="0"/>
          <a:chExt cx="0" cy="0"/>
        </a:xfrm>
      </p:grpSpPr>
      <p:sp>
        <p:nvSpPr>
          <p:cNvPr id="90" name="Picture Placeholder 35">
            <a:extLst>
              <a:ext uri="{FF2B5EF4-FFF2-40B4-BE49-F238E27FC236}">
                <a16:creationId xmlns:a16="http://schemas.microsoft.com/office/drawing/2014/main" id="{FA603B4E-8D91-DE4C-870A-472466270B9D}"/>
              </a:ext>
            </a:extLst>
          </p:cNvPr>
          <p:cNvSpPr>
            <a:spLocks noGrp="1"/>
          </p:cNvSpPr>
          <p:nvPr>
            <p:ph type="pic" sz="quarter" idx="10" hasCustomPrompt="1"/>
          </p:nvPr>
        </p:nvSpPr>
        <p:spPr>
          <a:xfrm>
            <a:off x="0" y="0"/>
            <a:ext cx="12192000" cy="6858000"/>
          </a:xfrm>
          <a:custGeom>
            <a:avLst/>
            <a:gdLst>
              <a:gd name="connsiteX0" fmla="*/ 0 w 9144000"/>
              <a:gd name="connsiteY0" fmla="*/ 0 h 6858000"/>
              <a:gd name="connsiteX1" fmla="*/ 9144000 w 9144000"/>
              <a:gd name="connsiteY1" fmla="*/ 0 h 6858000"/>
              <a:gd name="connsiteX2" fmla="*/ 9144000 w 9144000"/>
              <a:gd name="connsiteY2" fmla="*/ 6858000 h 6858000"/>
              <a:gd name="connsiteX3" fmla="*/ 0 w 9144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9144000" h="6858000">
                <a:moveTo>
                  <a:pt x="0" y="0"/>
                </a:moveTo>
                <a:lnTo>
                  <a:pt x="9144000" y="0"/>
                </a:lnTo>
                <a:lnTo>
                  <a:pt x="9144000" y="6858000"/>
                </a:lnTo>
                <a:lnTo>
                  <a:pt x="0" y="6858000"/>
                </a:lnTo>
                <a:close/>
              </a:path>
            </a:pathLst>
          </a:custGeom>
          <a:solidFill>
            <a:srgbClr val="E8F3FD"/>
          </a:solidFill>
        </p:spPr>
        <p:txBody>
          <a:bodyPr wrap="square" anchor="ctr">
            <a:noAutofit/>
          </a:bodyPr>
          <a:lstStyle>
            <a:lvl1pPr algn="ctr">
              <a:defRPr b="0">
                <a:solidFill>
                  <a:schemeClr val="tx1">
                    <a:lumMod val="50000"/>
                    <a:lumOff val="50000"/>
                  </a:schemeClr>
                </a:solidFill>
              </a:defRPr>
            </a:lvl1pPr>
          </a:lstStyle>
          <a:p>
            <a:r>
              <a:rPr lang="en-US"/>
              <a:t>Click icon to add a pre-designed graphic</a:t>
            </a:r>
            <a:br>
              <a:rPr lang="en-US"/>
            </a:br>
            <a:r>
              <a:rPr lang="en-US"/>
              <a:t>(e.g. ranking, quote, or map)</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6096000" cy="6858000"/>
          </a:xfrm>
          <a:gradFill>
            <a:gsLst>
              <a:gs pos="13000">
                <a:schemeClr val="accent1"/>
              </a:gs>
              <a:gs pos="97000">
                <a:schemeClr val="accent1">
                  <a:alpha val="90000"/>
                </a:schemeClr>
              </a:gs>
            </a:gsLst>
            <a:lin ang="5400000" scaled="0"/>
          </a:gradFill>
        </p:spPr>
        <p:txBody>
          <a:bodyPr lIns="576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sz="2800">
                <a:solidFill>
                  <a:schemeClr val="bg1"/>
                </a:solidFill>
              </a:defRPr>
            </a:lvl1pPr>
            <a:lvl2pPr>
              <a:defRPr>
                <a:solidFill>
                  <a:schemeClr val="bg1"/>
                </a:solidFill>
              </a:defRPr>
            </a:lvl2pPr>
            <a:lvl3pPr marL="0" indent="0">
              <a:buFontTx/>
              <a:buNone/>
              <a:defRPr>
                <a:solidFill>
                  <a:schemeClr val="bg1"/>
                </a:solidFill>
              </a:defRPr>
            </a:lvl3pPr>
            <a:lvl4pPr marL="0" indent="0">
              <a:buFontTx/>
              <a:buNone/>
              <a:defRPr>
                <a:solidFill>
                  <a:schemeClr val="bg1"/>
                </a:solidFill>
              </a:defRPr>
            </a:lvl4pPr>
            <a:lvl5pPr marL="0" indent="0">
              <a:buFontTx/>
              <a:buNone/>
              <a:defRPr>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575733" y="6200775"/>
            <a:ext cx="4934115"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lang="en-US" smtClean="0"/>
            </a:lvl1pPr>
          </a:lstStyle>
          <a:p>
            <a:pPr marL="12700"/>
            <a:fld id="{078C017C-E1B9-8443-B047-B08AAA027B45}" type="slidenum">
              <a:rPr lang="en-CA" smtClean="0"/>
              <a:pPr marL="12700"/>
              <a:t>‹#›</a:t>
            </a:fld>
            <a:endParaRPr lang="en-CA"/>
          </a:p>
        </p:txBody>
      </p:sp>
      <p:sp>
        <p:nvSpPr>
          <p:cNvPr id="500" name="Caption">
            <a:extLst>
              <a:ext uri="{FF2B5EF4-FFF2-40B4-BE49-F238E27FC236}">
                <a16:creationId xmlns:a16="http://schemas.microsoft.com/office/drawing/2014/main" id="{659A1A30-0D40-E04A-93E5-5EBF0216ED61}"/>
              </a:ext>
            </a:extLst>
          </p:cNvPr>
          <p:cNvSpPr>
            <a:spLocks noGrp="1"/>
          </p:cNvSpPr>
          <p:nvPr>
            <p:ph type="body" sz="quarter" idx="500" hasCustomPrompt="1"/>
          </p:nvPr>
        </p:nvSpPr>
        <p:spPr>
          <a:xfrm>
            <a:off x="7947046" y="6200776"/>
            <a:ext cx="3657167" cy="152349"/>
          </a:xfrm>
          <a:effectLst/>
        </p:spPr>
        <p:txBody>
          <a:bodyPr wrap="square" anchor="b">
            <a:spAutoFit/>
          </a:bodyPr>
          <a:lstStyle>
            <a:lvl1pPr marL="0" indent="0" algn="r">
              <a:spcBef>
                <a:spcPts val="0"/>
              </a:spcBef>
              <a:spcAft>
                <a:spcPts val="0"/>
              </a:spcAft>
              <a:buFontTx/>
              <a:buNone/>
              <a:tabLst/>
              <a:defRPr sz="1100" b="0">
                <a:solidFill>
                  <a:schemeClr val="tx1"/>
                </a:solidFill>
                <a:effectLst/>
              </a:defRPr>
            </a:lvl1pPr>
            <a:lvl2pPr marL="0" indent="0" algn="r">
              <a:spcBef>
                <a:spcPts val="0"/>
              </a:spcBef>
              <a:spcAft>
                <a:spcPts val="0"/>
              </a:spcAft>
              <a:buFontTx/>
              <a:buNone/>
              <a:tabLst/>
              <a:defRPr sz="1100">
                <a:solidFill>
                  <a:schemeClr val="tx1"/>
                </a:solidFill>
              </a:defRPr>
            </a:lvl2pPr>
            <a:lvl3pPr marL="0" indent="0" algn="r">
              <a:spcBef>
                <a:spcPts val="0"/>
              </a:spcBef>
              <a:spcAft>
                <a:spcPts val="0"/>
              </a:spcAft>
              <a:buFontTx/>
              <a:buNone/>
              <a:tabLst/>
              <a:defRPr sz="1100">
                <a:solidFill>
                  <a:schemeClr val="tx1"/>
                </a:solidFill>
              </a:defRPr>
            </a:lvl3pPr>
            <a:lvl4pPr marL="0" indent="0" algn="r">
              <a:spcBef>
                <a:spcPts val="0"/>
              </a:spcBef>
              <a:spcAft>
                <a:spcPts val="0"/>
              </a:spcAft>
              <a:buFontTx/>
              <a:buNone/>
              <a:tabLst/>
              <a:defRPr sz="1100">
                <a:solidFill>
                  <a:schemeClr val="tx1"/>
                </a:solidFill>
              </a:defRPr>
            </a:lvl4pPr>
            <a:lvl5pPr marL="0" indent="0" algn="r">
              <a:spcBef>
                <a:spcPts val="0"/>
              </a:spcBef>
              <a:spcAft>
                <a:spcPts val="0"/>
              </a:spcAft>
              <a:buFontTx/>
              <a:buNone/>
              <a:tabLst/>
              <a:defRPr sz="1100">
                <a:solidFill>
                  <a:schemeClr val="tx1"/>
                </a:solidFill>
              </a:defRPr>
            </a:lvl5pPr>
            <a:lvl6pPr marL="0" indent="0" algn="r">
              <a:spcBef>
                <a:spcPts val="0"/>
              </a:spcBef>
              <a:spcAft>
                <a:spcPts val="0"/>
              </a:spcAft>
              <a:buFontTx/>
              <a:buNone/>
              <a:tabLst/>
              <a:defRPr sz="1100">
                <a:solidFill>
                  <a:schemeClr val="tx1"/>
                </a:solidFill>
              </a:defRPr>
            </a:lvl6pPr>
            <a:lvl7pPr marL="0" indent="0" algn="r">
              <a:spcBef>
                <a:spcPts val="0"/>
              </a:spcBef>
              <a:spcAft>
                <a:spcPts val="0"/>
              </a:spcAft>
              <a:buFontTx/>
              <a:buNone/>
              <a:tabLst/>
              <a:defRPr sz="1100">
                <a:solidFill>
                  <a:schemeClr val="tx1"/>
                </a:solidFill>
              </a:defRPr>
            </a:lvl7pPr>
            <a:lvl8pPr marL="0" indent="0" algn="r">
              <a:spcBef>
                <a:spcPts val="0"/>
              </a:spcBef>
              <a:spcAft>
                <a:spcPts val="0"/>
              </a:spcAft>
              <a:buFontTx/>
              <a:buNone/>
              <a:tabLst/>
              <a:defRPr sz="1100">
                <a:solidFill>
                  <a:schemeClr val="tx1"/>
                </a:solidFill>
              </a:defRPr>
            </a:lvl8pPr>
            <a:lvl9pPr marL="0" indent="0" algn="r">
              <a:spcBef>
                <a:spcPts val="0"/>
              </a:spcBef>
              <a:spcAft>
                <a:spcPts val="0"/>
              </a:spcAft>
              <a:buFontTx/>
              <a:buNone/>
              <a:tabLst/>
              <a:defRPr sz="1100">
                <a:solidFill>
                  <a:schemeClr val="tx1"/>
                </a:solidFill>
              </a:defRPr>
            </a:lvl9pPr>
          </a:lstStyle>
          <a:p>
            <a:pPr lvl="0"/>
            <a:r>
              <a:rPr lang="en-US"/>
              <a:t>Click to add photo caption</a:t>
            </a:r>
          </a:p>
        </p:txBody>
      </p:sp>
      <p:grpSp>
        <p:nvGrpSpPr>
          <p:cNvPr id="103" name="Group 102">
            <a:extLst>
              <a:ext uri="{FF2B5EF4-FFF2-40B4-BE49-F238E27FC236}">
                <a16:creationId xmlns:a16="http://schemas.microsoft.com/office/drawing/2014/main" id="{2973405C-605F-1D44-B432-9B91FEEC8F38}"/>
              </a:ext>
            </a:extLst>
          </p:cNvPr>
          <p:cNvGrpSpPr/>
          <p:nvPr userDrawn="1"/>
        </p:nvGrpSpPr>
        <p:grpSpPr>
          <a:xfrm>
            <a:off x="-266701" y="-246933"/>
            <a:ext cx="12724248" cy="7348688"/>
            <a:chOff x="-266701" y="-246933"/>
            <a:chExt cx="12724248" cy="7348688"/>
          </a:xfrm>
        </p:grpSpPr>
        <p:grpSp>
          <p:nvGrpSpPr>
            <p:cNvPr id="105" name="Group 104">
              <a:extLst>
                <a:ext uri="{FF2B5EF4-FFF2-40B4-BE49-F238E27FC236}">
                  <a16:creationId xmlns:a16="http://schemas.microsoft.com/office/drawing/2014/main" id="{92B131B7-1D93-824D-827E-2787BCBE885A}"/>
                </a:ext>
              </a:extLst>
            </p:cNvPr>
            <p:cNvGrpSpPr/>
            <p:nvPr userDrawn="1"/>
          </p:nvGrpSpPr>
          <p:grpSpPr>
            <a:xfrm>
              <a:off x="-266701" y="417981"/>
              <a:ext cx="12724248" cy="6286918"/>
              <a:chOff x="-266701" y="417981"/>
              <a:chExt cx="12724248" cy="6286918"/>
            </a:xfrm>
          </p:grpSpPr>
          <p:cxnSp>
            <p:nvCxnSpPr>
              <p:cNvPr id="175" name="Straight Connector 174">
                <a:extLst>
                  <a:ext uri="{FF2B5EF4-FFF2-40B4-BE49-F238E27FC236}">
                    <a16:creationId xmlns:a16="http://schemas.microsoft.com/office/drawing/2014/main" id="{5CE4DD47-593B-E94E-91D1-28423B581304}"/>
                  </a:ext>
                </a:extLst>
              </p:cNvPr>
              <p:cNvCxnSpPr>
                <a:cxnSpLocks/>
              </p:cNvCxnSpPr>
              <p:nvPr userDrawn="1"/>
            </p:nvCxnSpPr>
            <p:spPr>
              <a:xfrm rot="16200000" flipV="1">
                <a:off x="-137018" y="291969"/>
                <a:ext cx="0" cy="259364"/>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76" name="Group 175">
                <a:extLst>
                  <a:ext uri="{FF2B5EF4-FFF2-40B4-BE49-F238E27FC236}">
                    <a16:creationId xmlns:a16="http://schemas.microsoft.com/office/drawing/2014/main" id="{27FA0958-68A3-C243-93FA-3538F7DCB373}"/>
                  </a:ext>
                </a:extLst>
              </p:cNvPr>
              <p:cNvGrpSpPr/>
              <p:nvPr userDrawn="1"/>
            </p:nvGrpSpPr>
            <p:grpSpPr>
              <a:xfrm>
                <a:off x="-266700" y="6199390"/>
                <a:ext cx="259364" cy="505509"/>
                <a:chOff x="-256403" y="6200775"/>
                <a:chExt cx="251461" cy="505509"/>
              </a:xfrm>
            </p:grpSpPr>
            <p:grpSp>
              <p:nvGrpSpPr>
                <p:cNvPr id="189" name="Group 188">
                  <a:extLst>
                    <a:ext uri="{FF2B5EF4-FFF2-40B4-BE49-F238E27FC236}">
                      <a16:creationId xmlns:a16="http://schemas.microsoft.com/office/drawing/2014/main" id="{7CCE1B15-3633-FF46-8142-3D258979F23A}"/>
                    </a:ext>
                  </a:extLst>
                </p:cNvPr>
                <p:cNvGrpSpPr/>
                <p:nvPr userDrawn="1"/>
              </p:nvGrpSpPr>
              <p:grpSpPr>
                <a:xfrm rot="16200000">
                  <a:off x="-383427" y="6327799"/>
                  <a:ext cx="505509" cy="251461"/>
                  <a:chOff x="431800" y="-235792"/>
                  <a:chExt cx="4400551" cy="235792"/>
                </a:xfrm>
              </p:grpSpPr>
              <p:cxnSp>
                <p:nvCxnSpPr>
                  <p:cNvPr id="191" name="Straight Connector 190">
                    <a:extLst>
                      <a:ext uri="{FF2B5EF4-FFF2-40B4-BE49-F238E27FC236}">
                        <a16:creationId xmlns:a16="http://schemas.microsoft.com/office/drawing/2014/main" id="{C5AD6B23-A3F8-8C41-80B2-0C3F781BABC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2" name="Straight Connector 191">
                    <a:extLst>
                      <a:ext uri="{FF2B5EF4-FFF2-40B4-BE49-F238E27FC236}">
                        <a16:creationId xmlns:a16="http://schemas.microsoft.com/office/drawing/2014/main" id="{9D7E1F93-52D3-E248-A476-2FB416E6AB0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93" name="Rectangle 192">
                    <a:extLst>
                      <a:ext uri="{FF2B5EF4-FFF2-40B4-BE49-F238E27FC236}">
                        <a16:creationId xmlns:a16="http://schemas.microsoft.com/office/drawing/2014/main" id="{52754460-7EA9-984C-8C03-18D28E3A54C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190" name="TextBox 189">
                  <a:extLst>
                    <a:ext uri="{FF2B5EF4-FFF2-40B4-BE49-F238E27FC236}">
                      <a16:creationId xmlns:a16="http://schemas.microsoft.com/office/drawing/2014/main" id="{A3DD0651-3EBF-C243-B1DA-C185EDBE46E1}"/>
                    </a:ext>
                  </a:extLst>
                </p:cNvPr>
                <p:cNvSpPr txBox="1"/>
                <p:nvPr userDrawn="1"/>
              </p:nvSpPr>
              <p:spPr>
                <a:xfrm rot="16200000">
                  <a:off x="-284561" y="6399801"/>
                  <a:ext cx="307777" cy="129266"/>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FOOT</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NOTES</a:t>
                  </a:r>
                </a:p>
              </p:txBody>
            </p:sp>
          </p:grpSp>
          <p:grpSp>
            <p:nvGrpSpPr>
              <p:cNvPr id="177" name="Group 176">
                <a:extLst>
                  <a:ext uri="{FF2B5EF4-FFF2-40B4-BE49-F238E27FC236}">
                    <a16:creationId xmlns:a16="http://schemas.microsoft.com/office/drawing/2014/main" id="{053198C1-BFBE-0A42-A187-40BAB5B3F055}"/>
                  </a:ext>
                </a:extLst>
              </p:cNvPr>
              <p:cNvGrpSpPr/>
              <p:nvPr userDrawn="1"/>
            </p:nvGrpSpPr>
            <p:grpSpPr>
              <a:xfrm>
                <a:off x="-266701" y="417981"/>
                <a:ext cx="259364" cy="5746484"/>
                <a:chOff x="-256404" y="503932"/>
                <a:chExt cx="251461" cy="5644208"/>
              </a:xfrm>
            </p:grpSpPr>
            <p:grpSp>
              <p:nvGrpSpPr>
                <p:cNvPr id="183" name="Group 182">
                  <a:extLst>
                    <a:ext uri="{FF2B5EF4-FFF2-40B4-BE49-F238E27FC236}">
                      <a16:creationId xmlns:a16="http://schemas.microsoft.com/office/drawing/2014/main" id="{7660DE4C-09E2-B34F-9208-89952B36969F}"/>
                    </a:ext>
                  </a:extLst>
                </p:cNvPr>
                <p:cNvGrpSpPr/>
                <p:nvPr userDrawn="1"/>
              </p:nvGrpSpPr>
              <p:grpSpPr>
                <a:xfrm rot="16200000">
                  <a:off x="-2952777" y="3200305"/>
                  <a:ext cx="5644208" cy="251461"/>
                  <a:chOff x="431799" y="-235793"/>
                  <a:chExt cx="5128334" cy="235792"/>
                </a:xfrm>
              </p:grpSpPr>
              <p:cxnSp>
                <p:nvCxnSpPr>
                  <p:cNvPr id="187" name="Straight Connector 186">
                    <a:extLst>
                      <a:ext uri="{FF2B5EF4-FFF2-40B4-BE49-F238E27FC236}">
                        <a16:creationId xmlns:a16="http://schemas.microsoft.com/office/drawing/2014/main" id="{69DBC60C-8E77-7346-AA9D-897228D57BD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88" name="Rectangle 187">
                    <a:extLst>
                      <a:ext uri="{FF2B5EF4-FFF2-40B4-BE49-F238E27FC236}">
                        <a16:creationId xmlns:a16="http://schemas.microsoft.com/office/drawing/2014/main" id="{9D39DF86-E608-B14A-9998-82E3EF9F8985}"/>
                      </a:ext>
                    </a:extLst>
                  </p:cNvPr>
                  <p:cNvSpPr/>
                  <p:nvPr userDrawn="1"/>
                </p:nvSpPr>
                <p:spPr>
                  <a:xfrm rot="5400000">
                    <a:off x="2878070" y="-2682064"/>
                    <a:ext cx="235791" cy="5128334"/>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184" name="TextBox 183">
                  <a:extLst>
                    <a:ext uri="{FF2B5EF4-FFF2-40B4-BE49-F238E27FC236}">
                      <a16:creationId xmlns:a16="http://schemas.microsoft.com/office/drawing/2014/main" id="{F83C90A1-2898-7347-B45B-13D0B021BF80}"/>
                    </a:ext>
                  </a:extLst>
                </p:cNvPr>
                <p:cNvSpPr txBox="1"/>
                <p:nvPr userDrawn="1"/>
              </p:nvSpPr>
              <p:spPr>
                <a:xfrm rot="16200000">
                  <a:off x="-991957" y="3304120"/>
                  <a:ext cx="1722572" cy="8079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185" name="Straight Arrow Connector 184">
                  <a:extLst>
                    <a:ext uri="{FF2B5EF4-FFF2-40B4-BE49-F238E27FC236}">
                      <a16:creationId xmlns:a16="http://schemas.microsoft.com/office/drawing/2014/main" id="{D1E26DE8-1647-5E48-ABBC-84B083AB6F0F}"/>
                    </a:ext>
                  </a:extLst>
                </p:cNvPr>
                <p:cNvCxnSpPr>
                  <a:cxnSpLocks/>
                  <a:stCxn id="184" idx="1"/>
                </p:cNvCxnSpPr>
                <p:nvPr userDrawn="1"/>
              </p:nvCxnSpPr>
              <p:spPr>
                <a:xfrm flipH="1">
                  <a:off x="-130671" y="4205802"/>
                  <a:ext cx="1" cy="156032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86" name="Straight Arrow Connector 185">
                  <a:extLst>
                    <a:ext uri="{FF2B5EF4-FFF2-40B4-BE49-F238E27FC236}">
                      <a16:creationId xmlns:a16="http://schemas.microsoft.com/office/drawing/2014/main" id="{362FB4CB-5989-814A-86DE-80804562C46B}"/>
                    </a:ext>
                  </a:extLst>
                </p:cNvPr>
                <p:cNvCxnSpPr>
                  <a:cxnSpLocks/>
                  <a:stCxn id="184" idx="3"/>
                  <a:endCxn id="188" idx="0"/>
                </p:cNvCxnSpPr>
                <p:nvPr userDrawn="1"/>
              </p:nvCxnSpPr>
              <p:spPr>
                <a:xfrm flipH="1" flipV="1">
                  <a:off x="-130672" y="503932"/>
                  <a:ext cx="1" cy="1979298"/>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cxnSp>
            <p:nvCxnSpPr>
              <p:cNvPr id="178" name="Straight Connector 177">
                <a:extLst>
                  <a:ext uri="{FF2B5EF4-FFF2-40B4-BE49-F238E27FC236}">
                    <a16:creationId xmlns:a16="http://schemas.microsoft.com/office/drawing/2014/main" id="{B628E0B6-2AAD-5C4B-8900-32699B1BE0CD}"/>
                  </a:ext>
                </a:extLst>
              </p:cNvPr>
              <p:cNvCxnSpPr>
                <a:cxnSpLocks/>
              </p:cNvCxnSpPr>
              <p:nvPr userDrawn="1"/>
            </p:nvCxnSpPr>
            <p:spPr>
              <a:xfrm rot="16200000" flipV="1">
                <a:off x="12327866" y="291969"/>
                <a:ext cx="0" cy="25936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179" name="Group 178">
                <a:extLst>
                  <a:ext uri="{FF2B5EF4-FFF2-40B4-BE49-F238E27FC236}">
                    <a16:creationId xmlns:a16="http://schemas.microsoft.com/office/drawing/2014/main" id="{CFDDB252-F6ED-E74D-9743-9291CFB7B646}"/>
                  </a:ext>
                </a:extLst>
              </p:cNvPr>
              <p:cNvGrpSpPr/>
              <p:nvPr userDrawn="1"/>
            </p:nvGrpSpPr>
            <p:grpSpPr>
              <a:xfrm rot="16200000">
                <a:off x="12075109" y="6322462"/>
                <a:ext cx="505509" cy="259364"/>
                <a:chOff x="431801" y="-235792"/>
                <a:chExt cx="4400550" cy="235792"/>
              </a:xfrm>
            </p:grpSpPr>
            <p:cxnSp>
              <p:nvCxnSpPr>
                <p:cNvPr id="181" name="Straight Connector 180">
                  <a:extLst>
                    <a:ext uri="{FF2B5EF4-FFF2-40B4-BE49-F238E27FC236}">
                      <a16:creationId xmlns:a16="http://schemas.microsoft.com/office/drawing/2014/main" id="{B85E0FD6-0B2D-964A-B622-7C94BA3834E2}"/>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2" name="Straight Connector 181">
                  <a:extLst>
                    <a:ext uri="{FF2B5EF4-FFF2-40B4-BE49-F238E27FC236}">
                      <a16:creationId xmlns:a16="http://schemas.microsoft.com/office/drawing/2014/main" id="{3C5F6B44-7729-1042-9866-9CB632A61AF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cxnSp>
            <p:nvCxnSpPr>
              <p:cNvPr id="180" name="Straight Connector 179">
                <a:extLst>
                  <a:ext uri="{FF2B5EF4-FFF2-40B4-BE49-F238E27FC236}">
                    <a16:creationId xmlns:a16="http://schemas.microsoft.com/office/drawing/2014/main" id="{B2B07774-EA05-E545-AF9E-2C83960975DE}"/>
                  </a:ext>
                </a:extLst>
              </p:cNvPr>
              <p:cNvCxnSpPr>
                <a:cxnSpLocks/>
              </p:cNvCxnSpPr>
              <p:nvPr userDrawn="1"/>
            </p:nvCxnSpPr>
            <p:spPr>
              <a:xfrm rot="16200000" flipV="1">
                <a:off x="12327864" y="6034782"/>
                <a:ext cx="0" cy="259363"/>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13" name="Group 112">
              <a:extLst>
                <a:ext uri="{FF2B5EF4-FFF2-40B4-BE49-F238E27FC236}">
                  <a16:creationId xmlns:a16="http://schemas.microsoft.com/office/drawing/2014/main" id="{7DF522FD-A55A-D144-9C5D-F77065E5FC4C}"/>
                </a:ext>
              </a:extLst>
            </p:cNvPr>
            <p:cNvGrpSpPr/>
            <p:nvPr userDrawn="1"/>
          </p:nvGrpSpPr>
          <p:grpSpPr>
            <a:xfrm>
              <a:off x="574987" y="-246933"/>
              <a:ext cx="11040535" cy="7348688"/>
              <a:chOff x="574987" y="-246933"/>
              <a:chExt cx="11040535" cy="7348688"/>
            </a:xfrm>
          </p:grpSpPr>
          <p:grpSp>
            <p:nvGrpSpPr>
              <p:cNvPr id="126" name="Group 125">
                <a:extLst>
                  <a:ext uri="{FF2B5EF4-FFF2-40B4-BE49-F238E27FC236}">
                    <a16:creationId xmlns:a16="http://schemas.microsoft.com/office/drawing/2014/main" id="{501180D4-40E9-7340-8A3B-81DA8E5C09B4}"/>
                  </a:ext>
                </a:extLst>
              </p:cNvPr>
              <p:cNvGrpSpPr/>
              <p:nvPr userDrawn="1"/>
            </p:nvGrpSpPr>
            <p:grpSpPr>
              <a:xfrm>
                <a:off x="574987" y="-246933"/>
                <a:ext cx="11040535" cy="7347304"/>
                <a:chOff x="431240" y="-246933"/>
                <a:chExt cx="8280401" cy="7347304"/>
              </a:xfrm>
            </p:grpSpPr>
            <p:grpSp>
              <p:nvGrpSpPr>
                <p:cNvPr id="164" name="Group 163">
                  <a:extLst>
                    <a:ext uri="{FF2B5EF4-FFF2-40B4-BE49-F238E27FC236}">
                      <a16:creationId xmlns:a16="http://schemas.microsoft.com/office/drawing/2014/main" id="{F84680A6-2EC6-B44F-9CC4-E4E34BA10977}"/>
                    </a:ext>
                  </a:extLst>
                </p:cNvPr>
                <p:cNvGrpSpPr/>
                <p:nvPr userDrawn="1"/>
              </p:nvGrpSpPr>
              <p:grpSpPr>
                <a:xfrm>
                  <a:off x="431242" y="6864579"/>
                  <a:ext cx="8280398" cy="235792"/>
                  <a:chOff x="431801" y="-235792"/>
                  <a:chExt cx="4400550" cy="235792"/>
                </a:xfrm>
              </p:grpSpPr>
              <p:cxnSp>
                <p:nvCxnSpPr>
                  <p:cNvPr id="173" name="Straight Connector 172">
                    <a:extLst>
                      <a:ext uri="{FF2B5EF4-FFF2-40B4-BE49-F238E27FC236}">
                        <a16:creationId xmlns:a16="http://schemas.microsoft.com/office/drawing/2014/main" id="{26CFD336-F345-3C40-B863-7A6D52F24CA2}"/>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4" name="Straight Connector 173">
                    <a:extLst>
                      <a:ext uri="{FF2B5EF4-FFF2-40B4-BE49-F238E27FC236}">
                        <a16:creationId xmlns:a16="http://schemas.microsoft.com/office/drawing/2014/main" id="{F0DA6EB7-EA35-4B45-9BDC-E12A313D114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65" name="Group 164">
                  <a:extLst>
                    <a:ext uri="{FF2B5EF4-FFF2-40B4-BE49-F238E27FC236}">
                      <a16:creationId xmlns:a16="http://schemas.microsoft.com/office/drawing/2014/main" id="{EF79150B-289A-184F-93B1-F59D62B016B7}"/>
                    </a:ext>
                  </a:extLst>
                </p:cNvPr>
                <p:cNvGrpSpPr/>
                <p:nvPr userDrawn="1"/>
              </p:nvGrpSpPr>
              <p:grpSpPr>
                <a:xfrm>
                  <a:off x="431240" y="-246933"/>
                  <a:ext cx="8280401" cy="235792"/>
                  <a:chOff x="431800" y="-240735"/>
                  <a:chExt cx="8280401" cy="235792"/>
                </a:xfrm>
              </p:grpSpPr>
              <p:grpSp>
                <p:nvGrpSpPr>
                  <p:cNvPr id="166" name="Group 165">
                    <a:extLst>
                      <a:ext uri="{FF2B5EF4-FFF2-40B4-BE49-F238E27FC236}">
                        <a16:creationId xmlns:a16="http://schemas.microsoft.com/office/drawing/2014/main" id="{B6997769-71B5-DE4E-8C0B-6BE33EE5F44B}"/>
                      </a:ext>
                    </a:extLst>
                  </p:cNvPr>
                  <p:cNvGrpSpPr/>
                  <p:nvPr userDrawn="1"/>
                </p:nvGrpSpPr>
                <p:grpSpPr>
                  <a:xfrm>
                    <a:off x="431800" y="-240735"/>
                    <a:ext cx="8280400" cy="235792"/>
                    <a:chOff x="431800" y="-235792"/>
                    <a:chExt cx="4400551" cy="235792"/>
                  </a:xfrm>
                </p:grpSpPr>
                <p:cxnSp>
                  <p:nvCxnSpPr>
                    <p:cNvPr id="170" name="Straight Connector 169">
                      <a:extLst>
                        <a:ext uri="{FF2B5EF4-FFF2-40B4-BE49-F238E27FC236}">
                          <a16:creationId xmlns:a16="http://schemas.microsoft.com/office/drawing/2014/main" id="{C5F0A73C-6D7E-8F43-B809-D7C49CC19F0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1" name="Straight Connector 170">
                      <a:extLst>
                        <a:ext uri="{FF2B5EF4-FFF2-40B4-BE49-F238E27FC236}">
                          <a16:creationId xmlns:a16="http://schemas.microsoft.com/office/drawing/2014/main" id="{9561897B-3F5F-AA45-A77A-FBFC53DA1E0D}"/>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2" name="Rectangle 171">
                      <a:extLst>
                        <a:ext uri="{FF2B5EF4-FFF2-40B4-BE49-F238E27FC236}">
                          <a16:creationId xmlns:a16="http://schemas.microsoft.com/office/drawing/2014/main" id="{8E5514B6-317B-514A-91DF-3FB4BBE5C0D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167" name="TextBox 166">
                    <a:extLst>
                      <a:ext uri="{FF2B5EF4-FFF2-40B4-BE49-F238E27FC236}">
                        <a16:creationId xmlns:a16="http://schemas.microsoft.com/office/drawing/2014/main" id="{97BEC2A9-4B0F-B94A-9B4B-084E83205186}"/>
                      </a:ext>
                    </a:extLst>
                  </p:cNvPr>
                  <p:cNvSpPr txBox="1"/>
                  <p:nvPr userDrawn="1"/>
                </p:nvSpPr>
                <p:spPr>
                  <a:xfrm>
                    <a:off x="3914336" y="-176700"/>
                    <a:ext cx="1315339"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168" name="Straight Arrow Connector 167">
                    <a:extLst>
                      <a:ext uri="{FF2B5EF4-FFF2-40B4-BE49-F238E27FC236}">
                        <a16:creationId xmlns:a16="http://schemas.microsoft.com/office/drawing/2014/main" id="{875FE8B3-5DF3-1548-A382-21E6F5B3C142}"/>
                      </a:ext>
                    </a:extLst>
                  </p:cNvPr>
                  <p:cNvCxnSpPr>
                    <a:cxnSpLocks/>
                    <a:stCxn id="167" idx="1"/>
                    <a:endCxn id="172" idx="2"/>
                  </p:cNvCxnSpPr>
                  <p:nvPr userDrawn="1"/>
                </p:nvCxnSpPr>
                <p:spPr>
                  <a:xfrm flipH="1">
                    <a:off x="431801" y="-122839"/>
                    <a:ext cx="3482535"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69" name="Straight Arrow Connector 168">
                    <a:extLst>
                      <a:ext uri="{FF2B5EF4-FFF2-40B4-BE49-F238E27FC236}">
                        <a16:creationId xmlns:a16="http://schemas.microsoft.com/office/drawing/2014/main" id="{430E768F-F27E-284C-9FE9-F26E66C72D8C}"/>
                      </a:ext>
                    </a:extLst>
                  </p:cNvPr>
                  <p:cNvCxnSpPr>
                    <a:cxnSpLocks/>
                    <a:stCxn id="167" idx="3"/>
                    <a:endCxn id="172" idx="0"/>
                  </p:cNvCxnSpPr>
                  <p:nvPr userDrawn="1"/>
                </p:nvCxnSpPr>
                <p:spPr>
                  <a:xfrm flipV="1">
                    <a:off x="5229674" y="-122840"/>
                    <a:ext cx="3482527"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27" name="Group 126">
                <a:extLst>
                  <a:ext uri="{FF2B5EF4-FFF2-40B4-BE49-F238E27FC236}">
                    <a16:creationId xmlns:a16="http://schemas.microsoft.com/office/drawing/2014/main" id="{F957A318-9793-2845-BA81-0686C62334C9}"/>
                  </a:ext>
                </a:extLst>
              </p:cNvPr>
              <p:cNvGrpSpPr/>
              <p:nvPr userDrawn="1"/>
            </p:nvGrpSpPr>
            <p:grpSpPr>
              <a:xfrm>
                <a:off x="4161863" y="6865965"/>
                <a:ext cx="3906819" cy="235790"/>
                <a:chOff x="3121388" y="6869197"/>
                <a:chExt cx="2930114" cy="235790"/>
              </a:xfrm>
            </p:grpSpPr>
            <p:grpSp>
              <p:nvGrpSpPr>
                <p:cNvPr id="139" name="Group 138">
                  <a:extLst>
                    <a:ext uri="{FF2B5EF4-FFF2-40B4-BE49-F238E27FC236}">
                      <a16:creationId xmlns:a16="http://schemas.microsoft.com/office/drawing/2014/main" id="{F880BE52-8AEC-5245-BFE4-689105FDED23}"/>
                    </a:ext>
                  </a:extLst>
                </p:cNvPr>
                <p:cNvGrpSpPr/>
                <p:nvPr userDrawn="1"/>
              </p:nvGrpSpPr>
              <p:grpSpPr>
                <a:xfrm>
                  <a:off x="3184525" y="6869197"/>
                  <a:ext cx="2774950" cy="60992"/>
                  <a:chOff x="3184525" y="6869196"/>
                  <a:chExt cx="2774950" cy="235791"/>
                </a:xfrm>
              </p:grpSpPr>
              <p:cxnSp>
                <p:nvCxnSpPr>
                  <p:cNvPr id="160" name="Straight Connector 159">
                    <a:extLst>
                      <a:ext uri="{FF2B5EF4-FFF2-40B4-BE49-F238E27FC236}">
                        <a16:creationId xmlns:a16="http://schemas.microsoft.com/office/drawing/2014/main" id="{291A78BC-7557-F34B-92D2-2B9ADC048C2F}"/>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1" name="Straight Connector 160">
                    <a:extLst>
                      <a:ext uri="{FF2B5EF4-FFF2-40B4-BE49-F238E27FC236}">
                        <a16:creationId xmlns:a16="http://schemas.microsoft.com/office/drawing/2014/main" id="{5B01DA3B-06EC-9247-9240-04B0356AC1D9}"/>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2" name="Straight Connector 161">
                    <a:extLst>
                      <a:ext uri="{FF2B5EF4-FFF2-40B4-BE49-F238E27FC236}">
                        <a16:creationId xmlns:a16="http://schemas.microsoft.com/office/drawing/2014/main" id="{66B28703-6CDD-614B-9B8D-9DE09D9A375E}"/>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40" name="TextBox 139">
                  <a:extLst>
                    <a:ext uri="{FF2B5EF4-FFF2-40B4-BE49-F238E27FC236}">
                      <a16:creationId xmlns:a16="http://schemas.microsoft.com/office/drawing/2014/main" id="{C2271899-8C75-E942-8362-B0B6066109C5}"/>
                    </a:ext>
                  </a:extLst>
                </p:cNvPr>
                <p:cNvSpPr txBox="1"/>
                <p:nvPr userDrawn="1"/>
              </p:nvSpPr>
              <p:spPr>
                <a:xfrm>
                  <a:off x="3121388" y="6954537"/>
                  <a:ext cx="153888"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1/3</a:t>
                  </a:r>
                  <a:r>
                    <a:rPr lang="en-US" sz="650" kern="1200" baseline="30000">
                      <a:solidFill>
                        <a:schemeClr val="accent2"/>
                      </a:solidFill>
                      <a:latin typeface="Arial" charset="0"/>
                      <a:ea typeface="Arial" charset="0"/>
                      <a:cs typeface="Arial" charset="0"/>
                    </a:rPr>
                    <a:t>RD</a:t>
                  </a:r>
                </a:p>
              </p:txBody>
            </p:sp>
            <p:sp>
              <p:nvSpPr>
                <p:cNvPr id="141" name="TextBox 140">
                  <a:extLst>
                    <a:ext uri="{FF2B5EF4-FFF2-40B4-BE49-F238E27FC236}">
                      <a16:creationId xmlns:a16="http://schemas.microsoft.com/office/drawing/2014/main" id="{CBA33833-5F4E-D14D-A18B-3153FE871CBC}"/>
                    </a:ext>
                  </a:extLst>
                </p:cNvPr>
                <p:cNvSpPr txBox="1"/>
                <p:nvPr userDrawn="1"/>
              </p:nvSpPr>
              <p:spPr>
                <a:xfrm>
                  <a:off x="4487991" y="6954537"/>
                  <a:ext cx="170720"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HALF</a:t>
                  </a:r>
                </a:p>
              </p:txBody>
            </p:sp>
            <p:sp>
              <p:nvSpPr>
                <p:cNvPr id="142" name="TextBox 141">
                  <a:extLst>
                    <a:ext uri="{FF2B5EF4-FFF2-40B4-BE49-F238E27FC236}">
                      <a16:creationId xmlns:a16="http://schemas.microsoft.com/office/drawing/2014/main" id="{611427D9-6339-3847-9F26-EA10058C4310}"/>
                    </a:ext>
                  </a:extLst>
                </p:cNvPr>
                <p:cNvSpPr txBox="1"/>
                <p:nvPr userDrawn="1"/>
              </p:nvSpPr>
              <p:spPr>
                <a:xfrm>
                  <a:off x="5869961" y="6954537"/>
                  <a:ext cx="181541"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2/3</a:t>
                  </a:r>
                  <a:r>
                    <a:rPr lang="en-US" sz="650" baseline="30000">
                      <a:solidFill>
                        <a:schemeClr val="accent2"/>
                      </a:solidFill>
                      <a:latin typeface="Arial" charset="0"/>
                      <a:ea typeface="Arial" charset="0"/>
                      <a:cs typeface="Arial" charset="0"/>
                    </a:rPr>
                    <a:t>RDS</a:t>
                  </a:r>
                </a:p>
              </p:txBody>
            </p:sp>
            <p:grpSp>
              <p:nvGrpSpPr>
                <p:cNvPr id="143" name="Group 142">
                  <a:extLst>
                    <a:ext uri="{FF2B5EF4-FFF2-40B4-BE49-F238E27FC236}">
                      <a16:creationId xmlns:a16="http://schemas.microsoft.com/office/drawing/2014/main" id="{76F216CD-9828-6B4E-AE64-9E32325CDF1C}"/>
                    </a:ext>
                  </a:extLst>
                </p:cNvPr>
                <p:cNvGrpSpPr/>
                <p:nvPr userDrawn="1"/>
              </p:nvGrpSpPr>
              <p:grpSpPr>
                <a:xfrm>
                  <a:off x="3184525" y="7040714"/>
                  <a:ext cx="2774950" cy="64273"/>
                  <a:chOff x="3184525" y="6869196"/>
                  <a:chExt cx="2774950" cy="235791"/>
                </a:xfrm>
              </p:grpSpPr>
              <p:cxnSp>
                <p:nvCxnSpPr>
                  <p:cNvPr id="157" name="Straight Connector 156">
                    <a:extLst>
                      <a:ext uri="{FF2B5EF4-FFF2-40B4-BE49-F238E27FC236}">
                        <a16:creationId xmlns:a16="http://schemas.microsoft.com/office/drawing/2014/main" id="{4B5104C8-9B9E-4A45-BBFE-928E2475C2DA}"/>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8" name="Straight Connector 157">
                    <a:extLst>
                      <a:ext uri="{FF2B5EF4-FFF2-40B4-BE49-F238E27FC236}">
                        <a16:creationId xmlns:a16="http://schemas.microsoft.com/office/drawing/2014/main" id="{979FB144-0F91-E24E-A9D8-CC040B3641C8}"/>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9" name="Straight Connector 158">
                    <a:extLst>
                      <a:ext uri="{FF2B5EF4-FFF2-40B4-BE49-F238E27FC236}">
                        <a16:creationId xmlns:a16="http://schemas.microsoft.com/office/drawing/2014/main" id="{CA0FA91B-6952-8742-AA06-A689854DD7F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grpSp>
      <p:grpSp>
        <p:nvGrpSpPr>
          <p:cNvPr id="194" name="Group 193">
            <a:extLst>
              <a:ext uri="{FF2B5EF4-FFF2-40B4-BE49-F238E27FC236}">
                <a16:creationId xmlns:a16="http://schemas.microsoft.com/office/drawing/2014/main" id="{8AD66C11-2975-9E49-BBAC-86344CDFE5FC}"/>
              </a:ext>
            </a:extLst>
          </p:cNvPr>
          <p:cNvGrpSpPr/>
          <p:nvPr userDrawn="1"/>
        </p:nvGrpSpPr>
        <p:grpSpPr>
          <a:xfrm>
            <a:off x="12532244" y="-2"/>
            <a:ext cx="2979899" cy="9689553"/>
            <a:chOff x="9399182" y="-2"/>
            <a:chExt cx="2961715" cy="9689553"/>
          </a:xfrm>
        </p:grpSpPr>
        <p:sp>
          <p:nvSpPr>
            <p:cNvPr id="195" name="Rectangle 194">
              <a:extLst>
                <a:ext uri="{FF2B5EF4-FFF2-40B4-BE49-F238E27FC236}">
                  <a16:creationId xmlns:a16="http://schemas.microsoft.com/office/drawing/2014/main" id="{28127B2D-0235-2248-8628-78863295C7DD}"/>
                </a:ext>
              </a:extLst>
            </p:cNvPr>
            <p:cNvSpPr/>
            <p:nvPr userDrawn="1"/>
          </p:nvSpPr>
          <p:spPr>
            <a:xfrm>
              <a:off x="9399182" y="-2"/>
              <a:ext cx="2798651" cy="951547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196" name="Picture 195">
              <a:extLst>
                <a:ext uri="{FF2B5EF4-FFF2-40B4-BE49-F238E27FC236}">
                  <a16:creationId xmlns:a16="http://schemas.microsoft.com/office/drawing/2014/main" id="{B1242ED4-AE42-ED42-AD20-524DCA04AA6D}"/>
                </a:ext>
              </a:extLst>
            </p:cNvPr>
            <p:cNvPicPr>
              <a:picLocks noChangeAspect="1"/>
            </p:cNvPicPr>
            <p:nvPr userDrawn="1"/>
          </p:nvPicPr>
          <p:blipFill rotWithShape="1">
            <a:blip r:embed="rId2"/>
            <a:srcRect t="18182" r="54279" b="28233"/>
            <a:stretch/>
          </p:blipFill>
          <p:spPr>
            <a:xfrm>
              <a:off x="9558506" y="1325046"/>
              <a:ext cx="2639326" cy="784740"/>
            </a:xfrm>
            <a:prstGeom prst="rect">
              <a:avLst/>
            </a:prstGeom>
          </p:spPr>
        </p:pic>
        <p:sp>
          <p:nvSpPr>
            <p:cNvPr id="197" name="Rectangle 196">
              <a:extLst>
                <a:ext uri="{FF2B5EF4-FFF2-40B4-BE49-F238E27FC236}">
                  <a16:creationId xmlns:a16="http://schemas.microsoft.com/office/drawing/2014/main" id="{28BCC5A5-A62B-CE4A-BA78-F2989EFD7A6B}"/>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98" name="TextBox 197">
              <a:extLst>
                <a:ext uri="{FF2B5EF4-FFF2-40B4-BE49-F238E27FC236}">
                  <a16:creationId xmlns:a16="http://schemas.microsoft.com/office/drawing/2014/main" id="{9A06846B-7D85-C842-A355-C7DC3A5F4765}"/>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 Access programmed text formats by using the ‘Indent More’ button to change the indent level. </a:t>
              </a:r>
            </a:p>
          </p:txBody>
        </p:sp>
        <p:pic>
          <p:nvPicPr>
            <p:cNvPr id="199" name="Picture 198">
              <a:extLst>
                <a:ext uri="{FF2B5EF4-FFF2-40B4-BE49-F238E27FC236}">
                  <a16:creationId xmlns:a16="http://schemas.microsoft.com/office/drawing/2014/main" id="{A14E1ABE-0D43-C947-B1BF-E4FB6F051290}"/>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201" name="TextBox 200">
              <a:extLst>
                <a:ext uri="{FF2B5EF4-FFF2-40B4-BE49-F238E27FC236}">
                  <a16:creationId xmlns:a16="http://schemas.microsoft.com/office/drawing/2014/main" id="{ED9A0AEE-CB3D-5741-85E5-30CA06230345}"/>
                </a:ext>
              </a:extLst>
            </p:cNvPr>
            <p:cNvSpPr txBox="1"/>
            <p:nvPr userDrawn="1"/>
          </p:nvSpPr>
          <p:spPr>
            <a:xfrm>
              <a:off x="9558507" y="1119891"/>
              <a:ext cx="173485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 TEXT FORMATS IN THIS LAYOUT </a:t>
              </a:r>
            </a:p>
          </p:txBody>
        </p:sp>
        <p:cxnSp>
          <p:nvCxnSpPr>
            <p:cNvPr id="202" name="Straight Connector 201">
              <a:extLst>
                <a:ext uri="{FF2B5EF4-FFF2-40B4-BE49-F238E27FC236}">
                  <a16:creationId xmlns:a16="http://schemas.microsoft.com/office/drawing/2014/main" id="{AC1C7F10-2631-F946-B46C-03C48F258F50}"/>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203" name="Group 202">
              <a:extLst>
                <a:ext uri="{FF2B5EF4-FFF2-40B4-BE49-F238E27FC236}">
                  <a16:creationId xmlns:a16="http://schemas.microsoft.com/office/drawing/2014/main" id="{82842FF7-5A28-694F-BA42-630713E53EC3}"/>
                </a:ext>
              </a:extLst>
            </p:cNvPr>
            <p:cNvGrpSpPr/>
            <p:nvPr userDrawn="1"/>
          </p:nvGrpSpPr>
          <p:grpSpPr>
            <a:xfrm>
              <a:off x="9521833" y="2253495"/>
              <a:ext cx="2754815" cy="7436056"/>
              <a:chOff x="9521833" y="2531409"/>
              <a:chExt cx="2754815" cy="7436056"/>
            </a:xfrm>
          </p:grpSpPr>
          <p:sp>
            <p:nvSpPr>
              <p:cNvPr id="204" name="TextBox 203">
                <a:extLst>
                  <a:ext uri="{FF2B5EF4-FFF2-40B4-BE49-F238E27FC236}">
                    <a16:creationId xmlns:a16="http://schemas.microsoft.com/office/drawing/2014/main" id="{C76B451C-9579-4B4A-8A4A-D7F2E4D9F436}"/>
                  </a:ext>
                </a:extLst>
              </p:cNvPr>
              <p:cNvSpPr txBox="1"/>
              <p:nvPr userDrawn="1"/>
            </p:nvSpPr>
            <p:spPr>
              <a:xfrm>
                <a:off x="9558507" y="3953640"/>
                <a:ext cx="129121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 HOW TO ADD AN IMAGE </a:t>
                </a:r>
              </a:p>
            </p:txBody>
          </p:sp>
          <p:cxnSp>
            <p:nvCxnSpPr>
              <p:cNvPr id="205" name="Straight Connector 204">
                <a:extLst>
                  <a:ext uri="{FF2B5EF4-FFF2-40B4-BE49-F238E27FC236}">
                    <a16:creationId xmlns:a16="http://schemas.microsoft.com/office/drawing/2014/main" id="{1FFA6B1C-271D-1040-9AA2-58C4436C4E2E}"/>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06" name="TextBox 205">
                <a:extLst>
                  <a:ext uri="{FF2B5EF4-FFF2-40B4-BE49-F238E27FC236}">
                    <a16:creationId xmlns:a16="http://schemas.microsoft.com/office/drawing/2014/main" id="{A082623B-6768-2D43-8833-E9EE5D885481}"/>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 Method 1: </a:t>
                </a:r>
                <a:r>
                  <a:rPr lang="en-US" sz="600" b="0"/>
                  <a:t> from file browser </a:t>
                </a:r>
              </a:p>
              <a:p>
                <a:pPr lvl="1">
                  <a:buNone/>
                </a:pPr>
                <a:r>
                  <a:rPr lang="en-US" sz="1050"/>
                  <a:t> Drag the image onto the slide. </a:t>
                </a:r>
              </a:p>
            </p:txBody>
          </p:sp>
          <p:sp>
            <p:nvSpPr>
              <p:cNvPr id="207" name="Rectangle 206">
                <a:extLst>
                  <a:ext uri="{FF2B5EF4-FFF2-40B4-BE49-F238E27FC236}">
                    <a16:creationId xmlns:a16="http://schemas.microsoft.com/office/drawing/2014/main" id="{77D06D0E-1DB3-EA49-BD36-73A8A3EEBA1D}"/>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08" name="TextBox 207">
                <a:extLst>
                  <a:ext uri="{FF2B5EF4-FFF2-40B4-BE49-F238E27FC236}">
                    <a16:creationId xmlns:a16="http://schemas.microsoft.com/office/drawing/2014/main" id="{7AAD089E-4405-9343-9D36-916BAB820E8F}"/>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 TIP: Change Image </a:t>
                </a:r>
              </a:p>
            </p:txBody>
          </p:sp>
          <p:pic>
            <p:nvPicPr>
              <p:cNvPr id="209" name="Graphic 208">
                <a:extLst>
                  <a:ext uri="{FF2B5EF4-FFF2-40B4-BE49-F238E27FC236}">
                    <a16:creationId xmlns:a16="http://schemas.microsoft.com/office/drawing/2014/main" id="{283E73A4-6056-B74F-A4A7-601090D9606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210" name="TextBox 209">
                <a:extLst>
                  <a:ext uri="{FF2B5EF4-FFF2-40B4-BE49-F238E27FC236}">
                    <a16:creationId xmlns:a16="http://schemas.microsoft.com/office/drawing/2014/main" id="{08B9906F-9399-2943-AB29-E1D6C018CEBF}"/>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 Deleting the image may bring the image placeholder to the top layer. Right-click on the placeholder and choose “Send to Back”. </a:t>
                </a:r>
              </a:p>
            </p:txBody>
          </p:sp>
          <p:sp>
            <p:nvSpPr>
              <p:cNvPr id="211" name="TextBox 210">
                <a:extLst>
                  <a:ext uri="{FF2B5EF4-FFF2-40B4-BE49-F238E27FC236}">
                    <a16:creationId xmlns:a16="http://schemas.microsoft.com/office/drawing/2014/main" id="{724B9D79-29C4-B043-8BC6-F2AE9DCB4C44}"/>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 First, delete the existing image to reset the photo placeholder functionality. </a:t>
                </a:r>
              </a:p>
            </p:txBody>
          </p:sp>
          <p:sp>
            <p:nvSpPr>
              <p:cNvPr id="212" name="TextBox 211">
                <a:extLst>
                  <a:ext uri="{FF2B5EF4-FFF2-40B4-BE49-F238E27FC236}">
                    <a16:creationId xmlns:a16="http://schemas.microsoft.com/office/drawing/2014/main" id="{33537B98-2D56-6347-BFFC-F824CD024A55}"/>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 You can now add a new image as normal. </a:t>
                </a:r>
              </a:p>
            </p:txBody>
          </p:sp>
          <p:sp>
            <p:nvSpPr>
              <p:cNvPr id="213" name="Rectangle 212">
                <a:extLst>
                  <a:ext uri="{FF2B5EF4-FFF2-40B4-BE49-F238E27FC236}">
                    <a16:creationId xmlns:a16="http://schemas.microsoft.com/office/drawing/2014/main" id="{00140BAB-F99A-A843-A4A8-9FDCA554EEBD}"/>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14" name="TextBox 213">
                <a:extLst>
                  <a:ext uri="{FF2B5EF4-FFF2-40B4-BE49-F238E27FC236}">
                    <a16:creationId xmlns:a16="http://schemas.microsoft.com/office/drawing/2014/main" id="{03672F1B-9261-BF42-9E74-CAE628F18EEC}"/>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 TIP: Crop Image </a:t>
                </a:r>
              </a:p>
            </p:txBody>
          </p:sp>
          <p:pic>
            <p:nvPicPr>
              <p:cNvPr id="215" name="Graphic 214">
                <a:extLst>
                  <a:ext uri="{FF2B5EF4-FFF2-40B4-BE49-F238E27FC236}">
                    <a16:creationId xmlns:a16="http://schemas.microsoft.com/office/drawing/2014/main" id="{38590CC8-BD6A-6B4C-8722-A05E5E4F351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216" name="TextBox 215">
                <a:extLst>
                  <a:ext uri="{FF2B5EF4-FFF2-40B4-BE49-F238E27FC236}">
                    <a16:creationId xmlns:a16="http://schemas.microsoft.com/office/drawing/2014/main" id="{07828A06-51E8-DB49-9304-467C3EB14D47}"/>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 Right-click on the image. </a:t>
                </a:r>
              </a:p>
              <a:p>
                <a:pPr lvl="1">
                  <a:defRPr/>
                </a:pPr>
                <a:r>
                  <a:rPr lang="en-US" sz="900" kern="1200">
                    <a:solidFill>
                      <a:schemeClr val="tx1">
                        <a:lumMod val="50000"/>
                        <a:lumOff val="50000"/>
                      </a:schemeClr>
                    </a:solidFill>
                    <a:latin typeface="Arial" charset="0"/>
                    <a:cs typeface="Arial" charset="0"/>
                  </a:rPr>
                  <a:t> Choose “Crop” from the menu. ( ) </a:t>
                </a:r>
              </a:p>
              <a:p>
                <a:pPr lvl="1">
                  <a:defRPr/>
                </a:pPr>
                <a:r>
                  <a:rPr lang="en-US" sz="900" kern="1200">
                    <a:solidFill>
                      <a:schemeClr val="tx1">
                        <a:lumMod val="50000"/>
                        <a:lumOff val="50000"/>
                      </a:schemeClr>
                    </a:solidFill>
                    <a:latin typeface="Arial" charset="0"/>
                    <a:cs typeface="Arial" charset="0"/>
                  </a:rPr>
                  <a:t> Adjust the size and position of the image. </a:t>
                </a:r>
              </a:p>
              <a:p>
                <a:pPr lvl="1">
                  <a:defRPr/>
                </a:pPr>
                <a:r>
                  <a:rPr lang="en-US" sz="900" kern="1200">
                    <a:solidFill>
                      <a:schemeClr val="tx1">
                        <a:lumMod val="50000"/>
                        <a:lumOff val="50000"/>
                      </a:schemeClr>
                    </a:solidFill>
                    <a:latin typeface="Arial" charset="0"/>
                    <a:cs typeface="Arial" charset="0"/>
                  </a:rPr>
                  <a:t> Press Esc or click outside the image area to exit the cropping mode. </a:t>
                </a:r>
              </a:p>
            </p:txBody>
          </p:sp>
          <p:pic>
            <p:nvPicPr>
              <p:cNvPr id="217" name="Picture 216">
                <a:extLst>
                  <a:ext uri="{FF2B5EF4-FFF2-40B4-BE49-F238E27FC236}">
                    <a16:creationId xmlns:a16="http://schemas.microsoft.com/office/drawing/2014/main" id="{EBB11478-4E6F-7547-ACD1-CA1BA161576E}"/>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218" name="TextBox 217">
                <a:extLst>
                  <a:ext uri="{FF2B5EF4-FFF2-40B4-BE49-F238E27FC236}">
                    <a16:creationId xmlns:a16="http://schemas.microsoft.com/office/drawing/2014/main" id="{29E6DF84-C09E-BA44-AC49-76AAD17F3E79}"/>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 1 </a:t>
                </a:r>
              </a:p>
            </p:txBody>
          </p:sp>
          <p:sp>
            <p:nvSpPr>
              <p:cNvPr id="219" name="TextBox 218">
                <a:extLst>
                  <a:ext uri="{FF2B5EF4-FFF2-40B4-BE49-F238E27FC236}">
                    <a16:creationId xmlns:a16="http://schemas.microsoft.com/office/drawing/2014/main" id="{276432B4-06A4-B54F-A202-2091AFCB9EF7}"/>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 2 </a:t>
                </a:r>
              </a:p>
            </p:txBody>
          </p:sp>
          <p:sp>
            <p:nvSpPr>
              <p:cNvPr id="220" name="TextBox 219">
                <a:extLst>
                  <a:ext uri="{FF2B5EF4-FFF2-40B4-BE49-F238E27FC236}">
                    <a16:creationId xmlns:a16="http://schemas.microsoft.com/office/drawing/2014/main" id="{CEC7C036-69D2-1449-B324-1BA37B23622B}"/>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 Select and download images from the Marketing Resource Database. </a:t>
                </a:r>
              </a:p>
              <a:p>
                <a:pPr lvl="0"/>
                <a:r>
                  <a:rPr lang="en-US" sz="1050"/>
                  <a:t> Add the image to the placeholder. </a:t>
                </a:r>
              </a:p>
            </p:txBody>
          </p:sp>
          <p:sp>
            <p:nvSpPr>
              <p:cNvPr id="221" name="TextBox 220">
                <a:extLst>
                  <a:ext uri="{FF2B5EF4-FFF2-40B4-BE49-F238E27FC236}">
                    <a16:creationId xmlns:a16="http://schemas.microsoft.com/office/drawing/2014/main" id="{06BE9B8C-52B4-4E4D-870D-46756668DA47}"/>
                  </a:ext>
                </a:extLst>
              </p:cNvPr>
              <p:cNvSpPr txBox="1"/>
              <p:nvPr userDrawn="1"/>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 Note: If there are multiple image placeholders on the slide, select the intended placeholder before dragging in the image to let PowerPoint know where you want it. </a:t>
                </a:r>
              </a:p>
            </p:txBody>
          </p:sp>
          <p:sp>
            <p:nvSpPr>
              <p:cNvPr id="222" name="TextBox 221">
                <a:extLst>
                  <a:ext uri="{FF2B5EF4-FFF2-40B4-BE49-F238E27FC236}">
                    <a16:creationId xmlns:a16="http://schemas.microsoft.com/office/drawing/2014/main" id="{E49D1756-B544-D94F-9B56-AF233161317B}"/>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 Method 2: </a:t>
                </a:r>
                <a:r>
                  <a:rPr lang="en-US" sz="600" b="0"/>
                  <a:t> Paste from clipboard </a:t>
                </a:r>
              </a:p>
              <a:p>
                <a:pPr lvl="1">
                  <a:buNone/>
                </a:pPr>
                <a:r>
                  <a:rPr lang="en-US" sz="1050"/>
                  <a:t> Select the image placeholder. </a:t>
                </a:r>
              </a:p>
              <a:p>
                <a:pPr lvl="1">
                  <a:buNone/>
                </a:pPr>
                <a:r>
                  <a:rPr lang="en-US" sz="1050"/>
                  <a:t> Right-click or use keyboard shortcuts to paste the image. </a:t>
                </a:r>
              </a:p>
            </p:txBody>
          </p:sp>
          <p:sp>
            <p:nvSpPr>
              <p:cNvPr id="223" name="TextBox 222">
                <a:extLst>
                  <a:ext uri="{FF2B5EF4-FFF2-40B4-BE49-F238E27FC236}">
                    <a16:creationId xmlns:a16="http://schemas.microsoft.com/office/drawing/2014/main" id="{962FFA2B-2711-7841-AEB1-25273966DC4D}"/>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 Method 3: </a:t>
                </a:r>
                <a:r>
                  <a:rPr lang="en-US" sz="600" b="0"/>
                  <a:t> Placeholder icon </a:t>
                </a:r>
              </a:p>
              <a:p>
                <a:pPr lvl="1">
                  <a:buNone/>
                </a:pPr>
                <a:r>
                  <a:rPr lang="en-US" sz="1050"/>
                  <a:t> Click the image icon inside the placeholder to browse for an image. </a:t>
                </a:r>
              </a:p>
            </p:txBody>
          </p:sp>
          <p:sp>
            <p:nvSpPr>
              <p:cNvPr id="224" name="TextBox 223">
                <a:extLst>
                  <a:ext uri="{FF2B5EF4-FFF2-40B4-BE49-F238E27FC236}">
                    <a16:creationId xmlns:a16="http://schemas.microsoft.com/office/drawing/2014/main" id="{6A24E4E9-7E16-8B48-A2B2-50C696185CE4}"/>
                  </a:ext>
                </a:extLst>
              </p:cNvPr>
              <p:cNvSpPr txBox="1"/>
              <p:nvPr userDrawn="1"/>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 Note: This icon may be covered by another element. </a:t>
                </a:r>
                <a:br>
                  <a:rPr lang="en-US" sz="700"/>
                </a:br>
                <a:r>
                  <a:rPr lang="en-US" sz="700"/>
                  <a:t> In this case use one of the other methods. </a:t>
                </a:r>
              </a:p>
            </p:txBody>
          </p:sp>
          <p:sp>
            <p:nvSpPr>
              <p:cNvPr id="225" name="Rectangle 224">
                <a:extLst>
                  <a:ext uri="{FF2B5EF4-FFF2-40B4-BE49-F238E27FC236}">
                    <a16:creationId xmlns:a16="http://schemas.microsoft.com/office/drawing/2014/main" id="{06529B17-B221-0643-8AFF-A97288EEEDF5}"/>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26" name="TextBox 225">
                <a:extLst>
                  <a:ext uri="{FF2B5EF4-FFF2-40B4-BE49-F238E27FC236}">
                    <a16:creationId xmlns:a16="http://schemas.microsoft.com/office/drawing/2014/main" id="{FAC25756-2399-EA4D-AA66-6BD3EB270E3A}"/>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 TIP: Adjust overlay text box size </a:t>
                </a:r>
              </a:p>
            </p:txBody>
          </p:sp>
          <p:pic>
            <p:nvPicPr>
              <p:cNvPr id="227" name="Graphic 226">
                <a:extLst>
                  <a:ext uri="{FF2B5EF4-FFF2-40B4-BE49-F238E27FC236}">
                    <a16:creationId xmlns:a16="http://schemas.microsoft.com/office/drawing/2014/main" id="{ABD66E11-214A-8F44-838D-054E1B6250A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228" name="TextBox 227">
                <a:extLst>
                  <a:ext uri="{FF2B5EF4-FFF2-40B4-BE49-F238E27FC236}">
                    <a16:creationId xmlns:a16="http://schemas.microsoft.com/office/drawing/2014/main" id="{48EC2B0D-A1A3-E444-8527-ECCAA7EAC679}"/>
                  </a:ext>
                </a:extLst>
              </p:cNvPr>
              <p:cNvSpPr txBox="1"/>
              <p:nvPr userDrawn="1"/>
            </p:nvSpPr>
            <p:spPr>
              <a:xfrm>
                <a:off x="9701720" y="2924393"/>
                <a:ext cx="2214055" cy="53707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 If extra space is required for content, use the size handle on this shape to extend the right edge of the shape to the “2/3rds” slide ruler mark. </a:t>
                </a:r>
              </a:p>
              <a:p>
                <a:pPr lvl="1">
                  <a:defRPr/>
                </a:pPr>
                <a:r>
                  <a:rPr lang="en-US" sz="900" kern="1200">
                    <a:solidFill>
                      <a:schemeClr val="tx1">
                        <a:lumMod val="50000"/>
                        <a:lumOff val="50000"/>
                      </a:schemeClr>
                    </a:solidFill>
                    <a:latin typeface="Arial" charset="0"/>
                    <a:cs typeface="Arial" charset="0"/>
                  </a:rPr>
                  <a:t> Turn on guides (View &gt; Guides) to enable snapping. </a:t>
                </a:r>
              </a:p>
            </p:txBody>
          </p:sp>
        </p:grpSp>
      </p:grpSp>
    </p:spTree>
    <p:extLst>
      <p:ext uri="{BB962C8B-B14F-4D97-AF65-F5344CB8AC3E}">
        <p14:creationId xmlns:p14="http://schemas.microsoft.com/office/powerpoint/2010/main" val="3770951863"/>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Ranking (Left) and Photo">
    <p:bg>
      <p:bgPr>
        <a:solidFill>
          <a:schemeClr val="bg1"/>
        </a:solidFill>
        <a:effectLst/>
      </p:bgPr>
    </p:bg>
    <p:spTree>
      <p:nvGrpSpPr>
        <p:cNvPr id="1" name=""/>
        <p:cNvGrpSpPr/>
        <p:nvPr/>
      </p:nvGrpSpPr>
      <p:grpSpPr>
        <a:xfrm>
          <a:off x="0" y="0"/>
          <a:ext cx="0" cy="0"/>
          <a:chOff x="0" y="0"/>
          <a:chExt cx="0" cy="0"/>
        </a:xfrm>
      </p:grpSpPr>
      <p:sp>
        <p:nvSpPr>
          <p:cNvPr id="66" name="Picture Placeholder 40">
            <a:extLst>
              <a:ext uri="{FF2B5EF4-FFF2-40B4-BE49-F238E27FC236}">
                <a16:creationId xmlns:a16="http://schemas.microsoft.com/office/drawing/2014/main" id="{21A0BE93-F8EA-2D4E-AECA-B8F6290CAC67}"/>
              </a:ext>
            </a:extLst>
          </p:cNvPr>
          <p:cNvSpPr>
            <a:spLocks noGrp="1"/>
          </p:cNvSpPr>
          <p:nvPr>
            <p:ph type="pic" sz="quarter" idx="13" hasCustomPrompt="1"/>
          </p:nvPr>
        </p:nvSpPr>
        <p:spPr>
          <a:xfrm>
            <a:off x="7945967" y="1"/>
            <a:ext cx="4246035" cy="6858001"/>
          </a:xfrm>
          <a:custGeom>
            <a:avLst/>
            <a:gdLst>
              <a:gd name="connsiteX0" fmla="*/ 0 w 3184526"/>
              <a:gd name="connsiteY0" fmla="*/ 0 h 6858001"/>
              <a:gd name="connsiteX1" fmla="*/ 3184526 w 3184526"/>
              <a:gd name="connsiteY1" fmla="*/ 0 h 6858001"/>
              <a:gd name="connsiteX2" fmla="*/ 3184526 w 3184526"/>
              <a:gd name="connsiteY2" fmla="*/ 6858001 h 6858001"/>
              <a:gd name="connsiteX3" fmla="*/ 0 w 3184526"/>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3184526" h="6858001">
                <a:moveTo>
                  <a:pt x="0" y="0"/>
                </a:moveTo>
                <a:lnTo>
                  <a:pt x="3184526" y="0"/>
                </a:lnTo>
                <a:lnTo>
                  <a:pt x="3184526" y="6858001"/>
                </a:lnTo>
                <a:lnTo>
                  <a:pt x="0" y="6858001"/>
                </a:lnTo>
                <a:close/>
              </a:path>
            </a:pathLst>
          </a:custGeom>
          <a:solidFill>
            <a:schemeClr val="accent5">
              <a:lumMod val="60000"/>
              <a:lumOff val="40000"/>
            </a:schemeClr>
          </a:solidFill>
          <a:ln>
            <a:noFill/>
          </a:ln>
        </p:spPr>
        <p:txBody>
          <a:bodyPr wrap="square" lIns="432000" rIns="432000" anchor="ctr">
            <a:noAutofit/>
          </a:bodyPr>
          <a:lstStyle>
            <a:lvl1pPr marL="0" indent="0" algn="ctr">
              <a:spcBef>
                <a:spcPts val="0"/>
              </a:spcBef>
              <a:spcAft>
                <a:spcPts val="0"/>
              </a:spcAft>
              <a:buNone/>
              <a:defRPr b="0">
                <a:solidFill>
                  <a:schemeClr val="bg2"/>
                </a:solidFill>
              </a:defRPr>
            </a:lvl1pPr>
          </a:lstStyle>
          <a:p>
            <a:r>
              <a:rPr lang="en-US"/>
              <a:t>Click icon to add photo.</a:t>
            </a:r>
            <a:br>
              <a:rPr lang="en-US"/>
            </a:br>
            <a:r>
              <a:rPr lang="en-US"/>
              <a:t>Strict rule: do not resize this image. (Crop if necessary.)</a:t>
            </a:r>
          </a:p>
        </p:txBody>
      </p:sp>
      <p:sp>
        <p:nvSpPr>
          <p:cNvPr id="116" name="Text Placeholder 21">
            <a:extLst>
              <a:ext uri="{FF2B5EF4-FFF2-40B4-BE49-F238E27FC236}">
                <a16:creationId xmlns:a16="http://schemas.microsoft.com/office/drawing/2014/main" id="{6D77A529-4F58-5E4F-95C8-1B870B6EF275}"/>
              </a:ext>
            </a:extLst>
          </p:cNvPr>
          <p:cNvSpPr>
            <a:spLocks noGrp="1"/>
          </p:cNvSpPr>
          <p:nvPr userDrawn="1">
            <p:ph type="body" sz="quarter" idx="14" hasCustomPrompt="1"/>
          </p:nvPr>
        </p:nvSpPr>
        <p:spPr>
          <a:xfrm>
            <a:off x="8474927" y="6200776"/>
            <a:ext cx="312928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2" name="Date Placeholder 1">
            <a:extLst>
              <a:ext uri="{FF2B5EF4-FFF2-40B4-BE49-F238E27FC236}">
                <a16:creationId xmlns:a16="http://schemas.microsoft.com/office/drawing/2014/main" id="{884E28E5-6A67-0244-A79A-3AEB27D6D5DE}"/>
              </a:ext>
            </a:extLst>
          </p:cNvPr>
          <p:cNvSpPr>
            <a:spLocks noGrp="1"/>
          </p:cNvSpPr>
          <p:nvPr userDrawn="1">
            <p:ph type="dt" sz="half" idx="109"/>
          </p:nvPr>
        </p:nvSpPr>
        <p:spPr/>
        <p:txBody>
          <a:bodyPr/>
          <a:lstStyle/>
          <a:p>
            <a:endParaRPr lang="en-US"/>
          </a:p>
        </p:txBody>
      </p:sp>
      <p:sp>
        <p:nvSpPr>
          <p:cNvPr id="3" name="Footer Placeholder 2">
            <a:extLst>
              <a:ext uri="{FF2B5EF4-FFF2-40B4-BE49-F238E27FC236}">
                <a16:creationId xmlns:a16="http://schemas.microsoft.com/office/drawing/2014/main" id="{917C96B8-5877-064A-8DD0-AB1D7ECB4030}"/>
              </a:ext>
            </a:extLst>
          </p:cNvPr>
          <p:cNvSpPr>
            <a:spLocks noGrp="1"/>
          </p:cNvSpPr>
          <p:nvPr userDrawn="1">
            <p:ph type="ftr" sz="quarter" idx="110"/>
          </p:nvPr>
        </p:nvSpPr>
        <p:spPr/>
        <p:txBody>
          <a:bodyPr/>
          <a:lstStyle/>
          <a:p>
            <a:endParaRPr lang="en-US"/>
          </a:p>
        </p:txBody>
      </p:sp>
      <p:sp>
        <p:nvSpPr>
          <p:cNvPr id="4" name="Slide Number Placeholder 3">
            <a:extLst>
              <a:ext uri="{FF2B5EF4-FFF2-40B4-BE49-F238E27FC236}">
                <a16:creationId xmlns:a16="http://schemas.microsoft.com/office/drawing/2014/main" id="{52FEEDA1-ADD4-BD45-A1DD-CC2C4ADEB555}"/>
              </a:ext>
            </a:extLst>
          </p:cNvPr>
          <p:cNvSpPr>
            <a:spLocks noGrp="1"/>
          </p:cNvSpPr>
          <p:nvPr userDrawn="1">
            <p:ph type="sldNum" sz="quarter" idx="111"/>
          </p:nvPr>
        </p:nvSpPr>
        <p:spPr>
          <a:noFill/>
        </p:spPr>
        <p:txBody>
          <a:bodyPr/>
          <a:lstStyle>
            <a:lvl1pPr>
              <a:defRPr>
                <a:solidFill>
                  <a:schemeClr val="bg1"/>
                </a:solidFill>
              </a:defRPr>
            </a:lvl1pPr>
          </a:lstStyle>
          <a:p>
            <a:pPr marL="12700"/>
            <a:fld id="{078C017C-E1B9-8443-B047-B08AAA027B45}" type="slidenum">
              <a:rPr lang="en-US" smtClean="0"/>
              <a:pPr marL="12700"/>
              <a:t>‹#›</a:t>
            </a:fld>
            <a:endParaRPr lang="en-US"/>
          </a:p>
        </p:txBody>
      </p:sp>
      <p:grpSp>
        <p:nvGrpSpPr>
          <p:cNvPr id="37" name="Group 36">
            <a:extLst>
              <a:ext uri="{FF2B5EF4-FFF2-40B4-BE49-F238E27FC236}">
                <a16:creationId xmlns:a16="http://schemas.microsoft.com/office/drawing/2014/main" id="{1763432E-81DC-9141-B4E0-A88D726ADFFC}"/>
              </a:ext>
            </a:extLst>
          </p:cNvPr>
          <p:cNvGrpSpPr/>
          <p:nvPr userDrawn="1"/>
        </p:nvGrpSpPr>
        <p:grpSpPr>
          <a:xfrm>
            <a:off x="12532242" y="-1"/>
            <a:ext cx="2898257" cy="6858001"/>
            <a:chOff x="9399182" y="-1"/>
            <a:chExt cx="2874210" cy="6858001"/>
          </a:xfrm>
        </p:grpSpPr>
        <p:sp>
          <p:nvSpPr>
            <p:cNvPr id="38" name="Rectangle 37">
              <a:extLst>
                <a:ext uri="{FF2B5EF4-FFF2-40B4-BE49-F238E27FC236}">
                  <a16:creationId xmlns:a16="http://schemas.microsoft.com/office/drawing/2014/main" id="{3C939D41-EDD4-E145-AC70-1FEA78861983}"/>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sp>
          <p:nvSpPr>
            <p:cNvPr id="39" name="TextBox 38">
              <a:extLst>
                <a:ext uri="{FF2B5EF4-FFF2-40B4-BE49-F238E27FC236}">
                  <a16:creationId xmlns:a16="http://schemas.microsoft.com/office/drawing/2014/main" id="{D28E0661-751E-CE4C-8BC5-F16780187439}"/>
                </a:ext>
              </a:extLst>
            </p:cNvPr>
            <p:cNvSpPr txBox="1"/>
            <p:nvPr userDrawn="1"/>
          </p:nvSpPr>
          <p:spPr>
            <a:xfrm>
              <a:off x="9555251" y="150289"/>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40" name="Straight Connector 39">
              <a:extLst>
                <a:ext uri="{FF2B5EF4-FFF2-40B4-BE49-F238E27FC236}">
                  <a16:creationId xmlns:a16="http://schemas.microsoft.com/office/drawing/2014/main" id="{3408AD67-9977-5847-8456-1BA4A449DD94}"/>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8AC807C0-4C95-754F-9B48-24C2884EC3A8}"/>
                </a:ext>
              </a:extLst>
            </p:cNvPr>
            <p:cNvSpPr txBox="1"/>
            <p:nvPr userDrawn="1"/>
          </p:nvSpPr>
          <p:spPr>
            <a:xfrm>
              <a:off x="9683170" y="1211216"/>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43" name="Group 42">
              <a:extLst>
                <a:ext uri="{FF2B5EF4-FFF2-40B4-BE49-F238E27FC236}">
                  <a16:creationId xmlns:a16="http://schemas.microsoft.com/office/drawing/2014/main" id="{E5633BC6-629B-B243-98D5-93A61D37DCA2}"/>
                </a:ext>
              </a:extLst>
            </p:cNvPr>
            <p:cNvGrpSpPr/>
            <p:nvPr userDrawn="1"/>
          </p:nvGrpSpPr>
          <p:grpSpPr>
            <a:xfrm>
              <a:off x="9538241" y="5191130"/>
              <a:ext cx="2735151" cy="1411315"/>
              <a:chOff x="9296567" y="4910411"/>
              <a:chExt cx="2735151" cy="1411315"/>
            </a:xfrm>
          </p:grpSpPr>
          <p:sp>
            <p:nvSpPr>
              <p:cNvPr id="59" name="Rectangle 58">
                <a:extLst>
                  <a:ext uri="{FF2B5EF4-FFF2-40B4-BE49-F238E27FC236}">
                    <a16:creationId xmlns:a16="http://schemas.microsoft.com/office/drawing/2014/main" id="{9F863234-89FF-8F40-BE73-4316B3ABFA65}"/>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0" name="TextBox 59">
                <a:extLst>
                  <a:ext uri="{FF2B5EF4-FFF2-40B4-BE49-F238E27FC236}">
                    <a16:creationId xmlns:a16="http://schemas.microsoft.com/office/drawing/2014/main" id="{2C5A738D-CF1E-4B44-AC3D-BA4815CF185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61" name="Graphic 60">
                <a:extLst>
                  <a:ext uri="{FF2B5EF4-FFF2-40B4-BE49-F238E27FC236}">
                    <a16:creationId xmlns:a16="http://schemas.microsoft.com/office/drawing/2014/main" id="{EB95FA99-3430-0149-B21D-F142420715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62" name="TextBox 61">
                <a:extLst>
                  <a:ext uri="{FF2B5EF4-FFF2-40B4-BE49-F238E27FC236}">
                    <a16:creationId xmlns:a16="http://schemas.microsoft.com/office/drawing/2014/main" id="{2A101CD2-81BC-5247-9E37-65506544734B}"/>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3" name="TextBox 62">
                <a:extLst>
                  <a:ext uri="{FF2B5EF4-FFF2-40B4-BE49-F238E27FC236}">
                    <a16:creationId xmlns:a16="http://schemas.microsoft.com/office/drawing/2014/main" id="{DA111A3F-62A5-A341-B311-884D94AECDDC}"/>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4" name="TextBox 63">
                <a:extLst>
                  <a:ext uri="{FF2B5EF4-FFF2-40B4-BE49-F238E27FC236}">
                    <a16:creationId xmlns:a16="http://schemas.microsoft.com/office/drawing/2014/main" id="{A91A7249-E4DE-9045-B263-B2E6552B974A}"/>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44" name="Group 43">
              <a:extLst>
                <a:ext uri="{FF2B5EF4-FFF2-40B4-BE49-F238E27FC236}">
                  <a16:creationId xmlns:a16="http://schemas.microsoft.com/office/drawing/2014/main" id="{E81DE022-4C71-2544-8505-1761305A250F}"/>
                </a:ext>
              </a:extLst>
            </p:cNvPr>
            <p:cNvGrpSpPr/>
            <p:nvPr userDrawn="1"/>
          </p:nvGrpSpPr>
          <p:grpSpPr>
            <a:xfrm>
              <a:off x="9538241" y="3396143"/>
              <a:ext cx="2735151" cy="1666188"/>
              <a:chOff x="9286315" y="6976989"/>
              <a:chExt cx="2735151" cy="1666188"/>
            </a:xfrm>
          </p:grpSpPr>
          <p:sp>
            <p:nvSpPr>
              <p:cNvPr id="53" name="Rectangle 52">
                <a:extLst>
                  <a:ext uri="{FF2B5EF4-FFF2-40B4-BE49-F238E27FC236}">
                    <a16:creationId xmlns:a16="http://schemas.microsoft.com/office/drawing/2014/main" id="{FC6F4C93-688F-8D4E-ABCD-9BC9F8F9CBAA}"/>
                  </a:ext>
                </a:extLst>
              </p:cNvPr>
              <p:cNvSpPr/>
              <p:nvPr userDrawn="1"/>
            </p:nvSpPr>
            <p:spPr>
              <a:xfrm>
                <a:off x="9286315" y="6976989"/>
                <a:ext cx="2735151" cy="166618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4" name="TextBox 53">
                <a:extLst>
                  <a:ext uri="{FF2B5EF4-FFF2-40B4-BE49-F238E27FC236}">
                    <a16:creationId xmlns:a16="http://schemas.microsoft.com/office/drawing/2014/main" id="{35D49C1A-C836-5A44-8A49-80E5A075C93A}"/>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55" name="Graphic 54">
                <a:extLst>
                  <a:ext uri="{FF2B5EF4-FFF2-40B4-BE49-F238E27FC236}">
                    <a16:creationId xmlns:a16="http://schemas.microsoft.com/office/drawing/2014/main" id="{EB93AE78-B9CD-AB40-95D3-B134C74973B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56" name="TextBox 55">
                <a:extLst>
                  <a:ext uri="{FF2B5EF4-FFF2-40B4-BE49-F238E27FC236}">
                    <a16:creationId xmlns:a16="http://schemas.microsoft.com/office/drawing/2014/main" id="{5784DD63-BA1D-1542-806C-9B2E2FA95A95}"/>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57" name="Picture 56">
                <a:extLst>
                  <a:ext uri="{FF2B5EF4-FFF2-40B4-BE49-F238E27FC236}">
                    <a16:creationId xmlns:a16="http://schemas.microsoft.com/office/drawing/2014/main" id="{E0E8A988-05AB-3248-93C8-C5006E414A56}"/>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sp>
            <p:nvSpPr>
              <p:cNvPr id="58" name="TextBox 57">
                <a:extLst>
                  <a:ext uri="{FF2B5EF4-FFF2-40B4-BE49-F238E27FC236}">
                    <a16:creationId xmlns:a16="http://schemas.microsoft.com/office/drawing/2014/main" id="{88DD2CB9-AED7-714F-B970-5632385CD159}"/>
                  </a:ext>
                </a:extLst>
              </p:cNvPr>
              <p:cNvSpPr txBox="1"/>
              <p:nvPr userDrawn="1"/>
            </p:nvSpPr>
            <p:spPr>
              <a:xfrm>
                <a:off x="9446538" y="8244615"/>
                <a:ext cx="2467032"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3175" lvl="1" indent="0">
                  <a:buNone/>
                  <a:defRPr/>
                </a:pPr>
                <a:r>
                  <a:rPr lang="en-US" sz="900" i="1" kern="1200">
                    <a:solidFill>
                      <a:schemeClr val="tx1">
                        <a:lumMod val="50000"/>
                        <a:lumOff val="50000"/>
                      </a:schemeClr>
                    </a:solidFill>
                    <a:latin typeface="Arial" charset="0"/>
                    <a:cs typeface="Arial" charset="0"/>
                  </a:rPr>
                  <a:t>Strict rule: do not resize the image placeholder. It should always be 1/3rd of the slide width.</a:t>
                </a:r>
              </a:p>
            </p:txBody>
          </p:sp>
        </p:grpSp>
        <p:grpSp>
          <p:nvGrpSpPr>
            <p:cNvPr id="45" name="Group 44">
              <a:extLst>
                <a:ext uri="{FF2B5EF4-FFF2-40B4-BE49-F238E27FC236}">
                  <a16:creationId xmlns:a16="http://schemas.microsoft.com/office/drawing/2014/main" id="{522C1CD7-2090-FC48-80A3-6DC2AF4F2810}"/>
                </a:ext>
              </a:extLst>
            </p:cNvPr>
            <p:cNvGrpSpPr/>
            <p:nvPr userDrawn="1"/>
          </p:nvGrpSpPr>
          <p:grpSpPr>
            <a:xfrm>
              <a:off x="9518577" y="475409"/>
              <a:ext cx="2617883" cy="651460"/>
              <a:chOff x="12352022" y="513115"/>
              <a:chExt cx="2617883" cy="651460"/>
            </a:xfrm>
          </p:grpSpPr>
          <p:sp>
            <p:nvSpPr>
              <p:cNvPr id="50" name="TextBox 49">
                <a:extLst>
                  <a:ext uri="{FF2B5EF4-FFF2-40B4-BE49-F238E27FC236}">
                    <a16:creationId xmlns:a16="http://schemas.microsoft.com/office/drawing/2014/main" id="{697B859F-3589-2A4F-A834-9541E03CDE8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51" name="TextBox 50">
                <a:extLst>
                  <a:ext uri="{FF2B5EF4-FFF2-40B4-BE49-F238E27FC236}">
                    <a16:creationId xmlns:a16="http://schemas.microsoft.com/office/drawing/2014/main" id="{2EA4EEBF-44D6-B64D-A9A9-305B00FCA67C}"/>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52" name="TextBox 51">
                <a:extLst>
                  <a:ext uri="{FF2B5EF4-FFF2-40B4-BE49-F238E27FC236}">
                    <a16:creationId xmlns:a16="http://schemas.microsoft.com/office/drawing/2014/main" id="{4F609CAA-7DFC-C34E-9B3E-600CFAED5850}"/>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Select and download images from the Marketing Resource Database.</a:t>
                </a:r>
              </a:p>
              <a:p>
                <a:pPr lvl="0"/>
                <a:r>
                  <a:rPr lang="en-US" sz="1050"/>
                  <a:t>Add the image to the placeholder.</a:t>
                </a:r>
              </a:p>
            </p:txBody>
          </p:sp>
        </p:grpSp>
        <p:sp>
          <p:nvSpPr>
            <p:cNvPr id="46" name="TextBox 45">
              <a:extLst>
                <a:ext uri="{FF2B5EF4-FFF2-40B4-BE49-F238E27FC236}">
                  <a16:creationId xmlns:a16="http://schemas.microsoft.com/office/drawing/2014/main" id="{825247B6-FFD6-8D42-800F-51E92618BD11}"/>
                </a:ext>
              </a:extLst>
            </p:cNvPr>
            <p:cNvSpPr txBox="1"/>
            <p:nvPr userDrawn="1"/>
          </p:nvSpPr>
          <p:spPr>
            <a:xfrm>
              <a:off x="9671011" y="1494521"/>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47" name="TextBox 46">
              <a:extLst>
                <a:ext uri="{FF2B5EF4-FFF2-40B4-BE49-F238E27FC236}">
                  <a16:creationId xmlns:a16="http://schemas.microsoft.com/office/drawing/2014/main" id="{970D307F-E4DB-E049-9932-D63E2B92B691}"/>
                </a:ext>
              </a:extLst>
            </p:cNvPr>
            <p:cNvSpPr txBox="1"/>
            <p:nvPr userDrawn="1"/>
          </p:nvSpPr>
          <p:spPr>
            <a:xfrm>
              <a:off x="9683170" y="1909778"/>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 </a:t>
              </a:r>
            </a:p>
            <a:p>
              <a:pPr lvl="1">
                <a:buNone/>
              </a:pPr>
              <a:r>
                <a:rPr lang="en-US" sz="1050"/>
                <a:t>Right-click or use keyboard shortcuts to paste the image.</a:t>
              </a:r>
            </a:p>
          </p:txBody>
        </p:sp>
        <p:sp>
          <p:nvSpPr>
            <p:cNvPr id="48" name="TextBox 47">
              <a:extLst>
                <a:ext uri="{FF2B5EF4-FFF2-40B4-BE49-F238E27FC236}">
                  <a16:creationId xmlns:a16="http://schemas.microsoft.com/office/drawing/2014/main" id="{882A7166-211F-0A4C-B965-143A64AF82E4}"/>
                </a:ext>
              </a:extLst>
            </p:cNvPr>
            <p:cNvSpPr txBox="1"/>
            <p:nvPr userDrawn="1"/>
          </p:nvSpPr>
          <p:spPr>
            <a:xfrm>
              <a:off x="9683170" y="2629868"/>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49" name="TextBox 48">
              <a:extLst>
                <a:ext uri="{FF2B5EF4-FFF2-40B4-BE49-F238E27FC236}">
                  <a16:creationId xmlns:a16="http://schemas.microsoft.com/office/drawing/2014/main" id="{D07C2016-E2F3-A14A-B1C2-86F63D44D337}"/>
                </a:ext>
              </a:extLst>
            </p:cNvPr>
            <p:cNvSpPr txBox="1"/>
            <p:nvPr userDrawn="1"/>
          </p:nvSpPr>
          <p:spPr>
            <a:xfrm>
              <a:off x="9671011" y="3060431"/>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 </a:t>
              </a:r>
              <a:br>
                <a:rPr lang="en-US" sz="700"/>
              </a:br>
              <a:r>
                <a:rPr lang="en-US" sz="700"/>
                <a:t>In this case use one of the other methods.</a:t>
              </a:r>
            </a:p>
          </p:txBody>
        </p:sp>
      </p:grpSp>
      <p:sp>
        <p:nvSpPr>
          <p:cNvPr id="41" name="Picture Placeholder 7">
            <a:extLst>
              <a:ext uri="{FF2B5EF4-FFF2-40B4-BE49-F238E27FC236}">
                <a16:creationId xmlns:a16="http://schemas.microsoft.com/office/drawing/2014/main" id="{8203DE47-B7C2-1942-9EF5-70B8DC35FBC0}"/>
              </a:ext>
            </a:extLst>
          </p:cNvPr>
          <p:cNvSpPr>
            <a:spLocks noGrp="1"/>
          </p:cNvSpPr>
          <p:nvPr>
            <p:ph type="pic" sz="quarter" idx="108" hasCustomPrompt="1"/>
          </p:nvPr>
        </p:nvSpPr>
        <p:spPr>
          <a:xfrm>
            <a:off x="149261" y="432294"/>
            <a:ext cx="7646874" cy="5733556"/>
          </a:xfrm>
          <a:solidFill>
            <a:srgbClr val="E8F3FD"/>
          </a:solidFill>
        </p:spPr>
        <p:txBody>
          <a:bodyPr anchor="ctr"/>
          <a:lstStyle>
            <a:lvl1pPr algn="ctr">
              <a:defRPr b="0">
                <a:solidFill>
                  <a:schemeClr val="tx1">
                    <a:lumMod val="50000"/>
                    <a:lumOff val="50000"/>
                  </a:schemeClr>
                </a:solidFill>
              </a:defRPr>
            </a:lvl1pPr>
          </a:lstStyle>
          <a:p>
            <a:r>
              <a:rPr lang="en-US"/>
              <a:t>Click icon to add a pre-designed</a:t>
            </a:r>
            <a:br>
              <a:rPr lang="en-US"/>
            </a:br>
            <a:r>
              <a:rPr lang="en-US"/>
              <a:t>ranking or quote graphic</a:t>
            </a:r>
          </a:p>
        </p:txBody>
      </p:sp>
      <p:sp>
        <p:nvSpPr>
          <p:cNvPr id="65" name="Rectangle 64">
            <a:extLst>
              <a:ext uri="{FF2B5EF4-FFF2-40B4-BE49-F238E27FC236}">
                <a16:creationId xmlns:a16="http://schemas.microsoft.com/office/drawing/2014/main" id="{7EF1F574-D21D-A54B-AAF4-BA23DC6D06D3}"/>
              </a:ext>
            </a:extLst>
          </p:cNvPr>
          <p:cNvSpPr/>
          <p:nvPr userDrawn="1"/>
        </p:nvSpPr>
        <p:spPr>
          <a:xfrm flipV="1">
            <a:off x="12532244" y="-511244"/>
            <a:ext cx="2814755" cy="51124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Tree>
    <p:extLst>
      <p:ext uri="{BB962C8B-B14F-4D97-AF65-F5344CB8AC3E}">
        <p14:creationId xmlns:p14="http://schemas.microsoft.com/office/powerpoint/2010/main" val="36624548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Ranking (Right) and Photo">
    <p:spTree>
      <p:nvGrpSpPr>
        <p:cNvPr id="1" name=""/>
        <p:cNvGrpSpPr/>
        <p:nvPr/>
      </p:nvGrpSpPr>
      <p:grpSpPr>
        <a:xfrm>
          <a:off x="0" y="0"/>
          <a:ext cx="0" cy="0"/>
          <a:chOff x="0" y="0"/>
          <a:chExt cx="0" cy="0"/>
        </a:xfrm>
      </p:grpSpPr>
      <p:sp>
        <p:nvSpPr>
          <p:cNvPr id="42" name="Picture Placeholder 19">
            <a:extLst>
              <a:ext uri="{FF2B5EF4-FFF2-40B4-BE49-F238E27FC236}">
                <a16:creationId xmlns:a16="http://schemas.microsoft.com/office/drawing/2014/main" id="{38E25197-65C4-1043-A14C-33AF5EDA0523}"/>
              </a:ext>
            </a:extLst>
          </p:cNvPr>
          <p:cNvSpPr>
            <a:spLocks noGrp="1"/>
          </p:cNvSpPr>
          <p:nvPr>
            <p:ph type="pic" sz="quarter" idx="13" hasCustomPrompt="1"/>
          </p:nvPr>
        </p:nvSpPr>
        <p:spPr>
          <a:xfrm>
            <a:off x="0" y="1"/>
            <a:ext cx="4246035" cy="6858001"/>
          </a:xfrm>
          <a:prstGeom prst="rect">
            <a:avLst/>
          </a:prstGeom>
          <a:solidFill>
            <a:schemeClr val="accent5">
              <a:lumMod val="60000"/>
              <a:lumOff val="40000"/>
            </a:schemeClr>
          </a:solidFill>
          <a:ln>
            <a:noFill/>
          </a:ln>
        </p:spPr>
        <p:txBody>
          <a:bodyPr wrap="square" lIns="432000" rIns="288000" anchor="ctr">
            <a:noAutofit/>
          </a:bodyPr>
          <a:lstStyle>
            <a:lvl1pPr marL="0" indent="0" algn="ctr">
              <a:spcBef>
                <a:spcPts val="0"/>
              </a:spcBef>
              <a:spcAft>
                <a:spcPts val="0"/>
              </a:spcAft>
              <a:buNone/>
              <a:defRPr b="0">
                <a:solidFill>
                  <a:schemeClr val="bg2"/>
                </a:solidFill>
              </a:defRPr>
            </a:lvl1pPr>
          </a:lstStyle>
          <a:p>
            <a:r>
              <a:rPr lang="en-US"/>
              <a:t>Click icon to add photo.</a:t>
            </a:r>
            <a:br>
              <a:rPr lang="en-US"/>
            </a:br>
            <a:r>
              <a:rPr lang="en-US"/>
              <a:t>Strict rule: do not resize this image. (Crop if necessary.)</a:t>
            </a:r>
          </a:p>
        </p:txBody>
      </p:sp>
      <p:sp>
        <p:nvSpPr>
          <p:cNvPr id="40" name="Text Placeholder 21">
            <a:extLst>
              <a:ext uri="{FF2B5EF4-FFF2-40B4-BE49-F238E27FC236}">
                <a16:creationId xmlns:a16="http://schemas.microsoft.com/office/drawing/2014/main" id="{D976F2F4-DE2A-DC4C-A765-97FABA1D68D1}"/>
              </a:ext>
            </a:extLst>
          </p:cNvPr>
          <p:cNvSpPr>
            <a:spLocks noGrp="1"/>
          </p:cNvSpPr>
          <p:nvPr>
            <p:ph type="body" sz="quarter" idx="14" hasCustomPrompt="1"/>
          </p:nvPr>
        </p:nvSpPr>
        <p:spPr>
          <a:xfrm>
            <a:off x="588870" y="6200776"/>
            <a:ext cx="3024797" cy="152349"/>
          </a:xfrm>
          <a:effectLst/>
        </p:spPr>
        <p:txBody>
          <a:bodyPr wrap="square" anchor="b">
            <a:spAutoFit/>
          </a:bodyPr>
          <a:lstStyle>
            <a:lvl1pPr marL="0" indent="0" algn="l">
              <a:spcBef>
                <a:spcPts val="0"/>
              </a:spcBef>
              <a:spcAft>
                <a:spcPts val="0"/>
              </a:spcAft>
              <a:buFontTx/>
              <a:buNone/>
              <a:tabLst/>
              <a:defRPr sz="1100" b="0">
                <a:solidFill>
                  <a:schemeClr val="bg1"/>
                </a:solidFill>
                <a:effectLst/>
              </a:defRPr>
            </a:lvl1pPr>
            <a:lvl2pPr marL="0" indent="0" algn="l">
              <a:spcBef>
                <a:spcPts val="0"/>
              </a:spcBef>
              <a:spcAft>
                <a:spcPts val="0"/>
              </a:spcAft>
              <a:buFontTx/>
              <a:buNone/>
              <a:tabLst/>
              <a:defRPr sz="1100">
                <a:solidFill>
                  <a:schemeClr val="bg1"/>
                </a:solidFill>
              </a:defRPr>
            </a:lvl2pPr>
            <a:lvl3pPr marL="0" indent="0" algn="l">
              <a:spcBef>
                <a:spcPts val="0"/>
              </a:spcBef>
              <a:spcAft>
                <a:spcPts val="0"/>
              </a:spcAft>
              <a:buFontTx/>
              <a:buNone/>
              <a:tabLst/>
              <a:defRPr sz="1100">
                <a:solidFill>
                  <a:schemeClr val="bg1"/>
                </a:solidFill>
              </a:defRPr>
            </a:lvl3pPr>
            <a:lvl4pPr marL="0" indent="0" algn="l">
              <a:spcBef>
                <a:spcPts val="0"/>
              </a:spcBef>
              <a:spcAft>
                <a:spcPts val="0"/>
              </a:spcAft>
              <a:buFontTx/>
              <a:buNone/>
              <a:tabLst/>
              <a:defRPr sz="1100">
                <a:solidFill>
                  <a:schemeClr val="bg1"/>
                </a:solidFill>
              </a:defRPr>
            </a:lvl4pPr>
            <a:lvl5pPr marL="0" indent="0" algn="l">
              <a:spcBef>
                <a:spcPts val="0"/>
              </a:spcBef>
              <a:spcAft>
                <a:spcPts val="0"/>
              </a:spcAft>
              <a:buFontTx/>
              <a:buNone/>
              <a:tabLst/>
              <a:defRPr sz="1100">
                <a:solidFill>
                  <a:schemeClr val="bg1"/>
                </a:solidFill>
              </a:defRPr>
            </a:lvl5pPr>
            <a:lvl6pPr marL="0" indent="0" algn="l">
              <a:spcBef>
                <a:spcPts val="0"/>
              </a:spcBef>
              <a:spcAft>
                <a:spcPts val="0"/>
              </a:spcAft>
              <a:buFontTx/>
              <a:buNone/>
              <a:tabLst/>
              <a:defRPr sz="1100">
                <a:solidFill>
                  <a:schemeClr val="bg1"/>
                </a:solidFill>
              </a:defRPr>
            </a:lvl6pPr>
            <a:lvl7pPr marL="0" indent="0" algn="l">
              <a:spcBef>
                <a:spcPts val="0"/>
              </a:spcBef>
              <a:spcAft>
                <a:spcPts val="0"/>
              </a:spcAft>
              <a:buFontTx/>
              <a:buNone/>
              <a:tabLst/>
              <a:defRPr sz="1100">
                <a:solidFill>
                  <a:schemeClr val="bg1"/>
                </a:solidFill>
              </a:defRPr>
            </a:lvl7pPr>
            <a:lvl8pPr marL="0" indent="0" algn="l">
              <a:spcBef>
                <a:spcPts val="0"/>
              </a:spcBef>
              <a:spcAft>
                <a:spcPts val="0"/>
              </a:spcAft>
              <a:buFontTx/>
              <a:buNone/>
              <a:tabLst/>
              <a:defRPr sz="1100">
                <a:solidFill>
                  <a:schemeClr val="bg1"/>
                </a:solidFill>
              </a:defRPr>
            </a:lvl8pPr>
            <a:lvl9pPr marL="0" indent="0" algn="l">
              <a:spcBef>
                <a:spcPts val="0"/>
              </a:spcBef>
              <a:spcAft>
                <a:spcPts val="0"/>
              </a:spcAft>
              <a:buFontTx/>
              <a:buNone/>
              <a:tabLst/>
              <a:defRPr sz="1100">
                <a:solidFill>
                  <a:schemeClr val="bg1"/>
                </a:solidFill>
              </a:defRPr>
            </a:lvl9pPr>
          </a:lstStyle>
          <a:p>
            <a:pPr lvl="0"/>
            <a:r>
              <a:rPr lang="en-US"/>
              <a:t>Click to add photo caption</a:t>
            </a:r>
          </a:p>
        </p:txBody>
      </p:sp>
      <p:sp>
        <p:nvSpPr>
          <p:cNvPr id="5" name="Date Placeholder 4">
            <a:extLst>
              <a:ext uri="{FF2B5EF4-FFF2-40B4-BE49-F238E27FC236}">
                <a16:creationId xmlns:a16="http://schemas.microsoft.com/office/drawing/2014/main" id="{D54C76DA-F528-244F-B82D-2FD6602BA875}"/>
              </a:ext>
            </a:extLst>
          </p:cNvPr>
          <p:cNvSpPr>
            <a:spLocks noGrp="1"/>
          </p:cNvSpPr>
          <p:nvPr>
            <p:ph type="dt" sz="half" idx="109"/>
          </p:nvPr>
        </p:nvSpPr>
        <p:spPr/>
        <p:txBody>
          <a:bodyPr/>
          <a:lstStyle/>
          <a:p>
            <a:endParaRPr lang="en-US"/>
          </a:p>
        </p:txBody>
      </p:sp>
      <p:sp>
        <p:nvSpPr>
          <p:cNvPr id="6" name="Footer Placeholder 5">
            <a:extLst>
              <a:ext uri="{FF2B5EF4-FFF2-40B4-BE49-F238E27FC236}">
                <a16:creationId xmlns:a16="http://schemas.microsoft.com/office/drawing/2014/main" id="{31625B55-E0DA-464D-BFB5-020839E75BEF}"/>
              </a:ext>
            </a:extLst>
          </p:cNvPr>
          <p:cNvSpPr>
            <a:spLocks noGrp="1"/>
          </p:cNvSpPr>
          <p:nvPr>
            <p:ph type="ftr" sz="quarter" idx="110"/>
          </p:nvPr>
        </p:nvSpPr>
        <p:spPr/>
        <p:txBody>
          <a:bodyPr/>
          <a:lstStyle/>
          <a:p>
            <a:endParaRPr lang="en-US"/>
          </a:p>
        </p:txBody>
      </p:sp>
      <p:sp>
        <p:nvSpPr>
          <p:cNvPr id="7" name="Slide Number Placeholder 6">
            <a:extLst>
              <a:ext uri="{FF2B5EF4-FFF2-40B4-BE49-F238E27FC236}">
                <a16:creationId xmlns:a16="http://schemas.microsoft.com/office/drawing/2014/main" id="{43D59DA1-A77E-7144-9771-F69145665B98}"/>
              </a:ext>
            </a:extLst>
          </p:cNvPr>
          <p:cNvSpPr>
            <a:spLocks noGrp="1"/>
          </p:cNvSpPr>
          <p:nvPr>
            <p:ph type="sldNum" sz="quarter" idx="111"/>
          </p:nvPr>
        </p:nvSpPr>
        <p:spPr/>
        <p:txBody>
          <a:bodyPr/>
          <a:lstStyle/>
          <a:p>
            <a:pPr marL="12700"/>
            <a:fld id="{078C017C-E1B9-8443-B047-B08AAA027B45}" type="slidenum">
              <a:rPr lang="en-US" smtClean="0"/>
              <a:pPr marL="12700"/>
              <a:t>‹#›</a:t>
            </a:fld>
            <a:endParaRPr lang="en-US"/>
          </a:p>
        </p:txBody>
      </p:sp>
      <p:sp>
        <p:nvSpPr>
          <p:cNvPr id="35" name="Picture Placeholder 7">
            <a:extLst>
              <a:ext uri="{FF2B5EF4-FFF2-40B4-BE49-F238E27FC236}">
                <a16:creationId xmlns:a16="http://schemas.microsoft.com/office/drawing/2014/main" id="{157F7719-B706-CB4E-82DB-FF12E3CD33B5}"/>
              </a:ext>
            </a:extLst>
          </p:cNvPr>
          <p:cNvSpPr>
            <a:spLocks noGrp="1"/>
          </p:cNvSpPr>
          <p:nvPr>
            <p:ph type="pic" sz="quarter" idx="108" hasCustomPrompt="1"/>
          </p:nvPr>
        </p:nvSpPr>
        <p:spPr>
          <a:xfrm>
            <a:off x="4385350" y="420688"/>
            <a:ext cx="7662353" cy="5745162"/>
          </a:xfrm>
          <a:solidFill>
            <a:srgbClr val="E8F3FD"/>
          </a:solidFill>
        </p:spPr>
        <p:txBody>
          <a:bodyPr anchor="ctr"/>
          <a:lstStyle>
            <a:lvl1pPr algn="ctr">
              <a:defRPr b="0">
                <a:solidFill>
                  <a:schemeClr val="tx1">
                    <a:lumMod val="50000"/>
                    <a:lumOff val="50000"/>
                  </a:schemeClr>
                </a:solidFill>
              </a:defRPr>
            </a:lvl1pPr>
          </a:lstStyle>
          <a:p>
            <a:r>
              <a:rPr lang="en-US"/>
              <a:t>Click icon to add a pre-designed </a:t>
            </a:r>
            <a:br>
              <a:rPr lang="en-US"/>
            </a:br>
            <a:r>
              <a:rPr lang="en-US"/>
              <a:t>ranking or quote graphic</a:t>
            </a:r>
          </a:p>
        </p:txBody>
      </p:sp>
      <p:grpSp>
        <p:nvGrpSpPr>
          <p:cNvPr id="36" name="Group 35">
            <a:extLst>
              <a:ext uri="{FF2B5EF4-FFF2-40B4-BE49-F238E27FC236}">
                <a16:creationId xmlns:a16="http://schemas.microsoft.com/office/drawing/2014/main" id="{AEF20A66-C071-054F-B85E-E862F0FC89E3}"/>
              </a:ext>
            </a:extLst>
          </p:cNvPr>
          <p:cNvGrpSpPr/>
          <p:nvPr userDrawn="1"/>
        </p:nvGrpSpPr>
        <p:grpSpPr>
          <a:xfrm>
            <a:off x="12532242" y="-1"/>
            <a:ext cx="2898257" cy="6858001"/>
            <a:chOff x="9399182" y="-1"/>
            <a:chExt cx="2874210" cy="6858001"/>
          </a:xfrm>
        </p:grpSpPr>
        <p:sp>
          <p:nvSpPr>
            <p:cNvPr id="37" name="Rectangle 36">
              <a:extLst>
                <a:ext uri="{FF2B5EF4-FFF2-40B4-BE49-F238E27FC236}">
                  <a16:creationId xmlns:a16="http://schemas.microsoft.com/office/drawing/2014/main" id="{77622C39-011D-F643-A959-56197C5E0A57}"/>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sp>
          <p:nvSpPr>
            <p:cNvPr id="38" name="TextBox 37">
              <a:extLst>
                <a:ext uri="{FF2B5EF4-FFF2-40B4-BE49-F238E27FC236}">
                  <a16:creationId xmlns:a16="http://schemas.microsoft.com/office/drawing/2014/main" id="{CF6CB4D4-7F0F-1843-B26C-01EB4D19612A}"/>
                </a:ext>
              </a:extLst>
            </p:cNvPr>
            <p:cNvSpPr txBox="1"/>
            <p:nvPr userDrawn="1"/>
          </p:nvSpPr>
          <p:spPr>
            <a:xfrm>
              <a:off x="9555251" y="150289"/>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39" name="Straight Connector 38">
              <a:extLst>
                <a:ext uri="{FF2B5EF4-FFF2-40B4-BE49-F238E27FC236}">
                  <a16:creationId xmlns:a16="http://schemas.microsoft.com/office/drawing/2014/main" id="{EC8F11DE-4208-2A47-BA6C-06299DEDFF09}"/>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1" name="TextBox 40">
              <a:extLst>
                <a:ext uri="{FF2B5EF4-FFF2-40B4-BE49-F238E27FC236}">
                  <a16:creationId xmlns:a16="http://schemas.microsoft.com/office/drawing/2014/main" id="{B8644045-6C4C-214C-B7CF-B05420D49F48}"/>
                </a:ext>
              </a:extLst>
            </p:cNvPr>
            <p:cNvSpPr txBox="1"/>
            <p:nvPr userDrawn="1"/>
          </p:nvSpPr>
          <p:spPr>
            <a:xfrm>
              <a:off x="9683170" y="1211216"/>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69" name="Group 68">
              <a:extLst>
                <a:ext uri="{FF2B5EF4-FFF2-40B4-BE49-F238E27FC236}">
                  <a16:creationId xmlns:a16="http://schemas.microsoft.com/office/drawing/2014/main" id="{7A41DCF2-CD38-A147-BFA1-A6F58E68E5AF}"/>
                </a:ext>
              </a:extLst>
            </p:cNvPr>
            <p:cNvGrpSpPr/>
            <p:nvPr userDrawn="1"/>
          </p:nvGrpSpPr>
          <p:grpSpPr>
            <a:xfrm>
              <a:off x="9538241" y="5191130"/>
              <a:ext cx="2735151" cy="1411315"/>
              <a:chOff x="9296567" y="4910411"/>
              <a:chExt cx="2735151" cy="1411315"/>
            </a:xfrm>
          </p:grpSpPr>
          <p:sp>
            <p:nvSpPr>
              <p:cNvPr id="85" name="Rectangle 84">
                <a:extLst>
                  <a:ext uri="{FF2B5EF4-FFF2-40B4-BE49-F238E27FC236}">
                    <a16:creationId xmlns:a16="http://schemas.microsoft.com/office/drawing/2014/main" id="{7BFBA57D-85B6-3C4D-B6F2-D6EC2509BEE7}"/>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6" name="TextBox 85">
                <a:extLst>
                  <a:ext uri="{FF2B5EF4-FFF2-40B4-BE49-F238E27FC236}">
                    <a16:creationId xmlns:a16="http://schemas.microsoft.com/office/drawing/2014/main" id="{7F50A9D9-28C6-824C-BAED-E88BDB0FD83D}"/>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87" name="Graphic 86">
                <a:extLst>
                  <a:ext uri="{FF2B5EF4-FFF2-40B4-BE49-F238E27FC236}">
                    <a16:creationId xmlns:a16="http://schemas.microsoft.com/office/drawing/2014/main" id="{26A47E86-D57E-E747-AE42-0F743A2890A8}"/>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88" name="TextBox 87">
                <a:extLst>
                  <a:ext uri="{FF2B5EF4-FFF2-40B4-BE49-F238E27FC236}">
                    <a16:creationId xmlns:a16="http://schemas.microsoft.com/office/drawing/2014/main" id="{AF1D9CDC-D01B-0F42-B449-736B4E4DFEC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9" name="TextBox 88">
                <a:extLst>
                  <a:ext uri="{FF2B5EF4-FFF2-40B4-BE49-F238E27FC236}">
                    <a16:creationId xmlns:a16="http://schemas.microsoft.com/office/drawing/2014/main" id="{03CB86CD-51A6-6341-A75C-CCE77794E9DD}"/>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90" name="TextBox 89">
                <a:extLst>
                  <a:ext uri="{FF2B5EF4-FFF2-40B4-BE49-F238E27FC236}">
                    <a16:creationId xmlns:a16="http://schemas.microsoft.com/office/drawing/2014/main" id="{269D5059-5469-904B-B7A6-7EAFC6E7637E}"/>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70" name="Group 69">
              <a:extLst>
                <a:ext uri="{FF2B5EF4-FFF2-40B4-BE49-F238E27FC236}">
                  <a16:creationId xmlns:a16="http://schemas.microsoft.com/office/drawing/2014/main" id="{2CCD32FC-E709-E142-B623-AE06E8EC8B3E}"/>
                </a:ext>
              </a:extLst>
            </p:cNvPr>
            <p:cNvGrpSpPr/>
            <p:nvPr userDrawn="1"/>
          </p:nvGrpSpPr>
          <p:grpSpPr>
            <a:xfrm>
              <a:off x="9538241" y="3396143"/>
              <a:ext cx="2735151" cy="1666188"/>
              <a:chOff x="9286315" y="6976989"/>
              <a:chExt cx="2735151" cy="1666188"/>
            </a:xfrm>
          </p:grpSpPr>
          <p:sp>
            <p:nvSpPr>
              <p:cNvPr id="79" name="Rectangle 78">
                <a:extLst>
                  <a:ext uri="{FF2B5EF4-FFF2-40B4-BE49-F238E27FC236}">
                    <a16:creationId xmlns:a16="http://schemas.microsoft.com/office/drawing/2014/main" id="{1AD60CD3-B4BC-E040-8981-6012562F0C94}"/>
                  </a:ext>
                </a:extLst>
              </p:cNvPr>
              <p:cNvSpPr/>
              <p:nvPr userDrawn="1"/>
            </p:nvSpPr>
            <p:spPr>
              <a:xfrm>
                <a:off x="9286315" y="6976989"/>
                <a:ext cx="2735151" cy="166618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0" name="TextBox 79">
                <a:extLst>
                  <a:ext uri="{FF2B5EF4-FFF2-40B4-BE49-F238E27FC236}">
                    <a16:creationId xmlns:a16="http://schemas.microsoft.com/office/drawing/2014/main" id="{0500C78E-C328-F14C-A864-E5F8C5F20232}"/>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81" name="Graphic 80">
                <a:extLst>
                  <a:ext uri="{FF2B5EF4-FFF2-40B4-BE49-F238E27FC236}">
                    <a16:creationId xmlns:a16="http://schemas.microsoft.com/office/drawing/2014/main" id="{C8CF73C9-B68C-C94C-8FC0-F5485C6B77E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82" name="TextBox 81">
                <a:extLst>
                  <a:ext uri="{FF2B5EF4-FFF2-40B4-BE49-F238E27FC236}">
                    <a16:creationId xmlns:a16="http://schemas.microsoft.com/office/drawing/2014/main" id="{78EEA2D3-B34F-904B-84B7-B085A8069698}"/>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83" name="Picture 82">
                <a:extLst>
                  <a:ext uri="{FF2B5EF4-FFF2-40B4-BE49-F238E27FC236}">
                    <a16:creationId xmlns:a16="http://schemas.microsoft.com/office/drawing/2014/main" id="{00FF0DDC-9097-394D-851D-08358799C835}"/>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sp>
            <p:nvSpPr>
              <p:cNvPr id="84" name="TextBox 83">
                <a:extLst>
                  <a:ext uri="{FF2B5EF4-FFF2-40B4-BE49-F238E27FC236}">
                    <a16:creationId xmlns:a16="http://schemas.microsoft.com/office/drawing/2014/main" id="{85545B51-20B3-D84A-90A0-A69BA877D778}"/>
                  </a:ext>
                </a:extLst>
              </p:cNvPr>
              <p:cNvSpPr txBox="1"/>
              <p:nvPr userDrawn="1"/>
            </p:nvSpPr>
            <p:spPr>
              <a:xfrm>
                <a:off x="9446538" y="8244615"/>
                <a:ext cx="2467032"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3175" lvl="1" indent="0">
                  <a:buNone/>
                  <a:defRPr/>
                </a:pPr>
                <a:r>
                  <a:rPr lang="en-US" sz="900" i="1" kern="1200">
                    <a:solidFill>
                      <a:schemeClr val="tx1">
                        <a:lumMod val="50000"/>
                        <a:lumOff val="50000"/>
                      </a:schemeClr>
                    </a:solidFill>
                    <a:latin typeface="Arial" charset="0"/>
                    <a:cs typeface="Arial" charset="0"/>
                  </a:rPr>
                  <a:t>Strict rule: do not resize the image placeholder. It should always be 1/3rd of the slide width.</a:t>
                </a:r>
              </a:p>
            </p:txBody>
          </p:sp>
        </p:grpSp>
        <p:grpSp>
          <p:nvGrpSpPr>
            <p:cNvPr id="71" name="Group 70">
              <a:extLst>
                <a:ext uri="{FF2B5EF4-FFF2-40B4-BE49-F238E27FC236}">
                  <a16:creationId xmlns:a16="http://schemas.microsoft.com/office/drawing/2014/main" id="{A54D8ACD-8FE6-FA47-9C16-28AC8E2BB573}"/>
                </a:ext>
              </a:extLst>
            </p:cNvPr>
            <p:cNvGrpSpPr/>
            <p:nvPr userDrawn="1"/>
          </p:nvGrpSpPr>
          <p:grpSpPr>
            <a:xfrm>
              <a:off x="9518577" y="475409"/>
              <a:ext cx="2617883" cy="651460"/>
              <a:chOff x="12352022" y="513115"/>
              <a:chExt cx="2617883" cy="651460"/>
            </a:xfrm>
          </p:grpSpPr>
          <p:sp>
            <p:nvSpPr>
              <p:cNvPr id="76" name="TextBox 75">
                <a:extLst>
                  <a:ext uri="{FF2B5EF4-FFF2-40B4-BE49-F238E27FC236}">
                    <a16:creationId xmlns:a16="http://schemas.microsoft.com/office/drawing/2014/main" id="{257A3BC7-98D3-7F47-A20C-049791895F11}"/>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77" name="TextBox 76">
                <a:extLst>
                  <a:ext uri="{FF2B5EF4-FFF2-40B4-BE49-F238E27FC236}">
                    <a16:creationId xmlns:a16="http://schemas.microsoft.com/office/drawing/2014/main" id="{26569F11-A5BC-0F4B-95B2-A36553A569D8}"/>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78" name="TextBox 77">
                <a:extLst>
                  <a:ext uri="{FF2B5EF4-FFF2-40B4-BE49-F238E27FC236}">
                    <a16:creationId xmlns:a16="http://schemas.microsoft.com/office/drawing/2014/main" id="{5577D0E4-A165-CB45-9363-70B2316503B5}"/>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Select and download images from the Marketing Resource Database.</a:t>
                </a:r>
              </a:p>
              <a:p>
                <a:pPr lvl="0"/>
                <a:r>
                  <a:rPr lang="en-US" sz="1050"/>
                  <a:t>Add the image to the placeholder.</a:t>
                </a:r>
              </a:p>
            </p:txBody>
          </p:sp>
        </p:grpSp>
        <p:sp>
          <p:nvSpPr>
            <p:cNvPr id="72" name="TextBox 71">
              <a:extLst>
                <a:ext uri="{FF2B5EF4-FFF2-40B4-BE49-F238E27FC236}">
                  <a16:creationId xmlns:a16="http://schemas.microsoft.com/office/drawing/2014/main" id="{BDE2593C-BC10-6B48-B787-D8C6A3C31D99}"/>
                </a:ext>
              </a:extLst>
            </p:cNvPr>
            <p:cNvSpPr txBox="1"/>
            <p:nvPr userDrawn="1"/>
          </p:nvSpPr>
          <p:spPr>
            <a:xfrm>
              <a:off x="9671011" y="1494521"/>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73" name="TextBox 72">
              <a:extLst>
                <a:ext uri="{FF2B5EF4-FFF2-40B4-BE49-F238E27FC236}">
                  <a16:creationId xmlns:a16="http://schemas.microsoft.com/office/drawing/2014/main" id="{0A633BB0-73F3-7C46-ABB0-B077D9BB9B93}"/>
                </a:ext>
              </a:extLst>
            </p:cNvPr>
            <p:cNvSpPr txBox="1"/>
            <p:nvPr userDrawn="1"/>
          </p:nvSpPr>
          <p:spPr>
            <a:xfrm>
              <a:off x="9683170" y="1909778"/>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 </a:t>
              </a:r>
            </a:p>
            <a:p>
              <a:pPr lvl="1">
                <a:buNone/>
              </a:pPr>
              <a:r>
                <a:rPr lang="en-US" sz="1050"/>
                <a:t>Right-click or use keyboard shortcuts to paste the image.</a:t>
              </a:r>
            </a:p>
          </p:txBody>
        </p:sp>
        <p:sp>
          <p:nvSpPr>
            <p:cNvPr id="74" name="TextBox 73">
              <a:extLst>
                <a:ext uri="{FF2B5EF4-FFF2-40B4-BE49-F238E27FC236}">
                  <a16:creationId xmlns:a16="http://schemas.microsoft.com/office/drawing/2014/main" id="{B9774BE2-4CD8-1C4E-AA31-3E4348C018BA}"/>
                </a:ext>
              </a:extLst>
            </p:cNvPr>
            <p:cNvSpPr txBox="1"/>
            <p:nvPr userDrawn="1"/>
          </p:nvSpPr>
          <p:spPr>
            <a:xfrm>
              <a:off x="9683170" y="2629868"/>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75" name="TextBox 74">
              <a:extLst>
                <a:ext uri="{FF2B5EF4-FFF2-40B4-BE49-F238E27FC236}">
                  <a16:creationId xmlns:a16="http://schemas.microsoft.com/office/drawing/2014/main" id="{3157C840-4A21-814B-858D-959BC60A1F3C}"/>
                </a:ext>
              </a:extLst>
            </p:cNvPr>
            <p:cNvSpPr txBox="1"/>
            <p:nvPr userDrawn="1"/>
          </p:nvSpPr>
          <p:spPr>
            <a:xfrm>
              <a:off x="9671011" y="3060431"/>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 </a:t>
              </a:r>
              <a:br>
                <a:rPr lang="en-US" sz="700"/>
              </a:br>
              <a:r>
                <a:rPr lang="en-US" sz="700"/>
                <a:t>In this case use one of the other methods.</a:t>
              </a:r>
            </a:p>
          </p:txBody>
        </p:sp>
      </p:grpSp>
    </p:spTree>
    <p:extLst>
      <p:ext uri="{BB962C8B-B14F-4D97-AF65-F5344CB8AC3E}">
        <p14:creationId xmlns:p14="http://schemas.microsoft.com/office/powerpoint/2010/main" val="8471980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One Graphic">
    <p:spTree>
      <p:nvGrpSpPr>
        <p:cNvPr id="1" name=""/>
        <p:cNvGrpSpPr/>
        <p:nvPr/>
      </p:nvGrpSpPr>
      <p:grpSpPr>
        <a:xfrm>
          <a:off x="0" y="0"/>
          <a:ext cx="0" cy="0"/>
          <a:chOff x="0" y="0"/>
          <a:chExt cx="0" cy="0"/>
        </a:xfrm>
      </p:grpSpPr>
      <p:sp>
        <p:nvSpPr>
          <p:cNvPr id="35" name="Picture Placeholder 35">
            <a:extLst>
              <a:ext uri="{FF2B5EF4-FFF2-40B4-BE49-F238E27FC236}">
                <a16:creationId xmlns:a16="http://schemas.microsoft.com/office/drawing/2014/main" id="{035C32BE-1E4C-0043-942E-9EFF22820F5F}"/>
              </a:ext>
            </a:extLst>
          </p:cNvPr>
          <p:cNvSpPr>
            <a:spLocks noGrp="1"/>
          </p:cNvSpPr>
          <p:nvPr>
            <p:ph type="pic" sz="quarter" idx="10" hasCustomPrompt="1"/>
          </p:nvPr>
        </p:nvSpPr>
        <p:spPr>
          <a:xfrm>
            <a:off x="0" y="0"/>
            <a:ext cx="12192000" cy="6858000"/>
          </a:xfrm>
          <a:custGeom>
            <a:avLst/>
            <a:gdLst>
              <a:gd name="connsiteX0" fmla="*/ 0 w 9144000"/>
              <a:gd name="connsiteY0" fmla="*/ 0 h 6858000"/>
              <a:gd name="connsiteX1" fmla="*/ 9144000 w 9144000"/>
              <a:gd name="connsiteY1" fmla="*/ 0 h 6858000"/>
              <a:gd name="connsiteX2" fmla="*/ 9144000 w 9144000"/>
              <a:gd name="connsiteY2" fmla="*/ 6858000 h 6858000"/>
              <a:gd name="connsiteX3" fmla="*/ 0 w 9144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9144000" h="6858000">
                <a:moveTo>
                  <a:pt x="0" y="0"/>
                </a:moveTo>
                <a:lnTo>
                  <a:pt x="9144000" y="0"/>
                </a:lnTo>
                <a:lnTo>
                  <a:pt x="9144000" y="6858000"/>
                </a:lnTo>
                <a:lnTo>
                  <a:pt x="0" y="6858000"/>
                </a:lnTo>
                <a:close/>
              </a:path>
            </a:pathLst>
          </a:custGeom>
          <a:solidFill>
            <a:srgbClr val="E8F3FD"/>
          </a:solidFill>
        </p:spPr>
        <p:txBody>
          <a:bodyPr wrap="square" anchor="ctr">
            <a:noAutofit/>
          </a:bodyPr>
          <a:lstStyle>
            <a:lvl1pPr algn="ctr">
              <a:defRPr b="0">
                <a:solidFill>
                  <a:schemeClr val="tx1">
                    <a:lumMod val="50000"/>
                    <a:lumOff val="50000"/>
                  </a:schemeClr>
                </a:solidFill>
              </a:defRPr>
            </a:lvl1pPr>
          </a:lstStyle>
          <a:p>
            <a:r>
              <a:rPr lang="en-US"/>
              <a:t>Click icon to add a pre-designed graphic</a:t>
            </a:r>
            <a:br>
              <a:rPr lang="en-US"/>
            </a:br>
            <a:r>
              <a:rPr lang="en-US"/>
              <a:t>(e.g. ranking, quote, or map)</a:t>
            </a:r>
          </a:p>
        </p:txBody>
      </p:sp>
      <p:sp>
        <p:nvSpPr>
          <p:cNvPr id="5" name="Title 4">
            <a:extLst>
              <a:ext uri="{FF2B5EF4-FFF2-40B4-BE49-F238E27FC236}">
                <a16:creationId xmlns:a16="http://schemas.microsoft.com/office/drawing/2014/main" id="{4D5405C3-B529-8445-891B-5DC49F4AC2AA}"/>
              </a:ext>
            </a:extLst>
          </p:cNvPr>
          <p:cNvSpPr>
            <a:spLocks noGrp="1"/>
          </p:cNvSpPr>
          <p:nvPr userDrawn="1">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7689135C-1344-F94E-8F1C-BE454F6FBFBE}"/>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 name="Date Placeholder 2">
            <a:extLst>
              <a:ext uri="{FF2B5EF4-FFF2-40B4-BE49-F238E27FC236}">
                <a16:creationId xmlns:a16="http://schemas.microsoft.com/office/drawing/2014/main" id="{10B0DF10-D944-7E44-8C33-475A3A1A8A9D}"/>
              </a:ext>
            </a:extLst>
          </p:cNvPr>
          <p:cNvSpPr>
            <a:spLocks noGrp="1"/>
          </p:cNvSpPr>
          <p:nvPr>
            <p:ph type="dt" sz="half" idx="101"/>
          </p:nvPr>
        </p:nvSpPr>
        <p:spPr/>
        <p:txBody>
          <a:bodyPr/>
          <a:lstStyle/>
          <a:p>
            <a:endParaRPr lang="en-US"/>
          </a:p>
        </p:txBody>
      </p:sp>
      <p:sp>
        <p:nvSpPr>
          <p:cNvPr id="7" name="Footer Placeholder 6">
            <a:extLst>
              <a:ext uri="{FF2B5EF4-FFF2-40B4-BE49-F238E27FC236}">
                <a16:creationId xmlns:a16="http://schemas.microsoft.com/office/drawing/2014/main" id="{2C4CCAAA-DF95-7842-8BC9-3F8AB6B46ED7}"/>
              </a:ext>
            </a:extLst>
          </p:cNvPr>
          <p:cNvSpPr>
            <a:spLocks noGrp="1"/>
          </p:cNvSpPr>
          <p:nvPr>
            <p:ph type="ftr" sz="quarter" idx="102"/>
          </p:nvPr>
        </p:nvSpPr>
        <p:spPr/>
        <p:txBody>
          <a:bodyPr/>
          <a:lstStyle/>
          <a:p>
            <a:endParaRPr lang="en-US"/>
          </a:p>
        </p:txBody>
      </p:sp>
      <p:sp>
        <p:nvSpPr>
          <p:cNvPr id="8" name="Slide Number Placeholder 7">
            <a:extLst>
              <a:ext uri="{FF2B5EF4-FFF2-40B4-BE49-F238E27FC236}">
                <a16:creationId xmlns:a16="http://schemas.microsoft.com/office/drawing/2014/main" id="{77E60850-6391-3041-B4D0-C92867F3DEB4}"/>
              </a:ext>
            </a:extLst>
          </p:cNvPr>
          <p:cNvSpPr>
            <a:spLocks noGrp="1"/>
          </p:cNvSpPr>
          <p:nvPr>
            <p:ph type="sldNum" sz="quarter" idx="103"/>
          </p:nvPr>
        </p:nvSpPr>
        <p:spPr>
          <a:noFill/>
        </p:spPr>
        <p:txBody>
          <a:bodyPr/>
          <a:lstStyle/>
          <a:p>
            <a:pPr marL="12700"/>
            <a:fld id="{078C017C-E1B9-8443-B047-B08AAA027B45}" type="slidenum">
              <a:rPr lang="en-US" smtClean="0"/>
              <a:pPr marL="12700"/>
              <a:t>‹#›</a:t>
            </a:fld>
            <a:endParaRPr lang="en-US"/>
          </a:p>
        </p:txBody>
      </p:sp>
      <p:grpSp>
        <p:nvGrpSpPr>
          <p:cNvPr id="44" name="Group 43">
            <a:extLst>
              <a:ext uri="{FF2B5EF4-FFF2-40B4-BE49-F238E27FC236}">
                <a16:creationId xmlns:a16="http://schemas.microsoft.com/office/drawing/2014/main" id="{67D02F64-F08E-0F4E-B529-5BC62DBE3DF1}"/>
              </a:ext>
            </a:extLst>
          </p:cNvPr>
          <p:cNvGrpSpPr/>
          <p:nvPr userDrawn="1"/>
        </p:nvGrpSpPr>
        <p:grpSpPr>
          <a:xfrm>
            <a:off x="12532243" y="-1"/>
            <a:ext cx="2898257" cy="6858001"/>
            <a:chOff x="9144000" y="-1"/>
            <a:chExt cx="2874210" cy="6858001"/>
          </a:xfrm>
        </p:grpSpPr>
        <p:sp>
          <p:nvSpPr>
            <p:cNvPr id="51" name="Rectangle 50">
              <a:extLst>
                <a:ext uri="{FF2B5EF4-FFF2-40B4-BE49-F238E27FC236}">
                  <a16:creationId xmlns:a16="http://schemas.microsoft.com/office/drawing/2014/main" id="{B502E77A-94C0-9946-8D2F-BE9E8B1B62E9}"/>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grpSp>
          <p:nvGrpSpPr>
            <p:cNvPr id="52" name="Group 51">
              <a:extLst>
                <a:ext uri="{FF2B5EF4-FFF2-40B4-BE49-F238E27FC236}">
                  <a16:creationId xmlns:a16="http://schemas.microsoft.com/office/drawing/2014/main" id="{527EA42E-6AC0-B547-9370-A426FC3DA920}"/>
                </a:ext>
              </a:extLst>
            </p:cNvPr>
            <p:cNvGrpSpPr/>
            <p:nvPr userDrawn="1"/>
          </p:nvGrpSpPr>
          <p:grpSpPr>
            <a:xfrm>
              <a:off x="9263395" y="150289"/>
              <a:ext cx="2754815" cy="6013825"/>
              <a:chOff x="9266651" y="185338"/>
              <a:chExt cx="2754815" cy="6013825"/>
            </a:xfrm>
          </p:grpSpPr>
          <p:sp>
            <p:nvSpPr>
              <p:cNvPr id="53" name="TextBox 52">
                <a:extLst>
                  <a:ext uri="{FF2B5EF4-FFF2-40B4-BE49-F238E27FC236}">
                    <a16:creationId xmlns:a16="http://schemas.microsoft.com/office/drawing/2014/main" id="{318F7B6C-E16E-7A45-B2AD-D99A7D30D7AC}"/>
                  </a:ext>
                </a:extLst>
              </p:cNvPr>
              <p:cNvSpPr txBox="1"/>
              <p:nvPr userDrawn="1"/>
            </p:nvSpPr>
            <p:spPr>
              <a:xfrm>
                <a:off x="9303325" y="18533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54" name="Straight Connector 53">
                <a:extLst>
                  <a:ext uri="{FF2B5EF4-FFF2-40B4-BE49-F238E27FC236}">
                    <a16:creationId xmlns:a16="http://schemas.microsoft.com/office/drawing/2014/main" id="{AA79330A-89D2-B64E-BB5A-387368250368}"/>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9688A793-3D82-5747-92B2-2E732EDCE5AE}"/>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56" name="Group 55">
                <a:extLst>
                  <a:ext uri="{FF2B5EF4-FFF2-40B4-BE49-F238E27FC236}">
                    <a16:creationId xmlns:a16="http://schemas.microsoft.com/office/drawing/2014/main" id="{B6DBEC5E-BD0E-9241-A3E4-2F56C03C1A05}"/>
                  </a:ext>
                </a:extLst>
              </p:cNvPr>
              <p:cNvGrpSpPr/>
              <p:nvPr userDrawn="1"/>
            </p:nvGrpSpPr>
            <p:grpSpPr>
              <a:xfrm>
                <a:off x="9286315" y="4787848"/>
                <a:ext cx="2735151" cy="1411315"/>
                <a:chOff x="9296567" y="4910411"/>
                <a:chExt cx="2735151" cy="1411315"/>
              </a:xfrm>
            </p:grpSpPr>
            <p:sp>
              <p:nvSpPr>
                <p:cNvPr id="71" name="Rectangle 70">
                  <a:extLst>
                    <a:ext uri="{FF2B5EF4-FFF2-40B4-BE49-F238E27FC236}">
                      <a16:creationId xmlns:a16="http://schemas.microsoft.com/office/drawing/2014/main" id="{FFA48DED-F3DA-EC47-97E5-E6739BF46422}"/>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2" name="TextBox 71">
                  <a:extLst>
                    <a:ext uri="{FF2B5EF4-FFF2-40B4-BE49-F238E27FC236}">
                      <a16:creationId xmlns:a16="http://schemas.microsoft.com/office/drawing/2014/main" id="{82CFB4CC-B76D-A94D-AB78-1A7F4E4CE9E0}"/>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73" name="Graphic 72">
                  <a:extLst>
                    <a:ext uri="{FF2B5EF4-FFF2-40B4-BE49-F238E27FC236}">
                      <a16:creationId xmlns:a16="http://schemas.microsoft.com/office/drawing/2014/main" id="{786BEA28-9B2D-2C46-85BC-0D2CF1D6365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74" name="TextBox 73">
                  <a:extLst>
                    <a:ext uri="{FF2B5EF4-FFF2-40B4-BE49-F238E27FC236}">
                      <a16:creationId xmlns:a16="http://schemas.microsoft.com/office/drawing/2014/main" id="{71831B6F-88D4-2D4F-9998-C1B41572775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5" name="TextBox 74">
                  <a:extLst>
                    <a:ext uri="{FF2B5EF4-FFF2-40B4-BE49-F238E27FC236}">
                      <a16:creationId xmlns:a16="http://schemas.microsoft.com/office/drawing/2014/main" id="{EFBA3B08-C039-6D48-BC25-182C2C66DF32}"/>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6" name="TextBox 75">
                  <a:extLst>
                    <a:ext uri="{FF2B5EF4-FFF2-40B4-BE49-F238E27FC236}">
                      <a16:creationId xmlns:a16="http://schemas.microsoft.com/office/drawing/2014/main" id="{5FCB126F-01A3-9A47-AD52-F8C4B63FEC23}"/>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57" name="Group 56">
                <a:extLst>
                  <a:ext uri="{FF2B5EF4-FFF2-40B4-BE49-F238E27FC236}">
                    <a16:creationId xmlns:a16="http://schemas.microsoft.com/office/drawing/2014/main" id="{6136081A-ADDF-5648-821B-4397ABC813A2}"/>
                  </a:ext>
                </a:extLst>
              </p:cNvPr>
              <p:cNvGrpSpPr/>
              <p:nvPr userDrawn="1"/>
            </p:nvGrpSpPr>
            <p:grpSpPr>
              <a:xfrm>
                <a:off x="9286315" y="3431192"/>
                <a:ext cx="2735151" cy="1280928"/>
                <a:chOff x="9286315" y="6976989"/>
                <a:chExt cx="2735151" cy="1280928"/>
              </a:xfrm>
            </p:grpSpPr>
            <p:sp>
              <p:nvSpPr>
                <p:cNvPr id="66" name="Rectangle 65">
                  <a:extLst>
                    <a:ext uri="{FF2B5EF4-FFF2-40B4-BE49-F238E27FC236}">
                      <a16:creationId xmlns:a16="http://schemas.microsoft.com/office/drawing/2014/main" id="{A1A968B8-5BC5-284F-898B-B6637A41DEF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7" name="TextBox 66">
                  <a:extLst>
                    <a:ext uri="{FF2B5EF4-FFF2-40B4-BE49-F238E27FC236}">
                      <a16:creationId xmlns:a16="http://schemas.microsoft.com/office/drawing/2014/main" id="{51A95283-5490-1742-84A3-68783BE5430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68" name="Graphic 67">
                  <a:extLst>
                    <a:ext uri="{FF2B5EF4-FFF2-40B4-BE49-F238E27FC236}">
                      <a16:creationId xmlns:a16="http://schemas.microsoft.com/office/drawing/2014/main" id="{986C6630-8E1B-6642-9DBA-0BE12B3DE85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69" name="TextBox 68">
                  <a:extLst>
                    <a:ext uri="{FF2B5EF4-FFF2-40B4-BE49-F238E27FC236}">
                      <a16:creationId xmlns:a16="http://schemas.microsoft.com/office/drawing/2014/main" id="{F073B232-F982-1B48-B310-DCE7A95E03B2}"/>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70" name="Picture 69">
                  <a:extLst>
                    <a:ext uri="{FF2B5EF4-FFF2-40B4-BE49-F238E27FC236}">
                      <a16:creationId xmlns:a16="http://schemas.microsoft.com/office/drawing/2014/main" id="{808FFCB2-7DF3-CA48-B29E-9FEAAB8F2B7D}"/>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58" name="Group 57">
                <a:extLst>
                  <a:ext uri="{FF2B5EF4-FFF2-40B4-BE49-F238E27FC236}">
                    <a16:creationId xmlns:a16="http://schemas.microsoft.com/office/drawing/2014/main" id="{07236D2B-D298-EB49-8ABB-E7D7376416F2}"/>
                  </a:ext>
                </a:extLst>
              </p:cNvPr>
              <p:cNvGrpSpPr/>
              <p:nvPr userDrawn="1"/>
            </p:nvGrpSpPr>
            <p:grpSpPr>
              <a:xfrm>
                <a:off x="9266651" y="510458"/>
                <a:ext cx="2617883" cy="651460"/>
                <a:chOff x="12352022" y="513115"/>
                <a:chExt cx="2617883" cy="651460"/>
              </a:xfrm>
            </p:grpSpPr>
            <p:sp>
              <p:nvSpPr>
                <p:cNvPr id="63" name="TextBox 62">
                  <a:extLst>
                    <a:ext uri="{FF2B5EF4-FFF2-40B4-BE49-F238E27FC236}">
                      <a16:creationId xmlns:a16="http://schemas.microsoft.com/office/drawing/2014/main" id="{A2A47C15-08E4-7049-935A-EDE4F9DCF822}"/>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64" name="TextBox 63">
                  <a:extLst>
                    <a:ext uri="{FF2B5EF4-FFF2-40B4-BE49-F238E27FC236}">
                      <a16:creationId xmlns:a16="http://schemas.microsoft.com/office/drawing/2014/main" id="{FC6539D2-0500-124D-81F7-76B67EA90792}"/>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65" name="TextBox 64">
                  <a:extLst>
                    <a:ext uri="{FF2B5EF4-FFF2-40B4-BE49-F238E27FC236}">
                      <a16:creationId xmlns:a16="http://schemas.microsoft.com/office/drawing/2014/main" id="{F1F80A10-B10E-A846-8794-521C2A75678D}"/>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Select and download images from the Marketing Resource Database.</a:t>
                  </a:r>
                </a:p>
                <a:p>
                  <a:pPr lvl="0"/>
                  <a:r>
                    <a:rPr lang="en-US" sz="1050"/>
                    <a:t>Add the image to the placeholder.</a:t>
                  </a:r>
                </a:p>
              </p:txBody>
            </p:sp>
          </p:grpSp>
          <p:sp>
            <p:nvSpPr>
              <p:cNvPr id="59" name="TextBox 58">
                <a:extLst>
                  <a:ext uri="{FF2B5EF4-FFF2-40B4-BE49-F238E27FC236}">
                    <a16:creationId xmlns:a16="http://schemas.microsoft.com/office/drawing/2014/main" id="{170F57E5-FA5E-C04D-ABAC-987519A35248}"/>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60" name="TextBox 59">
                <a:extLst>
                  <a:ext uri="{FF2B5EF4-FFF2-40B4-BE49-F238E27FC236}">
                    <a16:creationId xmlns:a16="http://schemas.microsoft.com/office/drawing/2014/main" id="{54C63403-02A3-EB42-BBF7-B19D923AF7CB}"/>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61" name="TextBox 60">
                <a:extLst>
                  <a:ext uri="{FF2B5EF4-FFF2-40B4-BE49-F238E27FC236}">
                    <a16:creationId xmlns:a16="http://schemas.microsoft.com/office/drawing/2014/main" id="{73B0C4AD-7511-3A44-A092-8D4C4CCE19ED}"/>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62" name="TextBox 61">
                <a:extLst>
                  <a:ext uri="{FF2B5EF4-FFF2-40B4-BE49-F238E27FC236}">
                    <a16:creationId xmlns:a16="http://schemas.microsoft.com/office/drawing/2014/main" id="{9689DDA7-3FF5-0447-8D1D-746B7CEB0585}"/>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grpSp>
    </p:spTree>
    <p:extLst>
      <p:ext uri="{BB962C8B-B14F-4D97-AF65-F5344CB8AC3E}">
        <p14:creationId xmlns:p14="http://schemas.microsoft.com/office/powerpoint/2010/main" val="36702490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One Graphic (Dark)">
    <p:bg>
      <p:bgPr>
        <a:solidFill>
          <a:schemeClr val="bg1"/>
        </a:solidFill>
        <a:effectLst/>
      </p:bgPr>
    </p:bg>
    <p:spTree>
      <p:nvGrpSpPr>
        <p:cNvPr id="1" name=""/>
        <p:cNvGrpSpPr/>
        <p:nvPr/>
      </p:nvGrpSpPr>
      <p:grpSpPr>
        <a:xfrm>
          <a:off x="0" y="0"/>
          <a:ext cx="0" cy="0"/>
          <a:chOff x="0" y="0"/>
          <a:chExt cx="0" cy="0"/>
        </a:xfrm>
      </p:grpSpPr>
      <p:sp>
        <p:nvSpPr>
          <p:cNvPr id="35" name="Picture Placeholder 50">
            <a:extLst>
              <a:ext uri="{FF2B5EF4-FFF2-40B4-BE49-F238E27FC236}">
                <a16:creationId xmlns:a16="http://schemas.microsoft.com/office/drawing/2014/main" id="{06B97830-3B9D-F740-91CB-E65E151E56A9}"/>
              </a:ext>
            </a:extLst>
          </p:cNvPr>
          <p:cNvSpPr>
            <a:spLocks noGrp="1"/>
          </p:cNvSpPr>
          <p:nvPr>
            <p:ph type="pic" sz="quarter" idx="10" hasCustomPrompt="1"/>
          </p:nvPr>
        </p:nvSpPr>
        <p:spPr>
          <a:xfrm>
            <a:off x="0" y="0"/>
            <a:ext cx="12192000" cy="6858000"/>
          </a:xfrm>
          <a:custGeom>
            <a:avLst/>
            <a:gdLst>
              <a:gd name="connsiteX0" fmla="*/ 0 w 9144000"/>
              <a:gd name="connsiteY0" fmla="*/ 0 h 6858000"/>
              <a:gd name="connsiteX1" fmla="*/ 9144000 w 9144000"/>
              <a:gd name="connsiteY1" fmla="*/ 0 h 6858000"/>
              <a:gd name="connsiteX2" fmla="*/ 9144000 w 9144000"/>
              <a:gd name="connsiteY2" fmla="*/ 6858000 h 6858000"/>
              <a:gd name="connsiteX3" fmla="*/ 0 w 9144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9144000" h="6858000">
                <a:moveTo>
                  <a:pt x="0" y="0"/>
                </a:moveTo>
                <a:lnTo>
                  <a:pt x="9144000" y="0"/>
                </a:lnTo>
                <a:lnTo>
                  <a:pt x="9144000" y="6858000"/>
                </a:lnTo>
                <a:lnTo>
                  <a:pt x="0" y="6858000"/>
                </a:lnTo>
                <a:close/>
              </a:path>
            </a:pathLst>
          </a:custGeom>
          <a:solidFill>
            <a:schemeClr val="accent5">
              <a:lumMod val="60000"/>
              <a:lumOff val="40000"/>
            </a:schemeClr>
          </a:solidFill>
        </p:spPr>
        <p:txBody>
          <a:bodyPr wrap="square" anchor="ctr">
            <a:noAutofit/>
          </a:bodyPr>
          <a:lstStyle>
            <a:lvl1pPr algn="ctr">
              <a:defRPr b="0">
                <a:solidFill>
                  <a:schemeClr val="bg1"/>
                </a:solidFill>
              </a:defRPr>
            </a:lvl1pPr>
          </a:lstStyle>
          <a:p>
            <a:r>
              <a:rPr lang="en-US"/>
              <a:t>Click icon to add a pre-designed graphic</a:t>
            </a:r>
            <a:br>
              <a:rPr lang="en-US"/>
            </a:br>
            <a:r>
              <a:rPr lang="en-US"/>
              <a:t>(e.g. ranking, quote, or map)</a:t>
            </a:r>
          </a:p>
        </p:txBody>
      </p:sp>
      <p:sp>
        <p:nvSpPr>
          <p:cNvPr id="5" name="Title 4">
            <a:extLst>
              <a:ext uri="{FF2B5EF4-FFF2-40B4-BE49-F238E27FC236}">
                <a16:creationId xmlns:a16="http://schemas.microsoft.com/office/drawing/2014/main" id="{4D5405C3-B529-8445-891B-5DC49F4AC2AA}"/>
              </a:ext>
            </a:extLst>
          </p:cNvPr>
          <p:cNvSpPr>
            <a:spLocks noGrp="1"/>
          </p:cNvSpPr>
          <p:nvPr userDrawn="1">
            <p:ph type="title" hasCustomPrompt="1"/>
          </p:nvPr>
        </p:nvSpPr>
        <p:spPr/>
        <p:txBody>
          <a:bodyPr/>
          <a:lstStyle>
            <a:lvl1pPr>
              <a:defRPr>
                <a:solidFill>
                  <a:schemeClr val="bg1"/>
                </a:solidFill>
              </a:defRPr>
            </a:lvl1pPr>
          </a:lstStyle>
          <a:p>
            <a:r>
              <a:rPr lang="en-US"/>
              <a:t>CLICK TO ADD Slide TITLE. ALL CAPS. TWO LINES max.</a:t>
            </a:r>
          </a:p>
        </p:txBody>
      </p:sp>
      <p:sp>
        <p:nvSpPr>
          <p:cNvPr id="1000" name="Footnotes Placeholder">
            <a:extLst>
              <a:ext uri="{FF2B5EF4-FFF2-40B4-BE49-F238E27FC236}">
                <a16:creationId xmlns:a16="http://schemas.microsoft.com/office/drawing/2014/main" id="{7689135C-1344-F94E-8F1C-BE454F6FBFBE}"/>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 name="Date Placeholder 2">
            <a:extLst>
              <a:ext uri="{FF2B5EF4-FFF2-40B4-BE49-F238E27FC236}">
                <a16:creationId xmlns:a16="http://schemas.microsoft.com/office/drawing/2014/main" id="{996897C2-6DB8-D84B-835C-E23BE83E1A08}"/>
              </a:ext>
            </a:extLst>
          </p:cNvPr>
          <p:cNvSpPr>
            <a:spLocks noGrp="1"/>
          </p:cNvSpPr>
          <p:nvPr>
            <p:ph type="dt" sz="half" idx="101"/>
          </p:nvPr>
        </p:nvSpPr>
        <p:spPr/>
        <p:txBody>
          <a:bodyPr/>
          <a:lstStyle/>
          <a:p>
            <a:endParaRPr lang="en-US"/>
          </a:p>
        </p:txBody>
      </p:sp>
      <p:sp>
        <p:nvSpPr>
          <p:cNvPr id="8" name="Footer Placeholder 7">
            <a:extLst>
              <a:ext uri="{FF2B5EF4-FFF2-40B4-BE49-F238E27FC236}">
                <a16:creationId xmlns:a16="http://schemas.microsoft.com/office/drawing/2014/main" id="{0967810F-AD16-6E49-B2A3-1DA6D8B1281F}"/>
              </a:ext>
            </a:extLst>
          </p:cNvPr>
          <p:cNvSpPr>
            <a:spLocks noGrp="1"/>
          </p:cNvSpPr>
          <p:nvPr>
            <p:ph type="ftr" sz="quarter" idx="102"/>
          </p:nvPr>
        </p:nvSpPr>
        <p:spPr/>
        <p:txBody>
          <a:bodyPr/>
          <a:lstStyle/>
          <a:p>
            <a:endParaRPr lang="en-US"/>
          </a:p>
        </p:txBody>
      </p:sp>
      <p:sp>
        <p:nvSpPr>
          <p:cNvPr id="10" name="Slide Number Placeholder 9">
            <a:extLst>
              <a:ext uri="{FF2B5EF4-FFF2-40B4-BE49-F238E27FC236}">
                <a16:creationId xmlns:a16="http://schemas.microsoft.com/office/drawing/2014/main" id="{5E7FAC5D-4E0E-F541-A5F0-7B548D5C6943}"/>
              </a:ext>
            </a:extLst>
          </p:cNvPr>
          <p:cNvSpPr>
            <a:spLocks noGrp="1"/>
          </p:cNvSpPr>
          <p:nvPr>
            <p:ph type="sldNum" sz="quarter" idx="103"/>
          </p:nvPr>
        </p:nvSpPr>
        <p:spPr>
          <a:noFill/>
        </p:spPr>
        <p:txBody>
          <a:bodyPr/>
          <a:lstStyle>
            <a:lvl1pPr>
              <a:defRPr>
                <a:solidFill>
                  <a:schemeClr val="bg1"/>
                </a:solidFill>
              </a:defRPr>
            </a:lvl1pPr>
          </a:lstStyle>
          <a:p>
            <a:pPr marL="12700"/>
            <a:fld id="{078C017C-E1B9-8443-B047-B08AAA027B45}" type="slidenum">
              <a:rPr lang="en-US" smtClean="0"/>
              <a:pPr marL="12700"/>
              <a:t>‹#›</a:t>
            </a:fld>
            <a:endParaRPr lang="en-US"/>
          </a:p>
        </p:txBody>
      </p:sp>
      <p:grpSp>
        <p:nvGrpSpPr>
          <p:cNvPr id="53" name="Group 52">
            <a:extLst>
              <a:ext uri="{FF2B5EF4-FFF2-40B4-BE49-F238E27FC236}">
                <a16:creationId xmlns:a16="http://schemas.microsoft.com/office/drawing/2014/main" id="{B7D076DD-8F50-3F4B-98D6-E4A42F834B1E}"/>
              </a:ext>
            </a:extLst>
          </p:cNvPr>
          <p:cNvGrpSpPr/>
          <p:nvPr userDrawn="1"/>
        </p:nvGrpSpPr>
        <p:grpSpPr>
          <a:xfrm>
            <a:off x="12532243" y="-1"/>
            <a:ext cx="2898257" cy="6858001"/>
            <a:chOff x="9144000" y="-1"/>
            <a:chExt cx="2874210" cy="6858001"/>
          </a:xfrm>
        </p:grpSpPr>
        <p:sp>
          <p:nvSpPr>
            <p:cNvPr id="54" name="Rectangle 53">
              <a:extLst>
                <a:ext uri="{FF2B5EF4-FFF2-40B4-BE49-F238E27FC236}">
                  <a16:creationId xmlns:a16="http://schemas.microsoft.com/office/drawing/2014/main" id="{36BBF600-6993-D341-9AC0-F50D26C586E0}"/>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grpSp>
          <p:nvGrpSpPr>
            <p:cNvPr id="55" name="Group 54">
              <a:extLst>
                <a:ext uri="{FF2B5EF4-FFF2-40B4-BE49-F238E27FC236}">
                  <a16:creationId xmlns:a16="http://schemas.microsoft.com/office/drawing/2014/main" id="{EB843025-7454-204B-B9AD-5D644C785EE2}"/>
                </a:ext>
              </a:extLst>
            </p:cNvPr>
            <p:cNvGrpSpPr/>
            <p:nvPr userDrawn="1"/>
          </p:nvGrpSpPr>
          <p:grpSpPr>
            <a:xfrm>
              <a:off x="9263395" y="150289"/>
              <a:ext cx="2754815" cy="6013825"/>
              <a:chOff x="9266651" y="185338"/>
              <a:chExt cx="2754815" cy="6013825"/>
            </a:xfrm>
          </p:grpSpPr>
          <p:sp>
            <p:nvSpPr>
              <p:cNvPr id="56" name="TextBox 55">
                <a:extLst>
                  <a:ext uri="{FF2B5EF4-FFF2-40B4-BE49-F238E27FC236}">
                    <a16:creationId xmlns:a16="http://schemas.microsoft.com/office/drawing/2014/main" id="{FF5862C5-7D20-BC46-9067-E991B4E14AE4}"/>
                  </a:ext>
                </a:extLst>
              </p:cNvPr>
              <p:cNvSpPr txBox="1"/>
              <p:nvPr userDrawn="1"/>
            </p:nvSpPr>
            <p:spPr>
              <a:xfrm>
                <a:off x="9303325" y="18533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57" name="Straight Connector 56">
                <a:extLst>
                  <a:ext uri="{FF2B5EF4-FFF2-40B4-BE49-F238E27FC236}">
                    <a16:creationId xmlns:a16="http://schemas.microsoft.com/office/drawing/2014/main" id="{975C5E09-098F-464C-8894-55DD0BDC3C7B}"/>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8" name="TextBox 57">
                <a:extLst>
                  <a:ext uri="{FF2B5EF4-FFF2-40B4-BE49-F238E27FC236}">
                    <a16:creationId xmlns:a16="http://schemas.microsoft.com/office/drawing/2014/main" id="{0205C785-8877-EE46-A2B7-7B490D1AAD57}"/>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59" name="Group 58">
                <a:extLst>
                  <a:ext uri="{FF2B5EF4-FFF2-40B4-BE49-F238E27FC236}">
                    <a16:creationId xmlns:a16="http://schemas.microsoft.com/office/drawing/2014/main" id="{6C6AFF6D-A16E-6A46-9C96-0B7403E23B5D}"/>
                  </a:ext>
                </a:extLst>
              </p:cNvPr>
              <p:cNvGrpSpPr/>
              <p:nvPr userDrawn="1"/>
            </p:nvGrpSpPr>
            <p:grpSpPr>
              <a:xfrm>
                <a:off x="9286315" y="4787848"/>
                <a:ext cx="2735151" cy="1411315"/>
                <a:chOff x="9296567" y="4910411"/>
                <a:chExt cx="2735151" cy="1411315"/>
              </a:xfrm>
            </p:grpSpPr>
            <p:sp>
              <p:nvSpPr>
                <p:cNvPr id="74" name="Rectangle 73">
                  <a:extLst>
                    <a:ext uri="{FF2B5EF4-FFF2-40B4-BE49-F238E27FC236}">
                      <a16:creationId xmlns:a16="http://schemas.microsoft.com/office/drawing/2014/main" id="{255E1196-F812-D640-8DB9-D8BC7A18FD1C}"/>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5" name="TextBox 74">
                  <a:extLst>
                    <a:ext uri="{FF2B5EF4-FFF2-40B4-BE49-F238E27FC236}">
                      <a16:creationId xmlns:a16="http://schemas.microsoft.com/office/drawing/2014/main" id="{858BCBF7-F722-3749-AB49-486AE5D8E461}"/>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76" name="Graphic 75">
                  <a:extLst>
                    <a:ext uri="{FF2B5EF4-FFF2-40B4-BE49-F238E27FC236}">
                      <a16:creationId xmlns:a16="http://schemas.microsoft.com/office/drawing/2014/main" id="{21D3F50C-2469-AC4A-BDED-3ACDAF1477C0}"/>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77" name="TextBox 76">
                  <a:extLst>
                    <a:ext uri="{FF2B5EF4-FFF2-40B4-BE49-F238E27FC236}">
                      <a16:creationId xmlns:a16="http://schemas.microsoft.com/office/drawing/2014/main" id="{E5BF4C36-B97C-D04D-95BB-114FED6663E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8" name="TextBox 77">
                  <a:extLst>
                    <a:ext uri="{FF2B5EF4-FFF2-40B4-BE49-F238E27FC236}">
                      <a16:creationId xmlns:a16="http://schemas.microsoft.com/office/drawing/2014/main" id="{57D207EE-696A-604C-A54B-EE58A15D4A84}"/>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9" name="TextBox 78">
                  <a:extLst>
                    <a:ext uri="{FF2B5EF4-FFF2-40B4-BE49-F238E27FC236}">
                      <a16:creationId xmlns:a16="http://schemas.microsoft.com/office/drawing/2014/main" id="{FB46A153-E16B-A646-99E4-D0A4D695B52F}"/>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60" name="Group 59">
                <a:extLst>
                  <a:ext uri="{FF2B5EF4-FFF2-40B4-BE49-F238E27FC236}">
                    <a16:creationId xmlns:a16="http://schemas.microsoft.com/office/drawing/2014/main" id="{1AF853FA-EA87-5746-9147-41E196467EAF}"/>
                  </a:ext>
                </a:extLst>
              </p:cNvPr>
              <p:cNvGrpSpPr/>
              <p:nvPr userDrawn="1"/>
            </p:nvGrpSpPr>
            <p:grpSpPr>
              <a:xfrm>
                <a:off x="9286315" y="3431192"/>
                <a:ext cx="2735151" cy="1280928"/>
                <a:chOff x="9286315" y="6976989"/>
                <a:chExt cx="2735151" cy="1280928"/>
              </a:xfrm>
            </p:grpSpPr>
            <p:sp>
              <p:nvSpPr>
                <p:cNvPr id="69" name="Rectangle 68">
                  <a:extLst>
                    <a:ext uri="{FF2B5EF4-FFF2-40B4-BE49-F238E27FC236}">
                      <a16:creationId xmlns:a16="http://schemas.microsoft.com/office/drawing/2014/main" id="{CCE10A36-F78A-464D-9B68-42B6E32EFC8B}"/>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0" name="TextBox 69">
                  <a:extLst>
                    <a:ext uri="{FF2B5EF4-FFF2-40B4-BE49-F238E27FC236}">
                      <a16:creationId xmlns:a16="http://schemas.microsoft.com/office/drawing/2014/main" id="{690C4548-3EBB-ED49-9643-093CBA03A076}"/>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71" name="Graphic 70">
                  <a:extLst>
                    <a:ext uri="{FF2B5EF4-FFF2-40B4-BE49-F238E27FC236}">
                      <a16:creationId xmlns:a16="http://schemas.microsoft.com/office/drawing/2014/main" id="{08E7DB86-211D-AC44-A80E-892F09EBA96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72" name="TextBox 71">
                  <a:extLst>
                    <a:ext uri="{FF2B5EF4-FFF2-40B4-BE49-F238E27FC236}">
                      <a16:creationId xmlns:a16="http://schemas.microsoft.com/office/drawing/2014/main" id="{63C64594-6AB7-2043-B1BD-CC57D0771351}"/>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73" name="Picture 72">
                  <a:extLst>
                    <a:ext uri="{FF2B5EF4-FFF2-40B4-BE49-F238E27FC236}">
                      <a16:creationId xmlns:a16="http://schemas.microsoft.com/office/drawing/2014/main" id="{5EDE6A44-DFC7-3243-9CAF-BAB0A6C6684C}"/>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1" name="Group 60">
                <a:extLst>
                  <a:ext uri="{FF2B5EF4-FFF2-40B4-BE49-F238E27FC236}">
                    <a16:creationId xmlns:a16="http://schemas.microsoft.com/office/drawing/2014/main" id="{3D05435C-5ECB-C74D-BFBE-B490C1A7339F}"/>
                  </a:ext>
                </a:extLst>
              </p:cNvPr>
              <p:cNvGrpSpPr/>
              <p:nvPr userDrawn="1"/>
            </p:nvGrpSpPr>
            <p:grpSpPr>
              <a:xfrm>
                <a:off x="9266651" y="510458"/>
                <a:ext cx="2617883" cy="651460"/>
                <a:chOff x="12352022" y="513115"/>
                <a:chExt cx="2617883" cy="651460"/>
              </a:xfrm>
            </p:grpSpPr>
            <p:sp>
              <p:nvSpPr>
                <p:cNvPr id="66" name="TextBox 65">
                  <a:extLst>
                    <a:ext uri="{FF2B5EF4-FFF2-40B4-BE49-F238E27FC236}">
                      <a16:creationId xmlns:a16="http://schemas.microsoft.com/office/drawing/2014/main" id="{9C0B90B9-382C-4F4D-B5BA-E004D689D821}"/>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67" name="TextBox 66">
                  <a:extLst>
                    <a:ext uri="{FF2B5EF4-FFF2-40B4-BE49-F238E27FC236}">
                      <a16:creationId xmlns:a16="http://schemas.microsoft.com/office/drawing/2014/main" id="{21D9AFAE-F003-1040-8E54-56F39D8DE6F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68" name="TextBox 67">
                  <a:extLst>
                    <a:ext uri="{FF2B5EF4-FFF2-40B4-BE49-F238E27FC236}">
                      <a16:creationId xmlns:a16="http://schemas.microsoft.com/office/drawing/2014/main" id="{FA369413-C317-774C-B936-5C819F71505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Select and download images from the Marketing Resource Database.</a:t>
                  </a:r>
                </a:p>
                <a:p>
                  <a:pPr lvl="0"/>
                  <a:r>
                    <a:rPr lang="en-US" sz="1050"/>
                    <a:t>Add the image to the placeholder.</a:t>
                  </a:r>
                </a:p>
              </p:txBody>
            </p:sp>
          </p:grpSp>
          <p:sp>
            <p:nvSpPr>
              <p:cNvPr id="62" name="TextBox 61">
                <a:extLst>
                  <a:ext uri="{FF2B5EF4-FFF2-40B4-BE49-F238E27FC236}">
                    <a16:creationId xmlns:a16="http://schemas.microsoft.com/office/drawing/2014/main" id="{DE42CF07-0D68-7A4D-8E5B-5A663E7CE90E}"/>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63" name="TextBox 62">
                <a:extLst>
                  <a:ext uri="{FF2B5EF4-FFF2-40B4-BE49-F238E27FC236}">
                    <a16:creationId xmlns:a16="http://schemas.microsoft.com/office/drawing/2014/main" id="{736868A0-7E63-5E47-A9FE-A4A8AE7A46D8}"/>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64" name="TextBox 63">
                <a:extLst>
                  <a:ext uri="{FF2B5EF4-FFF2-40B4-BE49-F238E27FC236}">
                    <a16:creationId xmlns:a16="http://schemas.microsoft.com/office/drawing/2014/main" id="{8905C3F1-96EF-B54F-B86F-E88C18C9CFC4}"/>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65" name="TextBox 64">
                <a:extLst>
                  <a:ext uri="{FF2B5EF4-FFF2-40B4-BE49-F238E27FC236}">
                    <a16:creationId xmlns:a16="http://schemas.microsoft.com/office/drawing/2014/main" id="{E95DCF03-650D-664E-89CC-F9C05FB93491}"/>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grpSp>
    </p:spTree>
    <p:extLst>
      <p:ext uri="{BB962C8B-B14F-4D97-AF65-F5344CB8AC3E}">
        <p14:creationId xmlns:p14="http://schemas.microsoft.com/office/powerpoint/2010/main" val="11720900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Map and Chart">
    <p:spTree>
      <p:nvGrpSpPr>
        <p:cNvPr id="1" name=""/>
        <p:cNvGrpSpPr/>
        <p:nvPr/>
      </p:nvGrpSpPr>
      <p:grpSpPr>
        <a:xfrm>
          <a:off x="0" y="0"/>
          <a:ext cx="0" cy="0"/>
          <a:chOff x="0" y="0"/>
          <a:chExt cx="0" cy="0"/>
        </a:xfrm>
      </p:grpSpPr>
      <p:sp>
        <p:nvSpPr>
          <p:cNvPr id="75" name="Picture Placeholder 10">
            <a:extLst>
              <a:ext uri="{FF2B5EF4-FFF2-40B4-BE49-F238E27FC236}">
                <a16:creationId xmlns:a16="http://schemas.microsoft.com/office/drawing/2014/main" id="{09207389-4FBC-8A49-8041-C587E290F2E1}"/>
              </a:ext>
            </a:extLst>
          </p:cNvPr>
          <p:cNvSpPr>
            <a:spLocks noGrp="1"/>
          </p:cNvSpPr>
          <p:nvPr>
            <p:ph type="pic" sz="quarter" idx="10" hasCustomPrompt="1"/>
          </p:nvPr>
        </p:nvSpPr>
        <p:spPr>
          <a:xfrm>
            <a:off x="153762" y="0"/>
            <a:ext cx="9144000" cy="6858000"/>
          </a:xfrm>
          <a:prstGeom prst="rect">
            <a:avLst/>
          </a:prstGeom>
          <a:blipFill>
            <a:blip r:embed="rId2"/>
            <a:stretch>
              <a:fillRect/>
            </a:stretch>
          </a:blipFill>
        </p:spPr>
        <p:txBody>
          <a:bodyPr wrap="square" lIns="792000" tIns="0" rIns="5256000" anchor="ctr">
            <a:noAutofit/>
          </a:bodyPr>
          <a:lstStyle>
            <a:lvl1pPr algn="ctr">
              <a:defRPr b="0">
                <a:solidFill>
                  <a:schemeClr val="tx1">
                    <a:lumMod val="50000"/>
                    <a:lumOff val="50000"/>
                  </a:schemeClr>
                </a:solidFill>
              </a:defRPr>
            </a:lvl1pPr>
          </a:lstStyle>
          <a:p>
            <a:r>
              <a:rPr lang="en-US"/>
              <a:t>Click the icon at the center of the slide to add a pre-designed half-page map graphic to the slide.</a:t>
            </a:r>
            <a:br>
              <a:rPr lang="en-US"/>
            </a:br>
            <a:r>
              <a:rPr lang="en-US"/>
              <a:t>(In the Marketing Resource Database, these files will have “half slide” in the files name)</a:t>
            </a:r>
          </a:p>
        </p:txBody>
      </p:sp>
      <p:sp>
        <p:nvSpPr>
          <p:cNvPr id="9" name="Title 8">
            <a:extLst>
              <a:ext uri="{FF2B5EF4-FFF2-40B4-BE49-F238E27FC236}">
                <a16:creationId xmlns:a16="http://schemas.microsoft.com/office/drawing/2014/main" id="{A3E7C59C-7AB2-FD4B-9D3E-CA7E0D8CB2F3}"/>
              </a:ext>
            </a:extLst>
          </p:cNvPr>
          <p:cNvSpPr>
            <a:spLocks noGrp="1"/>
          </p:cNvSpPr>
          <p:nvPr userDrawn="1">
            <p:ph type="title" hasCustomPrompt="1"/>
          </p:nvPr>
        </p:nvSpPr>
        <p:spPr/>
        <p:txBody>
          <a:bodyPr/>
          <a:lstStyle>
            <a:lvl1pPr>
              <a:defRPr/>
            </a:lvl1pPr>
          </a:lstStyle>
          <a:p>
            <a:pPr lvl="0"/>
            <a:r>
              <a:rPr lang="en-US"/>
              <a:t>CLICK TO ADD Slide TITLE. ALL CAPS. TWO LINES max.</a:t>
            </a:r>
          </a:p>
        </p:txBody>
      </p:sp>
      <p:sp>
        <p:nvSpPr>
          <p:cNvPr id="16" name="Chart Placeholder 2">
            <a:extLst>
              <a:ext uri="{FF2B5EF4-FFF2-40B4-BE49-F238E27FC236}">
                <a16:creationId xmlns:a16="http://schemas.microsoft.com/office/drawing/2014/main" id="{078808F4-3217-FA41-8ABF-24B9D247AE5A}"/>
              </a:ext>
            </a:extLst>
          </p:cNvPr>
          <p:cNvSpPr>
            <a:spLocks noGrp="1"/>
          </p:cNvSpPr>
          <p:nvPr userDrawn="1">
            <p:ph type="chart" sz="quarter" idx="114"/>
          </p:nvPr>
        </p:nvSpPr>
        <p:spPr>
          <a:xfrm>
            <a:off x="4849307" y="1735138"/>
            <a:ext cx="6760485" cy="4430712"/>
          </a:xfrm>
        </p:spPr>
        <p:txBody>
          <a:bodyPr/>
          <a:lstStyle>
            <a:lvl1pPr>
              <a:defRPr b="0">
                <a:solidFill>
                  <a:schemeClr val="tx1">
                    <a:lumMod val="50000"/>
                    <a:lumOff val="50000"/>
                  </a:schemeClr>
                </a:solidFill>
              </a:defRPr>
            </a:lvl1pPr>
          </a:lstStyle>
          <a:p>
            <a:r>
              <a:rPr lang="en-US"/>
              <a:t>Click icon to add chart</a:t>
            </a:r>
          </a:p>
        </p:txBody>
      </p:sp>
      <p:sp>
        <p:nvSpPr>
          <p:cNvPr id="1000" name="Footnotes Placeholder">
            <a:extLst>
              <a:ext uri="{FF2B5EF4-FFF2-40B4-BE49-F238E27FC236}">
                <a16:creationId xmlns:a16="http://schemas.microsoft.com/office/drawing/2014/main" id="{89C8ABCA-426C-9447-AA12-B5A756649D54}"/>
              </a:ext>
            </a:extLst>
          </p:cNvPr>
          <p:cNvSpPr>
            <a:spLocks noGrp="1"/>
          </p:cNvSpPr>
          <p:nvPr userDrawn="1">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grpSp>
        <p:nvGrpSpPr>
          <p:cNvPr id="6" name="Group 5">
            <a:extLst>
              <a:ext uri="{FF2B5EF4-FFF2-40B4-BE49-F238E27FC236}">
                <a16:creationId xmlns:a16="http://schemas.microsoft.com/office/drawing/2014/main" id="{A1834941-C348-A040-9D09-770ED5F00B5B}"/>
              </a:ext>
            </a:extLst>
          </p:cNvPr>
          <p:cNvGrpSpPr/>
          <p:nvPr userDrawn="1"/>
        </p:nvGrpSpPr>
        <p:grpSpPr>
          <a:xfrm>
            <a:off x="12532245" y="-1"/>
            <a:ext cx="2979898" cy="13179981"/>
            <a:chOff x="9399182" y="-1"/>
            <a:chExt cx="2961715" cy="13179981"/>
          </a:xfrm>
        </p:grpSpPr>
        <p:sp>
          <p:nvSpPr>
            <p:cNvPr id="80" name="Rectangle 79">
              <a:extLst>
                <a:ext uri="{FF2B5EF4-FFF2-40B4-BE49-F238E27FC236}">
                  <a16:creationId xmlns:a16="http://schemas.microsoft.com/office/drawing/2014/main" id="{7F39C21F-C07C-7740-9183-FE0C02C54D48}"/>
                </a:ext>
              </a:extLst>
            </p:cNvPr>
            <p:cNvSpPr/>
            <p:nvPr userDrawn="1"/>
          </p:nvSpPr>
          <p:spPr>
            <a:xfrm>
              <a:off x="9399182" y="-1"/>
              <a:ext cx="2798651" cy="1299298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73" name="Picture 72">
              <a:extLst>
                <a:ext uri="{FF2B5EF4-FFF2-40B4-BE49-F238E27FC236}">
                  <a16:creationId xmlns:a16="http://schemas.microsoft.com/office/drawing/2014/main" id="{8D2E816D-1321-604A-8779-D37820720E7E}"/>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81" name="Group 80">
              <a:extLst>
                <a:ext uri="{FF2B5EF4-FFF2-40B4-BE49-F238E27FC236}">
                  <a16:creationId xmlns:a16="http://schemas.microsoft.com/office/drawing/2014/main" id="{C545234B-6DF7-7643-92C8-BA7AC4A8A953}"/>
                </a:ext>
              </a:extLst>
            </p:cNvPr>
            <p:cNvGrpSpPr/>
            <p:nvPr userDrawn="1"/>
          </p:nvGrpSpPr>
          <p:grpSpPr>
            <a:xfrm>
              <a:off x="9541497" y="162442"/>
              <a:ext cx="2819400" cy="814510"/>
              <a:chOff x="-3644733" y="165205"/>
              <a:chExt cx="2819400" cy="814510"/>
            </a:xfrm>
          </p:grpSpPr>
          <p:sp>
            <p:nvSpPr>
              <p:cNvPr id="107" name="Rectangle 106">
                <a:extLst>
                  <a:ext uri="{FF2B5EF4-FFF2-40B4-BE49-F238E27FC236}">
                    <a16:creationId xmlns:a16="http://schemas.microsoft.com/office/drawing/2014/main" id="{2F039784-C448-5543-B741-6EBF9C27FE1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08" name="TextBox 107">
                <a:extLst>
                  <a:ext uri="{FF2B5EF4-FFF2-40B4-BE49-F238E27FC236}">
                    <a16:creationId xmlns:a16="http://schemas.microsoft.com/office/drawing/2014/main" id="{F60BC00D-BAE8-1C44-A7A3-F83307EFAE07}"/>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09" name="Picture 108">
                <a:extLst>
                  <a:ext uri="{FF2B5EF4-FFF2-40B4-BE49-F238E27FC236}">
                    <a16:creationId xmlns:a16="http://schemas.microsoft.com/office/drawing/2014/main" id="{4BF9F541-6966-324D-8295-8DC4C6ED816B}"/>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82" name="Group 81">
              <a:extLst>
                <a:ext uri="{FF2B5EF4-FFF2-40B4-BE49-F238E27FC236}">
                  <a16:creationId xmlns:a16="http://schemas.microsoft.com/office/drawing/2014/main" id="{876CC36D-CD32-7F49-83AC-D8C75EEEEBC3}"/>
                </a:ext>
              </a:extLst>
            </p:cNvPr>
            <p:cNvGrpSpPr/>
            <p:nvPr userDrawn="1"/>
          </p:nvGrpSpPr>
          <p:grpSpPr>
            <a:xfrm>
              <a:off x="9521833" y="5949873"/>
              <a:ext cx="2676002" cy="1052731"/>
              <a:chOff x="9521833" y="2036288"/>
              <a:chExt cx="2676002" cy="1052731"/>
            </a:xfrm>
          </p:grpSpPr>
          <p:sp>
            <p:nvSpPr>
              <p:cNvPr id="101" name="TextBox 100">
                <a:extLst>
                  <a:ext uri="{FF2B5EF4-FFF2-40B4-BE49-F238E27FC236}">
                    <a16:creationId xmlns:a16="http://schemas.microsoft.com/office/drawing/2014/main" id="{0C54F8FD-6A48-EF40-AD43-A10ACF4D7CF9}"/>
                  </a:ext>
                </a:extLst>
              </p:cNvPr>
              <p:cNvSpPr txBox="1"/>
              <p:nvPr userDrawn="1"/>
            </p:nvSpPr>
            <p:spPr>
              <a:xfrm>
                <a:off x="9558507" y="2036288"/>
                <a:ext cx="99666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ADD A NEW CHART</a:t>
                </a:r>
              </a:p>
            </p:txBody>
          </p:sp>
          <p:cxnSp>
            <p:nvCxnSpPr>
              <p:cNvPr id="102" name="Straight Connector 101">
                <a:extLst>
                  <a:ext uri="{FF2B5EF4-FFF2-40B4-BE49-F238E27FC236}">
                    <a16:creationId xmlns:a16="http://schemas.microsoft.com/office/drawing/2014/main" id="{4CF1923C-FF57-604A-A528-0F8B428DC11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3" name="Group 102">
                <a:extLst>
                  <a:ext uri="{FF2B5EF4-FFF2-40B4-BE49-F238E27FC236}">
                    <a16:creationId xmlns:a16="http://schemas.microsoft.com/office/drawing/2014/main" id="{BA303ED0-59A7-B84C-A014-7496C5477C51}"/>
                  </a:ext>
                </a:extLst>
              </p:cNvPr>
              <p:cNvGrpSpPr/>
              <p:nvPr userDrawn="1"/>
            </p:nvGrpSpPr>
            <p:grpSpPr>
              <a:xfrm>
                <a:off x="9521833" y="2361408"/>
                <a:ext cx="2557391" cy="323165"/>
                <a:chOff x="12352022" y="513115"/>
                <a:chExt cx="2557391" cy="323165"/>
              </a:xfrm>
            </p:grpSpPr>
            <p:sp>
              <p:nvSpPr>
                <p:cNvPr id="105" name="TextBox 104">
                  <a:extLst>
                    <a:ext uri="{FF2B5EF4-FFF2-40B4-BE49-F238E27FC236}">
                      <a16:creationId xmlns:a16="http://schemas.microsoft.com/office/drawing/2014/main" id="{34680833-A017-FE4C-B658-3EDDEB9B2F3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06" name="TextBox 105">
                  <a:extLst>
                    <a:ext uri="{FF2B5EF4-FFF2-40B4-BE49-F238E27FC236}">
                      <a16:creationId xmlns:a16="http://schemas.microsoft.com/office/drawing/2014/main" id="{E4EC3B22-EC11-D84D-90B3-DC3B7E1CA6D3}"/>
                    </a:ext>
                  </a:extLst>
                </p:cNvPr>
                <p:cNvSpPr txBox="1"/>
                <p:nvPr userDrawn="1"/>
              </p:nvSpPr>
              <p:spPr>
                <a:xfrm>
                  <a:off x="12516615" y="513115"/>
                  <a:ext cx="2392798"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Open the </a:t>
                  </a:r>
                  <a:r>
                    <a:rPr lang="en-US" sz="1050" b="1"/>
                    <a:t>VEDP Template Assets file </a:t>
                  </a:r>
                  <a:r>
                    <a:rPr lang="en-US" sz="1050"/>
                    <a:t>and copy the desired chart type into your presentation.</a:t>
                  </a:r>
                </a:p>
              </p:txBody>
            </p:sp>
          </p:grpSp>
          <p:sp>
            <p:nvSpPr>
              <p:cNvPr id="104" name="TextBox 103">
                <a:extLst>
                  <a:ext uri="{FF2B5EF4-FFF2-40B4-BE49-F238E27FC236}">
                    <a16:creationId xmlns:a16="http://schemas.microsoft.com/office/drawing/2014/main" id="{862A8FB6-C487-2D48-A9DC-F3D0905D6BE5}"/>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These samples slide have further instructions and have been set up so you can easily edit the data.</a:t>
                </a:r>
              </a:p>
            </p:txBody>
          </p:sp>
        </p:grpSp>
        <p:sp>
          <p:nvSpPr>
            <p:cNvPr id="83" name="TextBox 82">
              <a:extLst>
                <a:ext uri="{FF2B5EF4-FFF2-40B4-BE49-F238E27FC236}">
                  <a16:creationId xmlns:a16="http://schemas.microsoft.com/office/drawing/2014/main" id="{203EC2FF-8F5A-2547-A699-BE8FF88F9301}"/>
                </a:ext>
              </a:extLst>
            </p:cNvPr>
            <p:cNvSpPr txBox="1"/>
            <p:nvPr userDrawn="1"/>
          </p:nvSpPr>
          <p:spPr>
            <a:xfrm>
              <a:off x="9558507" y="2034287"/>
              <a:ext cx="15424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FORMAT AN EXISTING CHART</a:t>
              </a:r>
            </a:p>
          </p:txBody>
        </p:sp>
        <p:cxnSp>
          <p:nvCxnSpPr>
            <p:cNvPr id="84" name="Straight Connector 83">
              <a:extLst>
                <a:ext uri="{FF2B5EF4-FFF2-40B4-BE49-F238E27FC236}">
                  <a16:creationId xmlns:a16="http://schemas.microsoft.com/office/drawing/2014/main" id="{59E92957-8BDF-4347-81B2-9604E93AE603}"/>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36CA8A72-2DBC-5545-BC2E-B4BDCAC3FDF6}"/>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86" name="TextBox 85">
              <a:extLst>
                <a:ext uri="{FF2B5EF4-FFF2-40B4-BE49-F238E27FC236}">
                  <a16:creationId xmlns:a16="http://schemas.microsoft.com/office/drawing/2014/main" id="{E1C1C471-3C86-9243-8147-752CF2CED878}"/>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87" name="TextBox 86">
              <a:extLst>
                <a:ext uri="{FF2B5EF4-FFF2-40B4-BE49-F238E27FC236}">
                  <a16:creationId xmlns:a16="http://schemas.microsoft.com/office/drawing/2014/main" id="{594015A7-4E0F-FB48-B54B-DBDAD2AACFBF}"/>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Select the chart placeholder and then paste your existing chart.</a:t>
              </a:r>
            </a:p>
          </p:txBody>
        </p:sp>
        <p:sp>
          <p:nvSpPr>
            <p:cNvPr id="88" name="TextBox 87">
              <a:extLst>
                <a:ext uri="{FF2B5EF4-FFF2-40B4-BE49-F238E27FC236}">
                  <a16:creationId xmlns:a16="http://schemas.microsoft.com/office/drawing/2014/main" id="{55791D51-A4E3-254B-9CDC-883656B5BBB3}"/>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Right-click on the chart and choose “Change Chart Type…”</a:t>
              </a:r>
            </a:p>
          </p:txBody>
        </p:sp>
        <p:sp>
          <p:nvSpPr>
            <p:cNvPr id="89" name="TextBox 88">
              <a:extLst>
                <a:ext uri="{FF2B5EF4-FFF2-40B4-BE49-F238E27FC236}">
                  <a16:creationId xmlns:a16="http://schemas.microsoft.com/office/drawing/2014/main" id="{098081F0-15A2-CE4F-B597-7D0A57F05E29}"/>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3</a:t>
              </a:r>
            </a:p>
          </p:txBody>
        </p:sp>
        <p:sp>
          <p:nvSpPr>
            <p:cNvPr id="90" name="TextBox 89">
              <a:extLst>
                <a:ext uri="{FF2B5EF4-FFF2-40B4-BE49-F238E27FC236}">
                  <a16:creationId xmlns:a16="http://schemas.microsoft.com/office/drawing/2014/main" id="{41684A96-AE24-5949-8098-95299F59040E}"/>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Choose one of the VEDP chart styles from the ‘Templates’ category.</a:t>
              </a:r>
            </a:p>
          </p:txBody>
        </p:sp>
        <p:sp>
          <p:nvSpPr>
            <p:cNvPr id="91" name="TextBox 90">
              <a:extLst>
                <a:ext uri="{FF2B5EF4-FFF2-40B4-BE49-F238E27FC236}">
                  <a16:creationId xmlns:a16="http://schemas.microsoft.com/office/drawing/2014/main" id="{A95F9DFB-59B1-0849-A7FD-D719AC7DE165}"/>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Make sure that you have access to any linked files, or you won’t be able to apply the chart style successfully.</a:t>
              </a:r>
            </a:p>
          </p:txBody>
        </p:sp>
        <p:grpSp>
          <p:nvGrpSpPr>
            <p:cNvPr id="93" name="Group 92">
              <a:extLst>
                <a:ext uri="{FF2B5EF4-FFF2-40B4-BE49-F238E27FC236}">
                  <a16:creationId xmlns:a16="http://schemas.microsoft.com/office/drawing/2014/main" id="{0B9FBE4B-500D-DC43-91EC-3123D9EF5462}"/>
                </a:ext>
              </a:extLst>
            </p:cNvPr>
            <p:cNvGrpSpPr/>
            <p:nvPr userDrawn="1"/>
          </p:nvGrpSpPr>
          <p:grpSpPr>
            <a:xfrm>
              <a:off x="9558507" y="1119891"/>
              <a:ext cx="2639328" cy="202617"/>
              <a:chOff x="9303325" y="149270"/>
              <a:chExt cx="2639328" cy="202617"/>
            </a:xfrm>
          </p:grpSpPr>
          <p:sp>
            <p:nvSpPr>
              <p:cNvPr id="99" name="TextBox 98">
                <a:extLst>
                  <a:ext uri="{FF2B5EF4-FFF2-40B4-BE49-F238E27FC236}">
                    <a16:creationId xmlns:a16="http://schemas.microsoft.com/office/drawing/2014/main" id="{3B2F129A-3FD3-E24F-92D4-3E5C29B9DBB8}"/>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100" name="Straight Connector 99">
                <a:extLst>
                  <a:ext uri="{FF2B5EF4-FFF2-40B4-BE49-F238E27FC236}">
                    <a16:creationId xmlns:a16="http://schemas.microsoft.com/office/drawing/2014/main" id="{1476F00B-34CF-9B4A-8F55-B463B3FDB70B}"/>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94" name="Group 93">
              <a:extLst>
                <a:ext uri="{FF2B5EF4-FFF2-40B4-BE49-F238E27FC236}">
                  <a16:creationId xmlns:a16="http://schemas.microsoft.com/office/drawing/2014/main" id="{8D1C5EC9-E2AC-8041-9FC6-7AD7ADED145B}"/>
                </a:ext>
              </a:extLst>
            </p:cNvPr>
            <p:cNvGrpSpPr/>
            <p:nvPr userDrawn="1"/>
          </p:nvGrpSpPr>
          <p:grpSpPr>
            <a:xfrm>
              <a:off x="9541497" y="4046192"/>
              <a:ext cx="2735151" cy="1741977"/>
              <a:chOff x="9296567" y="4910411"/>
              <a:chExt cx="2735151" cy="1741977"/>
            </a:xfrm>
          </p:grpSpPr>
          <p:sp>
            <p:nvSpPr>
              <p:cNvPr id="95" name="Rectangle 94">
                <a:extLst>
                  <a:ext uri="{FF2B5EF4-FFF2-40B4-BE49-F238E27FC236}">
                    <a16:creationId xmlns:a16="http://schemas.microsoft.com/office/drawing/2014/main" id="{836A575A-4268-7545-9724-E5529E81C3A7}"/>
                  </a:ext>
                </a:extLst>
              </p:cNvPr>
              <p:cNvSpPr/>
              <p:nvPr userDrawn="1"/>
            </p:nvSpPr>
            <p:spPr>
              <a:xfrm>
                <a:off x="9296567" y="4910411"/>
                <a:ext cx="2735151" cy="1741977"/>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96" name="TextBox 95">
                <a:extLst>
                  <a:ext uri="{FF2B5EF4-FFF2-40B4-BE49-F238E27FC236}">
                    <a16:creationId xmlns:a16="http://schemas.microsoft.com/office/drawing/2014/main" id="{263A6D68-9AA3-584A-809D-EE6673D3B056}"/>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Re-apply chart style</a:t>
                </a:r>
              </a:p>
            </p:txBody>
          </p:sp>
          <p:pic>
            <p:nvPicPr>
              <p:cNvPr id="97" name="Graphic 96">
                <a:extLst>
                  <a:ext uri="{FF2B5EF4-FFF2-40B4-BE49-F238E27FC236}">
                    <a16:creationId xmlns:a16="http://schemas.microsoft.com/office/drawing/2014/main" id="{4AF9B51D-9E9A-F947-8F70-A6C06771D1F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8" name="TextBox 97">
                <a:extLst>
                  <a:ext uri="{FF2B5EF4-FFF2-40B4-BE49-F238E27FC236}">
                    <a16:creationId xmlns:a16="http://schemas.microsoft.com/office/drawing/2014/main" id="{48800C5A-9825-D044-8419-0A6095892041}"/>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a:t>In case of error, return legend entries, data labels, and/or chart formatting by re-applying the current VEDP chart style template.</a:t>
                </a:r>
              </a:p>
              <a:p>
                <a:pPr lvl="1"/>
                <a:r>
                  <a:rPr lang="en-US" sz="900"/>
                  <a:t>Right-click the chart and choose</a:t>
                </a:r>
                <a:br>
                  <a:rPr lang="en-US" sz="900"/>
                </a:br>
                <a:r>
                  <a:rPr lang="en-US" sz="900"/>
                  <a:t>“Change Chart Type”</a:t>
                </a:r>
              </a:p>
              <a:p>
                <a:pPr lvl="1"/>
                <a:r>
                  <a:rPr lang="en-US" sz="900"/>
                  <a:t>Then choose the matching VEDP chart style from the ‘Templates’ category.</a:t>
                </a:r>
              </a:p>
            </p:txBody>
          </p:sp>
        </p:grpSp>
        <p:grpSp>
          <p:nvGrpSpPr>
            <p:cNvPr id="2" name="Group 1">
              <a:extLst>
                <a:ext uri="{FF2B5EF4-FFF2-40B4-BE49-F238E27FC236}">
                  <a16:creationId xmlns:a16="http://schemas.microsoft.com/office/drawing/2014/main" id="{A4CF5DAB-1553-C04B-92A4-F1198F8EECE3}"/>
                </a:ext>
              </a:extLst>
            </p:cNvPr>
            <p:cNvGrpSpPr/>
            <p:nvPr userDrawn="1"/>
          </p:nvGrpSpPr>
          <p:grpSpPr>
            <a:xfrm>
              <a:off x="9521833" y="7166155"/>
              <a:ext cx="2754815" cy="6013825"/>
              <a:chOff x="9521833" y="-6801152"/>
              <a:chExt cx="2754815" cy="6013825"/>
            </a:xfrm>
          </p:grpSpPr>
          <p:sp>
            <p:nvSpPr>
              <p:cNvPr id="42" name="TextBox 41">
                <a:extLst>
                  <a:ext uri="{FF2B5EF4-FFF2-40B4-BE49-F238E27FC236}">
                    <a16:creationId xmlns:a16="http://schemas.microsoft.com/office/drawing/2014/main" id="{07BD5352-94B5-1940-89E6-DC02A72A4418}"/>
                  </a:ext>
                </a:extLst>
              </p:cNvPr>
              <p:cNvSpPr txBox="1"/>
              <p:nvPr userDrawn="1"/>
            </p:nvSpPr>
            <p:spPr>
              <a:xfrm>
                <a:off x="9558507" y="-6801152"/>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43" name="Straight Connector 42">
                <a:extLst>
                  <a:ext uri="{FF2B5EF4-FFF2-40B4-BE49-F238E27FC236}">
                    <a16:creationId xmlns:a16="http://schemas.microsoft.com/office/drawing/2014/main" id="{DE135D9E-6B8E-BF4A-8B52-EEAE03AC9DE2}"/>
                  </a:ext>
                </a:extLst>
              </p:cNvPr>
              <p:cNvCxnSpPr>
                <a:cxnSpLocks/>
              </p:cNvCxnSpPr>
              <p:nvPr userDrawn="1"/>
            </p:nvCxnSpPr>
            <p:spPr>
              <a:xfrm>
                <a:off x="9558507" y="-659853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C3F42BF-41FD-244D-86C9-0031DA675594}"/>
                  </a:ext>
                </a:extLst>
              </p:cNvPr>
              <p:cNvSpPr txBox="1"/>
              <p:nvPr userDrawn="1"/>
            </p:nvSpPr>
            <p:spPr>
              <a:xfrm>
                <a:off x="9686426" y="-574022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65" name="Group 64">
                <a:extLst>
                  <a:ext uri="{FF2B5EF4-FFF2-40B4-BE49-F238E27FC236}">
                    <a16:creationId xmlns:a16="http://schemas.microsoft.com/office/drawing/2014/main" id="{1AF14A82-884D-6E44-833A-66AEAE8D73E5}"/>
                  </a:ext>
                </a:extLst>
              </p:cNvPr>
              <p:cNvGrpSpPr/>
              <p:nvPr userDrawn="1"/>
            </p:nvGrpSpPr>
            <p:grpSpPr>
              <a:xfrm>
                <a:off x="9541497" y="-2198642"/>
                <a:ext cx="2735151" cy="1411315"/>
                <a:chOff x="9296567" y="4910411"/>
                <a:chExt cx="2735151" cy="1411315"/>
              </a:xfrm>
            </p:grpSpPr>
            <p:sp>
              <p:nvSpPr>
                <p:cNvPr id="67" name="Rectangle 66">
                  <a:extLst>
                    <a:ext uri="{FF2B5EF4-FFF2-40B4-BE49-F238E27FC236}">
                      <a16:creationId xmlns:a16="http://schemas.microsoft.com/office/drawing/2014/main" id="{F7A9386A-4C7E-3A41-8497-284AAB05A9F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8" name="TextBox 67">
                  <a:extLst>
                    <a:ext uri="{FF2B5EF4-FFF2-40B4-BE49-F238E27FC236}">
                      <a16:creationId xmlns:a16="http://schemas.microsoft.com/office/drawing/2014/main" id="{4233D935-4B30-F44F-9AE5-ED48766ABB3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69" name="Graphic 68">
                  <a:extLst>
                    <a:ext uri="{FF2B5EF4-FFF2-40B4-BE49-F238E27FC236}">
                      <a16:creationId xmlns:a16="http://schemas.microsoft.com/office/drawing/2014/main" id="{16F18F42-237E-5D49-9406-C82AB8706B5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70" name="TextBox 69">
                  <a:extLst>
                    <a:ext uri="{FF2B5EF4-FFF2-40B4-BE49-F238E27FC236}">
                      <a16:creationId xmlns:a16="http://schemas.microsoft.com/office/drawing/2014/main" id="{DE14BA7F-29C8-C24E-928B-592788C3333F}"/>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29C49CB8-3278-3D41-8689-3FE7FAAE598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22BE9216-4058-A445-B627-693F5A96240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47" name="Group 46">
                <a:extLst>
                  <a:ext uri="{FF2B5EF4-FFF2-40B4-BE49-F238E27FC236}">
                    <a16:creationId xmlns:a16="http://schemas.microsoft.com/office/drawing/2014/main" id="{14F294D6-B313-E949-842F-F41379956161}"/>
                  </a:ext>
                </a:extLst>
              </p:cNvPr>
              <p:cNvGrpSpPr/>
              <p:nvPr userDrawn="1"/>
            </p:nvGrpSpPr>
            <p:grpSpPr>
              <a:xfrm>
                <a:off x="9541497" y="-3555298"/>
                <a:ext cx="2735151" cy="1280928"/>
                <a:chOff x="9286315" y="6976989"/>
                <a:chExt cx="2735151" cy="1280928"/>
              </a:xfrm>
            </p:grpSpPr>
            <p:sp>
              <p:nvSpPr>
                <p:cNvPr id="60" name="Rectangle 59">
                  <a:extLst>
                    <a:ext uri="{FF2B5EF4-FFF2-40B4-BE49-F238E27FC236}">
                      <a16:creationId xmlns:a16="http://schemas.microsoft.com/office/drawing/2014/main" id="{14F654D1-DB8F-CE4F-A23A-52B9BC2BFF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1" name="TextBox 60">
                  <a:extLst>
                    <a:ext uri="{FF2B5EF4-FFF2-40B4-BE49-F238E27FC236}">
                      <a16:creationId xmlns:a16="http://schemas.microsoft.com/office/drawing/2014/main" id="{1DC4A4C9-98A4-154F-8F68-6545453B151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62" name="Graphic 61">
                  <a:extLst>
                    <a:ext uri="{FF2B5EF4-FFF2-40B4-BE49-F238E27FC236}">
                      <a16:creationId xmlns:a16="http://schemas.microsoft.com/office/drawing/2014/main" id="{09C862AD-FB96-864E-8468-306B3BB1F66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63" name="TextBox 62">
                  <a:extLst>
                    <a:ext uri="{FF2B5EF4-FFF2-40B4-BE49-F238E27FC236}">
                      <a16:creationId xmlns:a16="http://schemas.microsoft.com/office/drawing/2014/main" id="{F14F4FFA-0615-1D48-B3DF-3595FF4FE06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64" name="Picture 63">
                  <a:extLst>
                    <a:ext uri="{FF2B5EF4-FFF2-40B4-BE49-F238E27FC236}">
                      <a16:creationId xmlns:a16="http://schemas.microsoft.com/office/drawing/2014/main" id="{88F30D86-450E-F848-A211-E408470B957E}"/>
                    </a:ext>
                  </a:extLst>
                </p:cNvPr>
                <p:cNvPicPr>
                  <a:picLocks noChangeAspect="1"/>
                </p:cNvPicPr>
                <p:nvPr userDrawn="1"/>
              </p:nvPicPr>
              <p:blipFill rotWithShape="1">
                <a:blip r:embed="rId7"/>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48" name="Group 47">
                <a:extLst>
                  <a:ext uri="{FF2B5EF4-FFF2-40B4-BE49-F238E27FC236}">
                    <a16:creationId xmlns:a16="http://schemas.microsoft.com/office/drawing/2014/main" id="{02D72FD7-6279-0446-AC58-A3C3DC24D160}"/>
                  </a:ext>
                </a:extLst>
              </p:cNvPr>
              <p:cNvGrpSpPr/>
              <p:nvPr userDrawn="1"/>
            </p:nvGrpSpPr>
            <p:grpSpPr>
              <a:xfrm>
                <a:off x="9521833" y="-6476032"/>
                <a:ext cx="2617883" cy="651460"/>
                <a:chOff x="12352022" y="513115"/>
                <a:chExt cx="2617883" cy="651460"/>
              </a:xfrm>
            </p:grpSpPr>
            <p:sp>
              <p:nvSpPr>
                <p:cNvPr id="57" name="TextBox 56">
                  <a:extLst>
                    <a:ext uri="{FF2B5EF4-FFF2-40B4-BE49-F238E27FC236}">
                      <a16:creationId xmlns:a16="http://schemas.microsoft.com/office/drawing/2014/main" id="{F61D0EBF-B2C0-7046-B77D-2B9CD522884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58" name="TextBox 57">
                  <a:extLst>
                    <a:ext uri="{FF2B5EF4-FFF2-40B4-BE49-F238E27FC236}">
                      <a16:creationId xmlns:a16="http://schemas.microsoft.com/office/drawing/2014/main" id="{80E248F4-5967-3B48-BA75-443830FB430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59" name="TextBox 58">
                  <a:extLst>
                    <a:ext uri="{FF2B5EF4-FFF2-40B4-BE49-F238E27FC236}">
                      <a16:creationId xmlns:a16="http://schemas.microsoft.com/office/drawing/2014/main" id="{4458B103-16C3-734D-9D4C-08A0AD40A3F8}"/>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Select and download images from the Marketing Resource Database.</a:t>
                  </a:r>
                </a:p>
                <a:p>
                  <a:pPr lvl="0"/>
                  <a:r>
                    <a:rPr lang="en-US" sz="1050"/>
                    <a:t>Add the image to the placeholder.</a:t>
                  </a:r>
                </a:p>
              </p:txBody>
            </p:sp>
          </p:grpSp>
          <p:sp>
            <p:nvSpPr>
              <p:cNvPr id="49" name="TextBox 48">
                <a:extLst>
                  <a:ext uri="{FF2B5EF4-FFF2-40B4-BE49-F238E27FC236}">
                    <a16:creationId xmlns:a16="http://schemas.microsoft.com/office/drawing/2014/main" id="{9F6763D5-C877-A84E-AA38-3CED305D0841}"/>
                  </a:ext>
                </a:extLst>
              </p:cNvPr>
              <p:cNvSpPr txBox="1"/>
              <p:nvPr userDrawn="1"/>
            </p:nvSpPr>
            <p:spPr>
              <a:xfrm>
                <a:off x="9674267" y="-54569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50" name="TextBox 49">
                <a:extLst>
                  <a:ext uri="{FF2B5EF4-FFF2-40B4-BE49-F238E27FC236}">
                    <a16:creationId xmlns:a16="http://schemas.microsoft.com/office/drawing/2014/main" id="{DFB47FC7-5B8F-1A47-817A-A3CF2131BD9D}"/>
                  </a:ext>
                </a:extLst>
              </p:cNvPr>
              <p:cNvSpPr txBox="1"/>
              <p:nvPr userDrawn="1"/>
            </p:nvSpPr>
            <p:spPr>
              <a:xfrm>
                <a:off x="9686426" y="-5041663"/>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51" name="TextBox 50">
                <a:extLst>
                  <a:ext uri="{FF2B5EF4-FFF2-40B4-BE49-F238E27FC236}">
                    <a16:creationId xmlns:a16="http://schemas.microsoft.com/office/drawing/2014/main" id="{5CD80403-C6E9-C346-A05A-8AE1F1F93179}"/>
                  </a:ext>
                </a:extLst>
              </p:cNvPr>
              <p:cNvSpPr txBox="1"/>
              <p:nvPr userDrawn="1"/>
            </p:nvSpPr>
            <p:spPr>
              <a:xfrm>
                <a:off x="9686426" y="-4321573"/>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52" name="TextBox 51">
                <a:extLst>
                  <a:ext uri="{FF2B5EF4-FFF2-40B4-BE49-F238E27FC236}">
                    <a16:creationId xmlns:a16="http://schemas.microsoft.com/office/drawing/2014/main" id="{6AB870E0-EE0A-D84C-A2C8-84EDC9B761D9}"/>
                  </a:ext>
                </a:extLst>
              </p:cNvPr>
              <p:cNvSpPr txBox="1"/>
              <p:nvPr userDrawn="1"/>
            </p:nvSpPr>
            <p:spPr>
              <a:xfrm>
                <a:off x="9674267" y="-389101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grpSp>
      <p:sp>
        <p:nvSpPr>
          <p:cNvPr id="78" name="Text Placeholder 6">
            <a:extLst>
              <a:ext uri="{FF2B5EF4-FFF2-40B4-BE49-F238E27FC236}">
                <a16:creationId xmlns:a16="http://schemas.microsoft.com/office/drawing/2014/main" id="{49D0B9C5-5521-2646-B128-094867E34EA6}"/>
              </a:ext>
            </a:extLst>
          </p:cNvPr>
          <p:cNvSpPr>
            <a:spLocks noGrp="1"/>
          </p:cNvSpPr>
          <p:nvPr userDrawn="1">
            <p:ph type="body" sz="quarter" idx="108" hasCustomPrompt="1"/>
          </p:nvPr>
        </p:nvSpPr>
        <p:spPr>
          <a:xfrm>
            <a:off x="4849307" y="1224318"/>
            <a:ext cx="1612621" cy="386926"/>
          </a:xfrm>
          <a:blipFill dpi="0" rotWithShape="1">
            <a:blip r:embed="rId8"/>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a:t>Click to add chart title</a:t>
            </a:r>
          </a:p>
          <a:p>
            <a:pPr lvl="1"/>
            <a:r>
              <a:rPr lang="en-US"/>
              <a:t>Second level</a:t>
            </a:r>
          </a:p>
        </p:txBody>
      </p:sp>
      <p:sp>
        <p:nvSpPr>
          <p:cNvPr id="3" name="Date Placeholder 2">
            <a:extLst>
              <a:ext uri="{FF2B5EF4-FFF2-40B4-BE49-F238E27FC236}">
                <a16:creationId xmlns:a16="http://schemas.microsoft.com/office/drawing/2014/main" id="{4124FA82-5551-674F-8ABF-17E6898F90B7}"/>
              </a:ext>
            </a:extLst>
          </p:cNvPr>
          <p:cNvSpPr>
            <a:spLocks noGrp="1"/>
          </p:cNvSpPr>
          <p:nvPr userDrawn="1">
            <p:ph type="dt" sz="half" idx="115"/>
          </p:nvPr>
        </p:nvSpPr>
        <p:spPr/>
        <p:txBody>
          <a:bodyPr/>
          <a:lstStyle/>
          <a:p>
            <a:endParaRPr lang="en-US"/>
          </a:p>
        </p:txBody>
      </p:sp>
      <p:sp>
        <p:nvSpPr>
          <p:cNvPr id="4" name="Footer Placeholder 3">
            <a:extLst>
              <a:ext uri="{FF2B5EF4-FFF2-40B4-BE49-F238E27FC236}">
                <a16:creationId xmlns:a16="http://schemas.microsoft.com/office/drawing/2014/main" id="{08857F84-3938-184A-B69E-D20F1F0ED888}"/>
              </a:ext>
            </a:extLst>
          </p:cNvPr>
          <p:cNvSpPr>
            <a:spLocks noGrp="1"/>
          </p:cNvSpPr>
          <p:nvPr userDrawn="1">
            <p:ph type="ftr" sz="quarter" idx="116"/>
          </p:nvPr>
        </p:nvSpPr>
        <p:spPr/>
        <p:txBody>
          <a:bodyPr/>
          <a:lstStyle/>
          <a:p>
            <a:endParaRPr lang="en-US"/>
          </a:p>
        </p:txBody>
      </p:sp>
      <p:sp>
        <p:nvSpPr>
          <p:cNvPr id="5" name="Slide Number Placeholder 4">
            <a:extLst>
              <a:ext uri="{FF2B5EF4-FFF2-40B4-BE49-F238E27FC236}">
                <a16:creationId xmlns:a16="http://schemas.microsoft.com/office/drawing/2014/main" id="{55145EE2-42E0-FD4B-84FE-BBCF42195267}"/>
              </a:ext>
            </a:extLst>
          </p:cNvPr>
          <p:cNvSpPr>
            <a:spLocks noGrp="1"/>
          </p:cNvSpPr>
          <p:nvPr userDrawn="1">
            <p:ph type="sldNum" sz="quarter" idx="117"/>
          </p:nvPr>
        </p:nvSpPr>
        <p:spPr/>
        <p:txBody>
          <a:bodyPr/>
          <a:lstStyle/>
          <a:p>
            <a:pPr marL="12700"/>
            <a:fld id="{078C017C-E1B9-8443-B047-B08AAA027B45}" type="slidenum">
              <a:rPr lang="en-US" smtClean="0"/>
              <a:pPr marL="12700"/>
              <a:t>‹#›</a:t>
            </a:fld>
            <a:endParaRPr lang="en-US"/>
          </a:p>
        </p:txBody>
      </p:sp>
    </p:spTree>
    <p:extLst>
      <p:ext uri="{BB962C8B-B14F-4D97-AF65-F5344CB8AC3E}">
        <p14:creationId xmlns:p14="http://schemas.microsoft.com/office/powerpoint/2010/main" val="348951430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Map and Content">
    <p:spTree>
      <p:nvGrpSpPr>
        <p:cNvPr id="1" name=""/>
        <p:cNvGrpSpPr/>
        <p:nvPr/>
      </p:nvGrpSpPr>
      <p:grpSpPr>
        <a:xfrm>
          <a:off x="0" y="0"/>
          <a:ext cx="0" cy="0"/>
          <a:chOff x="0" y="0"/>
          <a:chExt cx="0" cy="0"/>
        </a:xfrm>
      </p:grpSpPr>
      <p:sp>
        <p:nvSpPr>
          <p:cNvPr id="84" name="Picture Placeholder 10">
            <a:extLst>
              <a:ext uri="{FF2B5EF4-FFF2-40B4-BE49-F238E27FC236}">
                <a16:creationId xmlns:a16="http://schemas.microsoft.com/office/drawing/2014/main" id="{34A78033-EF24-E442-9AD0-D490AAC5344A}"/>
              </a:ext>
            </a:extLst>
          </p:cNvPr>
          <p:cNvSpPr>
            <a:spLocks noGrp="1"/>
          </p:cNvSpPr>
          <p:nvPr>
            <p:ph type="pic" sz="quarter" idx="10" hasCustomPrompt="1"/>
          </p:nvPr>
        </p:nvSpPr>
        <p:spPr>
          <a:xfrm>
            <a:off x="153762" y="0"/>
            <a:ext cx="9144000" cy="6858000"/>
          </a:xfrm>
          <a:prstGeom prst="rect">
            <a:avLst/>
          </a:prstGeom>
          <a:blipFill>
            <a:blip r:embed="rId2"/>
            <a:stretch>
              <a:fillRect/>
            </a:stretch>
          </a:blipFill>
        </p:spPr>
        <p:txBody>
          <a:bodyPr wrap="square" lIns="792000" tIns="0" rIns="5256000" anchor="ctr">
            <a:noAutofit/>
          </a:bodyPr>
          <a:lstStyle>
            <a:lvl1pPr algn="ctr">
              <a:defRPr b="0">
                <a:solidFill>
                  <a:schemeClr val="tx1">
                    <a:lumMod val="50000"/>
                    <a:lumOff val="50000"/>
                  </a:schemeClr>
                </a:solidFill>
              </a:defRPr>
            </a:lvl1pPr>
          </a:lstStyle>
          <a:p>
            <a:r>
              <a:rPr lang="en-US"/>
              <a:t>Click the icon at the center of the slide to add a pre-designed half-page map graphic to the slide.</a:t>
            </a:r>
            <a:br>
              <a:rPr lang="en-US"/>
            </a:br>
            <a:r>
              <a:rPr lang="en-US"/>
              <a:t>(In the Marketing Resource Database, these files will have “half slide” in the files name)</a:t>
            </a:r>
          </a:p>
        </p:txBody>
      </p:sp>
      <p:sp>
        <p:nvSpPr>
          <p:cNvPr id="9" name="Title 8">
            <a:extLst>
              <a:ext uri="{FF2B5EF4-FFF2-40B4-BE49-F238E27FC236}">
                <a16:creationId xmlns:a16="http://schemas.microsoft.com/office/drawing/2014/main" id="{A3E7C59C-7AB2-FD4B-9D3E-CA7E0D8CB2F3}"/>
              </a:ext>
            </a:extLst>
          </p:cNvPr>
          <p:cNvSpPr>
            <a:spLocks noGrp="1"/>
          </p:cNvSpPr>
          <p:nvPr userDrawn="1">
            <p:ph type="title" hasCustomPrompt="1"/>
          </p:nvPr>
        </p:nvSpPr>
        <p:spPr/>
        <p:txBody>
          <a:bodyPr/>
          <a:lstStyle>
            <a:lvl1pPr>
              <a:defRPr/>
            </a:lvl1pPr>
          </a:lstStyle>
          <a:p>
            <a:pPr lvl="0"/>
            <a:r>
              <a:rPr lang="en-US"/>
              <a:t>CLICK TO ADD Slide TITLE. ALL CAPS. TWO LINES max.</a:t>
            </a:r>
          </a:p>
        </p:txBody>
      </p:sp>
      <p:sp>
        <p:nvSpPr>
          <p:cNvPr id="1000" name="Footnotes Placeholder">
            <a:extLst>
              <a:ext uri="{FF2B5EF4-FFF2-40B4-BE49-F238E27FC236}">
                <a16:creationId xmlns:a16="http://schemas.microsoft.com/office/drawing/2014/main" id="{89C8ABCA-426C-9447-AA12-B5A756649D54}"/>
              </a:ext>
            </a:extLst>
          </p:cNvPr>
          <p:cNvSpPr>
            <a:spLocks noGrp="1"/>
          </p:cNvSpPr>
          <p:nvPr userDrawn="1">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73" name="Content Placeholder 13">
            <a:extLst>
              <a:ext uri="{FF2B5EF4-FFF2-40B4-BE49-F238E27FC236}">
                <a16:creationId xmlns:a16="http://schemas.microsoft.com/office/drawing/2014/main" id="{BD8F7771-D5FD-5E48-914F-1B0C8281DAF2}"/>
              </a:ext>
            </a:extLst>
          </p:cNvPr>
          <p:cNvSpPr>
            <a:spLocks noGrp="1"/>
          </p:cNvSpPr>
          <p:nvPr userDrawn="1">
            <p:ph sz="quarter" idx="105"/>
          </p:nvPr>
        </p:nvSpPr>
        <p:spPr>
          <a:xfrm>
            <a:off x="4855779" y="1233489"/>
            <a:ext cx="6760485"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D662E80-C602-AD49-88C5-4C7981BFDF51}"/>
              </a:ext>
            </a:extLst>
          </p:cNvPr>
          <p:cNvSpPr>
            <a:spLocks noGrp="1"/>
          </p:cNvSpPr>
          <p:nvPr userDrawn="1">
            <p:ph type="dt" sz="half" idx="106"/>
          </p:nvPr>
        </p:nvSpPr>
        <p:spPr/>
        <p:txBody>
          <a:bodyPr/>
          <a:lstStyle/>
          <a:p>
            <a:endParaRPr lang="en-US"/>
          </a:p>
        </p:txBody>
      </p:sp>
      <p:sp>
        <p:nvSpPr>
          <p:cNvPr id="7" name="Footer Placeholder 6">
            <a:extLst>
              <a:ext uri="{FF2B5EF4-FFF2-40B4-BE49-F238E27FC236}">
                <a16:creationId xmlns:a16="http://schemas.microsoft.com/office/drawing/2014/main" id="{AAA8D22F-CD71-0048-A44D-45D040CB3EA8}"/>
              </a:ext>
            </a:extLst>
          </p:cNvPr>
          <p:cNvSpPr>
            <a:spLocks noGrp="1"/>
          </p:cNvSpPr>
          <p:nvPr userDrawn="1">
            <p:ph type="ftr" sz="quarter" idx="107"/>
          </p:nvPr>
        </p:nvSpPr>
        <p:spPr/>
        <p:txBody>
          <a:bodyPr/>
          <a:lstStyle/>
          <a:p>
            <a:endParaRPr lang="en-US"/>
          </a:p>
        </p:txBody>
      </p:sp>
      <p:sp>
        <p:nvSpPr>
          <p:cNvPr id="8" name="Slide Number Placeholder 7">
            <a:extLst>
              <a:ext uri="{FF2B5EF4-FFF2-40B4-BE49-F238E27FC236}">
                <a16:creationId xmlns:a16="http://schemas.microsoft.com/office/drawing/2014/main" id="{392EC2F9-9D32-434C-8F82-E8D200FC4895}"/>
              </a:ext>
            </a:extLst>
          </p:cNvPr>
          <p:cNvSpPr>
            <a:spLocks noGrp="1"/>
          </p:cNvSpPr>
          <p:nvPr userDrawn="1">
            <p:ph type="sldNum" sz="quarter" idx="108"/>
          </p:nvPr>
        </p:nvSpPr>
        <p:spPr/>
        <p:txBody>
          <a:bodyPr/>
          <a:lstStyle/>
          <a:p>
            <a:pPr marL="12700"/>
            <a:fld id="{078C017C-E1B9-8443-B047-B08AAA027B45}" type="slidenum">
              <a:rPr lang="en-US" smtClean="0"/>
              <a:pPr marL="12700"/>
              <a:t>‹#›</a:t>
            </a:fld>
            <a:endParaRPr lang="en-US"/>
          </a:p>
        </p:txBody>
      </p:sp>
      <p:grpSp>
        <p:nvGrpSpPr>
          <p:cNvPr id="3" name="Group 2">
            <a:extLst>
              <a:ext uri="{FF2B5EF4-FFF2-40B4-BE49-F238E27FC236}">
                <a16:creationId xmlns:a16="http://schemas.microsoft.com/office/drawing/2014/main" id="{8B57B4F9-541A-FA47-94AB-4A76E2D84EBB}"/>
              </a:ext>
            </a:extLst>
          </p:cNvPr>
          <p:cNvGrpSpPr/>
          <p:nvPr userDrawn="1"/>
        </p:nvGrpSpPr>
        <p:grpSpPr>
          <a:xfrm>
            <a:off x="12532243" y="-1"/>
            <a:ext cx="2996228" cy="12489650"/>
            <a:chOff x="9399182" y="-1"/>
            <a:chExt cx="2974470" cy="12489650"/>
          </a:xfrm>
        </p:grpSpPr>
        <p:sp>
          <p:nvSpPr>
            <p:cNvPr id="80" name="Rectangle 79">
              <a:extLst>
                <a:ext uri="{FF2B5EF4-FFF2-40B4-BE49-F238E27FC236}">
                  <a16:creationId xmlns:a16="http://schemas.microsoft.com/office/drawing/2014/main" id="{7F39C21F-C07C-7740-9183-FE0C02C54D48}"/>
                </a:ext>
              </a:extLst>
            </p:cNvPr>
            <p:cNvSpPr/>
            <p:nvPr userDrawn="1"/>
          </p:nvSpPr>
          <p:spPr>
            <a:xfrm>
              <a:off x="9399182" y="-1"/>
              <a:ext cx="2798651" cy="1232329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75" name="Picture 74">
              <a:extLst>
                <a:ext uri="{FF2B5EF4-FFF2-40B4-BE49-F238E27FC236}">
                  <a16:creationId xmlns:a16="http://schemas.microsoft.com/office/drawing/2014/main" id="{62DE5BAE-3274-6547-A846-0E36742248D0}"/>
                </a:ext>
              </a:extLst>
            </p:cNvPr>
            <p:cNvPicPr>
              <a:picLocks noChangeAspect="1"/>
            </p:cNvPicPr>
            <p:nvPr userDrawn="1"/>
          </p:nvPicPr>
          <p:blipFill rotWithShape="1">
            <a:blip r:embed="rId3"/>
            <a:srcRect r="41694"/>
            <a:stretch/>
          </p:blipFill>
          <p:spPr>
            <a:xfrm>
              <a:off x="9558506" y="1322104"/>
              <a:ext cx="2639328" cy="995540"/>
            </a:xfrm>
            <a:prstGeom prst="rect">
              <a:avLst/>
            </a:prstGeom>
          </p:spPr>
        </p:pic>
        <p:grpSp>
          <p:nvGrpSpPr>
            <p:cNvPr id="131" name="Group 130">
              <a:extLst>
                <a:ext uri="{FF2B5EF4-FFF2-40B4-BE49-F238E27FC236}">
                  <a16:creationId xmlns:a16="http://schemas.microsoft.com/office/drawing/2014/main" id="{EA8A0D49-B3FC-114E-BD4F-A224D345C631}"/>
                </a:ext>
              </a:extLst>
            </p:cNvPr>
            <p:cNvGrpSpPr/>
            <p:nvPr userDrawn="1"/>
          </p:nvGrpSpPr>
          <p:grpSpPr>
            <a:xfrm>
              <a:off x="9541497" y="162442"/>
              <a:ext cx="2819400" cy="814510"/>
              <a:chOff x="-3644733" y="165205"/>
              <a:chExt cx="2819400" cy="814510"/>
            </a:xfrm>
          </p:grpSpPr>
          <p:sp>
            <p:nvSpPr>
              <p:cNvPr id="136" name="Rectangle 135">
                <a:extLst>
                  <a:ext uri="{FF2B5EF4-FFF2-40B4-BE49-F238E27FC236}">
                    <a16:creationId xmlns:a16="http://schemas.microsoft.com/office/drawing/2014/main" id="{9B430B4D-00A5-0E44-AEFA-4FF0C5C67CB2}"/>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7" name="TextBox 136">
                <a:extLst>
                  <a:ext uri="{FF2B5EF4-FFF2-40B4-BE49-F238E27FC236}">
                    <a16:creationId xmlns:a16="http://schemas.microsoft.com/office/drawing/2014/main" id="{1A92EEBC-DB6D-1349-822C-5E9062E5C64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38" name="Picture 137">
                <a:extLst>
                  <a:ext uri="{FF2B5EF4-FFF2-40B4-BE49-F238E27FC236}">
                    <a16:creationId xmlns:a16="http://schemas.microsoft.com/office/drawing/2014/main" id="{2B5D82AA-15DA-6F48-B821-49645A8B7DD3}"/>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33" name="Group 132">
              <a:extLst>
                <a:ext uri="{FF2B5EF4-FFF2-40B4-BE49-F238E27FC236}">
                  <a16:creationId xmlns:a16="http://schemas.microsoft.com/office/drawing/2014/main" id="{C9C4E2FC-B406-D849-816A-FE7024AFBE6E}"/>
                </a:ext>
              </a:extLst>
            </p:cNvPr>
            <p:cNvGrpSpPr/>
            <p:nvPr userDrawn="1"/>
          </p:nvGrpSpPr>
          <p:grpSpPr>
            <a:xfrm>
              <a:off x="9558507" y="1119891"/>
              <a:ext cx="2639328" cy="202617"/>
              <a:chOff x="9303325" y="149270"/>
              <a:chExt cx="2639328" cy="202617"/>
            </a:xfrm>
          </p:grpSpPr>
          <p:sp>
            <p:nvSpPr>
              <p:cNvPr id="134" name="TextBox 133">
                <a:extLst>
                  <a:ext uri="{FF2B5EF4-FFF2-40B4-BE49-F238E27FC236}">
                    <a16:creationId xmlns:a16="http://schemas.microsoft.com/office/drawing/2014/main" id="{105231A2-EDEC-3E4B-91A8-B78EAD4061BD}"/>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135" name="Straight Connector 134">
                <a:extLst>
                  <a:ext uri="{FF2B5EF4-FFF2-40B4-BE49-F238E27FC236}">
                    <a16:creationId xmlns:a16="http://schemas.microsoft.com/office/drawing/2014/main" id="{72E3E04B-C66B-DE46-870F-2C26FF6D7F12}"/>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02553D65-8D5E-9043-AA8A-EB0588AA8551}"/>
                </a:ext>
              </a:extLst>
            </p:cNvPr>
            <p:cNvGrpSpPr/>
            <p:nvPr userDrawn="1"/>
          </p:nvGrpSpPr>
          <p:grpSpPr>
            <a:xfrm>
              <a:off x="9541497" y="3679950"/>
              <a:ext cx="2735151" cy="2655095"/>
              <a:chOff x="9541497" y="11478235"/>
              <a:chExt cx="2735151" cy="2655095"/>
            </a:xfrm>
          </p:grpSpPr>
          <p:grpSp>
            <p:nvGrpSpPr>
              <p:cNvPr id="111" name="Group 110">
                <a:extLst>
                  <a:ext uri="{FF2B5EF4-FFF2-40B4-BE49-F238E27FC236}">
                    <a16:creationId xmlns:a16="http://schemas.microsoft.com/office/drawing/2014/main" id="{9B9C9F49-49E7-CA4E-849A-BB97B8486113}"/>
                  </a:ext>
                </a:extLst>
              </p:cNvPr>
              <p:cNvGrpSpPr/>
              <p:nvPr userDrawn="1"/>
            </p:nvGrpSpPr>
            <p:grpSpPr>
              <a:xfrm>
                <a:off x="9541497" y="11478235"/>
                <a:ext cx="2735151" cy="2655095"/>
                <a:chOff x="9296567" y="4910411"/>
                <a:chExt cx="2735151" cy="2655095"/>
              </a:xfrm>
            </p:grpSpPr>
            <p:sp>
              <p:nvSpPr>
                <p:cNvPr id="126" name="Rectangle 125">
                  <a:extLst>
                    <a:ext uri="{FF2B5EF4-FFF2-40B4-BE49-F238E27FC236}">
                      <a16:creationId xmlns:a16="http://schemas.microsoft.com/office/drawing/2014/main" id="{8025FD44-3660-E343-B0A6-B6F6EDF3C8C6}"/>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27" name="TextBox 126">
                  <a:extLst>
                    <a:ext uri="{FF2B5EF4-FFF2-40B4-BE49-F238E27FC236}">
                      <a16:creationId xmlns:a16="http://schemas.microsoft.com/office/drawing/2014/main" id="{FE31536B-440B-8046-88B3-2642529016B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Automatic paragraph spacing</a:t>
                  </a:r>
                </a:p>
              </p:txBody>
            </p:sp>
            <p:pic>
              <p:nvPicPr>
                <p:cNvPr id="128" name="Graphic 127">
                  <a:extLst>
                    <a:ext uri="{FF2B5EF4-FFF2-40B4-BE49-F238E27FC236}">
                      <a16:creationId xmlns:a16="http://schemas.microsoft.com/office/drawing/2014/main" id="{A16034BD-6983-5C4A-9FEC-2CE8E81F500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9" name="TextBox 128">
                  <a:extLst>
                    <a:ext uri="{FF2B5EF4-FFF2-40B4-BE49-F238E27FC236}">
                      <a16:creationId xmlns:a16="http://schemas.microsoft.com/office/drawing/2014/main" id="{2ABC9F07-580A-7E4A-B11B-F111FDC350F5}"/>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a:t>This template automatically adds paragraph spacing between first-level text paragraphs. When pasting in content, remember to delete any extra blank lines from your text.</a:t>
                  </a:r>
                </a:p>
              </p:txBody>
            </p:sp>
          </p:grpSp>
          <p:grpSp>
            <p:nvGrpSpPr>
              <p:cNvPr id="114" name="Group 113">
                <a:extLst>
                  <a:ext uri="{FF2B5EF4-FFF2-40B4-BE49-F238E27FC236}">
                    <a16:creationId xmlns:a16="http://schemas.microsoft.com/office/drawing/2014/main" id="{09B499C6-2BCA-D941-836C-075460C0EC17}"/>
                  </a:ext>
                </a:extLst>
              </p:cNvPr>
              <p:cNvGrpSpPr/>
              <p:nvPr userDrawn="1"/>
            </p:nvGrpSpPr>
            <p:grpSpPr>
              <a:xfrm>
                <a:off x="9832250" y="12492855"/>
                <a:ext cx="2074000" cy="1627918"/>
                <a:chOff x="9832250" y="3617325"/>
                <a:chExt cx="2074000" cy="1627918"/>
              </a:xfrm>
            </p:grpSpPr>
            <p:pic>
              <p:nvPicPr>
                <p:cNvPr id="117" name="Picture 116">
                  <a:extLst>
                    <a:ext uri="{FF2B5EF4-FFF2-40B4-BE49-F238E27FC236}">
                      <a16:creationId xmlns:a16="http://schemas.microsoft.com/office/drawing/2014/main" id="{AABA3998-6D10-4545-A7DF-6ED794AC719C}"/>
                    </a:ext>
                  </a:extLst>
                </p:cNvPr>
                <p:cNvPicPr>
                  <a:picLocks noChangeAspect="1"/>
                </p:cNvPicPr>
                <p:nvPr userDrawn="1"/>
              </p:nvPicPr>
              <p:blipFill>
                <a:blip r:embed="rId7"/>
                <a:stretch>
                  <a:fillRect/>
                </a:stretch>
              </p:blipFill>
              <p:spPr>
                <a:xfrm>
                  <a:off x="10075660" y="3617325"/>
                  <a:ext cx="1830590" cy="1627918"/>
                </a:xfrm>
                <a:prstGeom prst="rect">
                  <a:avLst/>
                </a:prstGeom>
              </p:spPr>
            </p:pic>
            <p:cxnSp>
              <p:nvCxnSpPr>
                <p:cNvPr id="118" name="Straight Connector 117">
                  <a:extLst>
                    <a:ext uri="{FF2B5EF4-FFF2-40B4-BE49-F238E27FC236}">
                      <a16:creationId xmlns:a16="http://schemas.microsoft.com/office/drawing/2014/main" id="{2EEFBFC1-6C0D-0348-B560-CF141A2017FC}"/>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9ADBFB77-76D0-6444-AB28-A01243DE58E9}"/>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798FC946-C3A9-DA4D-8EB6-7E9386F341B4}"/>
                    </a:ext>
                  </a:extLst>
                </p:cNvPr>
                <p:cNvSpPr txBox="1"/>
                <p:nvPr userDrawn="1"/>
              </p:nvSpPr>
              <p:spPr>
                <a:xfrm>
                  <a:off x="9832250" y="3828243"/>
                  <a:ext cx="257282" cy="184666"/>
                </a:xfrm>
                <a:prstGeom prst="rect">
                  <a:avLst/>
                </a:prstGeom>
              </p:spPr>
              <p:txBody>
                <a:bodyPr vert="horz" wrap="none" lIns="0" tIns="0" rIns="0" bIns="0" rtlCol="0" anchor="t">
                  <a:spAutoFit/>
                </a:bodyPr>
                <a:lstStyle/>
                <a:p>
                  <a:pPr algn="r"/>
                  <a:r>
                    <a:rPr lang="en-US" sz="600">
                      <a:solidFill>
                        <a:schemeClr val="tx1">
                          <a:lumMod val="50000"/>
                          <a:lumOff val="50000"/>
                        </a:schemeClr>
                      </a:solidFill>
                      <a:latin typeface="Arial" charset="0"/>
                      <a:ea typeface="Arial" charset="0"/>
                      <a:cs typeface="Arial" charset="0"/>
                    </a:rPr>
                    <a:t>Automatic</a:t>
                  </a:r>
                  <a:br>
                    <a:rPr lang="en-US" sz="600">
                      <a:solidFill>
                        <a:schemeClr val="tx1">
                          <a:lumMod val="50000"/>
                          <a:lumOff val="50000"/>
                        </a:schemeClr>
                      </a:solidFill>
                      <a:latin typeface="Arial" charset="0"/>
                      <a:ea typeface="Arial" charset="0"/>
                      <a:cs typeface="Arial" charset="0"/>
                    </a:rPr>
                  </a:br>
                  <a:r>
                    <a:rPr lang="en-US" sz="600">
                      <a:solidFill>
                        <a:schemeClr val="tx1">
                          <a:lumMod val="50000"/>
                          <a:lumOff val="50000"/>
                        </a:schemeClr>
                      </a:solidFill>
                      <a:latin typeface="Arial" charset="0"/>
                      <a:ea typeface="Arial" charset="0"/>
                      <a:cs typeface="Arial" charset="0"/>
                    </a:rPr>
                    <a:t>space</a:t>
                  </a:r>
                </a:p>
              </p:txBody>
            </p:sp>
            <p:sp>
              <p:nvSpPr>
                <p:cNvPr id="121" name="TextBox 120">
                  <a:extLst>
                    <a:ext uri="{FF2B5EF4-FFF2-40B4-BE49-F238E27FC236}">
                      <a16:creationId xmlns:a16="http://schemas.microsoft.com/office/drawing/2014/main" id="{2A28E02E-BC50-B343-919D-78A769FA9250}"/>
                    </a:ext>
                  </a:extLst>
                </p:cNvPr>
                <p:cNvSpPr txBox="1"/>
                <p:nvPr userDrawn="1"/>
              </p:nvSpPr>
              <p:spPr>
                <a:xfrm>
                  <a:off x="9832250" y="4721742"/>
                  <a:ext cx="257282" cy="184666"/>
                </a:xfrm>
                <a:prstGeom prst="rect">
                  <a:avLst/>
                </a:prstGeom>
              </p:spPr>
              <p:txBody>
                <a:bodyPr vert="horz" wrap="none" lIns="0" tIns="0" rIns="0" bIns="0" rtlCol="0" anchor="t">
                  <a:spAutoFit/>
                </a:bodyPr>
                <a:lstStyle/>
                <a:p>
                  <a:pPr algn="r"/>
                  <a:r>
                    <a:rPr lang="en-US" sz="600">
                      <a:solidFill>
                        <a:schemeClr val="tx1">
                          <a:lumMod val="50000"/>
                          <a:lumOff val="50000"/>
                        </a:schemeClr>
                      </a:solidFill>
                      <a:latin typeface="Arial" charset="0"/>
                      <a:ea typeface="Arial" charset="0"/>
                      <a:cs typeface="Arial" charset="0"/>
                    </a:rPr>
                    <a:t>Automatic</a:t>
                  </a:r>
                  <a:br>
                    <a:rPr lang="en-US" sz="600">
                      <a:solidFill>
                        <a:schemeClr val="tx1">
                          <a:lumMod val="50000"/>
                          <a:lumOff val="50000"/>
                        </a:schemeClr>
                      </a:solidFill>
                      <a:latin typeface="Arial" charset="0"/>
                      <a:ea typeface="Arial" charset="0"/>
                      <a:cs typeface="Arial" charset="0"/>
                    </a:rPr>
                  </a:br>
                  <a:r>
                    <a:rPr lang="en-US" sz="600">
                      <a:solidFill>
                        <a:schemeClr val="tx1">
                          <a:lumMod val="50000"/>
                          <a:lumOff val="50000"/>
                        </a:schemeClr>
                      </a:solidFill>
                      <a:latin typeface="Arial" charset="0"/>
                      <a:ea typeface="Arial" charset="0"/>
                      <a:cs typeface="Arial" charset="0"/>
                    </a:rPr>
                    <a:t>space</a:t>
                  </a:r>
                </a:p>
              </p:txBody>
            </p:sp>
          </p:grpSp>
        </p:grpSp>
        <p:grpSp>
          <p:nvGrpSpPr>
            <p:cNvPr id="2" name="Group 1">
              <a:extLst>
                <a:ext uri="{FF2B5EF4-FFF2-40B4-BE49-F238E27FC236}">
                  <a16:creationId xmlns:a16="http://schemas.microsoft.com/office/drawing/2014/main" id="{A4CF5DAB-1553-C04B-92A4-F1198F8EECE3}"/>
                </a:ext>
              </a:extLst>
            </p:cNvPr>
            <p:cNvGrpSpPr/>
            <p:nvPr userDrawn="1"/>
          </p:nvGrpSpPr>
          <p:grpSpPr>
            <a:xfrm>
              <a:off x="9521833" y="6475824"/>
              <a:ext cx="2754815" cy="6013825"/>
              <a:chOff x="9521833" y="-6801152"/>
              <a:chExt cx="2754815" cy="6013825"/>
            </a:xfrm>
          </p:grpSpPr>
          <p:sp>
            <p:nvSpPr>
              <p:cNvPr id="42" name="TextBox 41">
                <a:extLst>
                  <a:ext uri="{FF2B5EF4-FFF2-40B4-BE49-F238E27FC236}">
                    <a16:creationId xmlns:a16="http://schemas.microsoft.com/office/drawing/2014/main" id="{07BD5352-94B5-1940-89E6-DC02A72A4418}"/>
                  </a:ext>
                </a:extLst>
              </p:cNvPr>
              <p:cNvSpPr txBox="1"/>
              <p:nvPr userDrawn="1"/>
            </p:nvSpPr>
            <p:spPr>
              <a:xfrm>
                <a:off x="9558507" y="-6801152"/>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43" name="Straight Connector 42">
                <a:extLst>
                  <a:ext uri="{FF2B5EF4-FFF2-40B4-BE49-F238E27FC236}">
                    <a16:creationId xmlns:a16="http://schemas.microsoft.com/office/drawing/2014/main" id="{DE135D9E-6B8E-BF4A-8B52-EEAE03AC9DE2}"/>
                  </a:ext>
                </a:extLst>
              </p:cNvPr>
              <p:cNvCxnSpPr>
                <a:cxnSpLocks/>
              </p:cNvCxnSpPr>
              <p:nvPr userDrawn="1"/>
            </p:nvCxnSpPr>
            <p:spPr>
              <a:xfrm>
                <a:off x="9558507" y="-659853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C3F42BF-41FD-244D-86C9-0031DA675594}"/>
                  </a:ext>
                </a:extLst>
              </p:cNvPr>
              <p:cNvSpPr txBox="1"/>
              <p:nvPr userDrawn="1"/>
            </p:nvSpPr>
            <p:spPr>
              <a:xfrm>
                <a:off x="9686426" y="-574022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65" name="Group 64">
                <a:extLst>
                  <a:ext uri="{FF2B5EF4-FFF2-40B4-BE49-F238E27FC236}">
                    <a16:creationId xmlns:a16="http://schemas.microsoft.com/office/drawing/2014/main" id="{1AF14A82-884D-6E44-833A-66AEAE8D73E5}"/>
                  </a:ext>
                </a:extLst>
              </p:cNvPr>
              <p:cNvGrpSpPr/>
              <p:nvPr userDrawn="1"/>
            </p:nvGrpSpPr>
            <p:grpSpPr>
              <a:xfrm>
                <a:off x="9541497" y="-2198642"/>
                <a:ext cx="2735151" cy="1411315"/>
                <a:chOff x="9296567" y="4910411"/>
                <a:chExt cx="2735151" cy="1411315"/>
              </a:xfrm>
            </p:grpSpPr>
            <p:sp>
              <p:nvSpPr>
                <p:cNvPr id="67" name="Rectangle 66">
                  <a:extLst>
                    <a:ext uri="{FF2B5EF4-FFF2-40B4-BE49-F238E27FC236}">
                      <a16:creationId xmlns:a16="http://schemas.microsoft.com/office/drawing/2014/main" id="{F7A9386A-4C7E-3A41-8497-284AAB05A9F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8" name="TextBox 67">
                  <a:extLst>
                    <a:ext uri="{FF2B5EF4-FFF2-40B4-BE49-F238E27FC236}">
                      <a16:creationId xmlns:a16="http://schemas.microsoft.com/office/drawing/2014/main" id="{4233D935-4B30-F44F-9AE5-ED48766ABB3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69" name="Graphic 68">
                  <a:extLst>
                    <a:ext uri="{FF2B5EF4-FFF2-40B4-BE49-F238E27FC236}">
                      <a16:creationId xmlns:a16="http://schemas.microsoft.com/office/drawing/2014/main" id="{16F18F42-237E-5D49-9406-C82AB8706B5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70" name="TextBox 69">
                  <a:extLst>
                    <a:ext uri="{FF2B5EF4-FFF2-40B4-BE49-F238E27FC236}">
                      <a16:creationId xmlns:a16="http://schemas.microsoft.com/office/drawing/2014/main" id="{DE14BA7F-29C8-C24E-928B-592788C3333F}"/>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29C49CB8-3278-3D41-8689-3FE7FAAE598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22BE9216-4058-A445-B627-693F5A96240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47" name="Group 46">
                <a:extLst>
                  <a:ext uri="{FF2B5EF4-FFF2-40B4-BE49-F238E27FC236}">
                    <a16:creationId xmlns:a16="http://schemas.microsoft.com/office/drawing/2014/main" id="{14F294D6-B313-E949-842F-F41379956161}"/>
                  </a:ext>
                </a:extLst>
              </p:cNvPr>
              <p:cNvGrpSpPr/>
              <p:nvPr userDrawn="1"/>
            </p:nvGrpSpPr>
            <p:grpSpPr>
              <a:xfrm>
                <a:off x="9541497" y="-3555298"/>
                <a:ext cx="2735151" cy="1280928"/>
                <a:chOff x="9286315" y="6976989"/>
                <a:chExt cx="2735151" cy="1280928"/>
              </a:xfrm>
            </p:grpSpPr>
            <p:sp>
              <p:nvSpPr>
                <p:cNvPr id="60" name="Rectangle 59">
                  <a:extLst>
                    <a:ext uri="{FF2B5EF4-FFF2-40B4-BE49-F238E27FC236}">
                      <a16:creationId xmlns:a16="http://schemas.microsoft.com/office/drawing/2014/main" id="{14F654D1-DB8F-CE4F-A23A-52B9BC2BFF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1" name="TextBox 60">
                  <a:extLst>
                    <a:ext uri="{FF2B5EF4-FFF2-40B4-BE49-F238E27FC236}">
                      <a16:creationId xmlns:a16="http://schemas.microsoft.com/office/drawing/2014/main" id="{1DC4A4C9-98A4-154F-8F68-6545453B151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62" name="Graphic 61">
                  <a:extLst>
                    <a:ext uri="{FF2B5EF4-FFF2-40B4-BE49-F238E27FC236}">
                      <a16:creationId xmlns:a16="http://schemas.microsoft.com/office/drawing/2014/main" id="{09C862AD-FB96-864E-8468-306B3BB1F66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63" name="TextBox 62">
                  <a:extLst>
                    <a:ext uri="{FF2B5EF4-FFF2-40B4-BE49-F238E27FC236}">
                      <a16:creationId xmlns:a16="http://schemas.microsoft.com/office/drawing/2014/main" id="{F14F4FFA-0615-1D48-B3DF-3595FF4FE06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64" name="Picture 63">
                  <a:extLst>
                    <a:ext uri="{FF2B5EF4-FFF2-40B4-BE49-F238E27FC236}">
                      <a16:creationId xmlns:a16="http://schemas.microsoft.com/office/drawing/2014/main" id="{88F30D86-450E-F848-A211-E408470B957E}"/>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48" name="Group 47">
                <a:extLst>
                  <a:ext uri="{FF2B5EF4-FFF2-40B4-BE49-F238E27FC236}">
                    <a16:creationId xmlns:a16="http://schemas.microsoft.com/office/drawing/2014/main" id="{02D72FD7-6279-0446-AC58-A3C3DC24D160}"/>
                  </a:ext>
                </a:extLst>
              </p:cNvPr>
              <p:cNvGrpSpPr/>
              <p:nvPr userDrawn="1"/>
            </p:nvGrpSpPr>
            <p:grpSpPr>
              <a:xfrm>
                <a:off x="9521833" y="-6476032"/>
                <a:ext cx="2617883" cy="651460"/>
                <a:chOff x="12352022" y="513115"/>
                <a:chExt cx="2617883" cy="651460"/>
              </a:xfrm>
            </p:grpSpPr>
            <p:sp>
              <p:nvSpPr>
                <p:cNvPr id="57" name="TextBox 56">
                  <a:extLst>
                    <a:ext uri="{FF2B5EF4-FFF2-40B4-BE49-F238E27FC236}">
                      <a16:creationId xmlns:a16="http://schemas.microsoft.com/office/drawing/2014/main" id="{F61D0EBF-B2C0-7046-B77D-2B9CD522884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58" name="TextBox 57">
                  <a:extLst>
                    <a:ext uri="{FF2B5EF4-FFF2-40B4-BE49-F238E27FC236}">
                      <a16:creationId xmlns:a16="http://schemas.microsoft.com/office/drawing/2014/main" id="{80E248F4-5967-3B48-BA75-443830FB430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59" name="TextBox 58">
                  <a:extLst>
                    <a:ext uri="{FF2B5EF4-FFF2-40B4-BE49-F238E27FC236}">
                      <a16:creationId xmlns:a16="http://schemas.microsoft.com/office/drawing/2014/main" id="{4458B103-16C3-734D-9D4C-08A0AD40A3F8}"/>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Select and download images from the Marketing Resource Database.</a:t>
                  </a:r>
                </a:p>
                <a:p>
                  <a:pPr lvl="0"/>
                  <a:r>
                    <a:rPr lang="en-US" sz="1050"/>
                    <a:t>Add the image to the placeholder.</a:t>
                  </a:r>
                </a:p>
              </p:txBody>
            </p:sp>
          </p:grpSp>
          <p:sp>
            <p:nvSpPr>
              <p:cNvPr id="49" name="TextBox 48">
                <a:extLst>
                  <a:ext uri="{FF2B5EF4-FFF2-40B4-BE49-F238E27FC236}">
                    <a16:creationId xmlns:a16="http://schemas.microsoft.com/office/drawing/2014/main" id="{9F6763D5-C877-A84E-AA38-3CED305D0841}"/>
                  </a:ext>
                </a:extLst>
              </p:cNvPr>
              <p:cNvSpPr txBox="1"/>
              <p:nvPr userDrawn="1"/>
            </p:nvSpPr>
            <p:spPr>
              <a:xfrm>
                <a:off x="9674267" y="-54569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50" name="TextBox 49">
                <a:extLst>
                  <a:ext uri="{FF2B5EF4-FFF2-40B4-BE49-F238E27FC236}">
                    <a16:creationId xmlns:a16="http://schemas.microsoft.com/office/drawing/2014/main" id="{DFB47FC7-5B8F-1A47-817A-A3CF2131BD9D}"/>
                  </a:ext>
                </a:extLst>
              </p:cNvPr>
              <p:cNvSpPr txBox="1"/>
              <p:nvPr userDrawn="1"/>
            </p:nvSpPr>
            <p:spPr>
              <a:xfrm>
                <a:off x="9686426" y="-5041663"/>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51" name="TextBox 50">
                <a:extLst>
                  <a:ext uri="{FF2B5EF4-FFF2-40B4-BE49-F238E27FC236}">
                    <a16:creationId xmlns:a16="http://schemas.microsoft.com/office/drawing/2014/main" id="{5CD80403-C6E9-C346-A05A-8AE1F1F93179}"/>
                  </a:ext>
                </a:extLst>
              </p:cNvPr>
              <p:cNvSpPr txBox="1"/>
              <p:nvPr userDrawn="1"/>
            </p:nvSpPr>
            <p:spPr>
              <a:xfrm>
                <a:off x="9686426" y="-4321573"/>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52" name="TextBox 51">
                <a:extLst>
                  <a:ext uri="{FF2B5EF4-FFF2-40B4-BE49-F238E27FC236}">
                    <a16:creationId xmlns:a16="http://schemas.microsoft.com/office/drawing/2014/main" id="{6AB870E0-EE0A-D84C-A2C8-84EDC9B761D9}"/>
                  </a:ext>
                </a:extLst>
              </p:cNvPr>
              <p:cNvSpPr txBox="1"/>
              <p:nvPr userDrawn="1"/>
            </p:nvSpPr>
            <p:spPr>
              <a:xfrm>
                <a:off x="9674267" y="-389101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grpSp>
          <p:nvGrpSpPr>
            <p:cNvPr id="56" name="Group 55">
              <a:extLst>
                <a:ext uri="{FF2B5EF4-FFF2-40B4-BE49-F238E27FC236}">
                  <a16:creationId xmlns:a16="http://schemas.microsoft.com/office/drawing/2014/main" id="{51C8198C-DD7F-BA46-8818-A422C4B5DDAB}"/>
                </a:ext>
              </a:extLst>
            </p:cNvPr>
            <p:cNvGrpSpPr/>
            <p:nvPr userDrawn="1"/>
          </p:nvGrpSpPr>
          <p:grpSpPr>
            <a:xfrm>
              <a:off x="9554253" y="2414886"/>
              <a:ext cx="2819399" cy="1181890"/>
              <a:chOff x="9541498" y="3352649"/>
              <a:chExt cx="2819399" cy="1181890"/>
            </a:xfrm>
          </p:grpSpPr>
          <p:grpSp>
            <p:nvGrpSpPr>
              <p:cNvPr id="66" name="Group 65">
                <a:extLst>
                  <a:ext uri="{FF2B5EF4-FFF2-40B4-BE49-F238E27FC236}">
                    <a16:creationId xmlns:a16="http://schemas.microsoft.com/office/drawing/2014/main" id="{51461867-39BD-8443-858A-89E8E720E047}"/>
                  </a:ext>
                </a:extLst>
              </p:cNvPr>
              <p:cNvGrpSpPr/>
              <p:nvPr userDrawn="1"/>
            </p:nvGrpSpPr>
            <p:grpSpPr>
              <a:xfrm>
                <a:off x="9541498" y="3352649"/>
                <a:ext cx="2735150" cy="1181890"/>
                <a:chOff x="9541498" y="3751132"/>
                <a:chExt cx="2735150" cy="1181890"/>
              </a:xfrm>
            </p:grpSpPr>
            <p:grpSp>
              <p:nvGrpSpPr>
                <p:cNvPr id="76" name="Group 75">
                  <a:extLst>
                    <a:ext uri="{FF2B5EF4-FFF2-40B4-BE49-F238E27FC236}">
                      <a16:creationId xmlns:a16="http://schemas.microsoft.com/office/drawing/2014/main" id="{B43C4940-84D3-BE4D-B6C7-B9F4069E6AF2}"/>
                    </a:ext>
                  </a:extLst>
                </p:cNvPr>
                <p:cNvGrpSpPr/>
                <p:nvPr userDrawn="1"/>
              </p:nvGrpSpPr>
              <p:grpSpPr>
                <a:xfrm>
                  <a:off x="9541498" y="3751132"/>
                  <a:ext cx="2735150" cy="1181890"/>
                  <a:chOff x="9296568" y="4910411"/>
                  <a:chExt cx="2735150" cy="1181890"/>
                </a:xfrm>
              </p:grpSpPr>
              <p:sp>
                <p:nvSpPr>
                  <p:cNvPr id="78" name="Rectangle 77">
                    <a:extLst>
                      <a:ext uri="{FF2B5EF4-FFF2-40B4-BE49-F238E27FC236}">
                        <a16:creationId xmlns:a16="http://schemas.microsoft.com/office/drawing/2014/main" id="{9D64EC32-DC56-1A4F-B329-EFB7AD05123D}"/>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9" name="TextBox 78">
                    <a:extLst>
                      <a:ext uri="{FF2B5EF4-FFF2-40B4-BE49-F238E27FC236}">
                        <a16:creationId xmlns:a16="http://schemas.microsoft.com/office/drawing/2014/main" id="{98AC335A-B89B-6A4C-9272-D47CD0D06EC8}"/>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81" name="TextBox 80">
                    <a:extLst>
                      <a:ext uri="{FF2B5EF4-FFF2-40B4-BE49-F238E27FC236}">
                        <a16:creationId xmlns:a16="http://schemas.microsoft.com/office/drawing/2014/main" id="{278ECCAF-CE58-9C43-BD97-C451117E731F}"/>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77" name="Graphic 76">
                  <a:extLst>
                    <a:ext uri="{FF2B5EF4-FFF2-40B4-BE49-F238E27FC236}">
                      <a16:creationId xmlns:a16="http://schemas.microsoft.com/office/drawing/2014/main" id="{AB366EEA-B03C-9046-8AD6-59CC9C8CE5A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686425" y="3891259"/>
                  <a:ext cx="170340" cy="170340"/>
                </a:xfrm>
                <a:prstGeom prst="rect">
                  <a:avLst/>
                </a:prstGeom>
              </p:spPr>
            </p:pic>
          </p:grpSp>
          <p:pic>
            <p:nvPicPr>
              <p:cNvPr id="74" name="Picture 73">
                <a:extLst>
                  <a:ext uri="{FF2B5EF4-FFF2-40B4-BE49-F238E27FC236}">
                    <a16:creationId xmlns:a16="http://schemas.microsoft.com/office/drawing/2014/main" id="{699DEED4-35C2-9441-873F-AAED33354F6B}"/>
                  </a:ext>
                </a:extLst>
              </p:cNvPr>
              <p:cNvPicPr>
                <a:picLocks noChangeAspect="1"/>
              </p:cNvPicPr>
              <p:nvPr userDrawn="1"/>
            </p:nvPicPr>
            <p:blipFill rotWithShape="1">
              <a:blip r:embed="rId11"/>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76412392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Graphics">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6C7DBB08-85DE-1A46-BB43-C98D1EBB9768}"/>
              </a:ext>
            </a:extLst>
          </p:cNvPr>
          <p:cNvCxnSpPr>
            <a:cxnSpLocks/>
          </p:cNvCxnSpPr>
          <p:nvPr userDrawn="1"/>
        </p:nvCxnSpPr>
        <p:spPr>
          <a:xfrm>
            <a:off x="6096000" y="1741270"/>
            <a:ext cx="0" cy="3945889"/>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2" name="Title 11">
            <a:extLst>
              <a:ext uri="{FF2B5EF4-FFF2-40B4-BE49-F238E27FC236}">
                <a16:creationId xmlns:a16="http://schemas.microsoft.com/office/drawing/2014/main" id="{90A94CCC-95A0-1A46-97DB-01C300149D6E}"/>
              </a:ext>
            </a:extLst>
          </p:cNvPr>
          <p:cNvSpPr>
            <a:spLocks noGrp="1"/>
          </p:cNvSpPr>
          <p:nvPr>
            <p:ph type="title" hasCustomPrompt="1"/>
          </p:nvPr>
        </p:nvSpPr>
        <p:spPr>
          <a:xfrm>
            <a:off x="575734" y="423038"/>
            <a:ext cx="11040533" cy="567394"/>
          </a:xfrm>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38EB76C2-EC49-D74D-8138-42F36071D111}"/>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88AC8874-ADB0-E745-A95D-BC630D73D54E}"/>
              </a:ext>
            </a:extLst>
          </p:cNvPr>
          <p:cNvSpPr>
            <a:spLocks noGrp="1"/>
          </p:cNvSpPr>
          <p:nvPr>
            <p:ph type="dt" sz="half" idx="101"/>
          </p:nvPr>
        </p:nvSpPr>
        <p:spPr/>
        <p:txBody>
          <a:bodyPr/>
          <a:lstStyle/>
          <a:p>
            <a:endParaRPr lang="en-US"/>
          </a:p>
        </p:txBody>
      </p:sp>
      <p:sp>
        <p:nvSpPr>
          <p:cNvPr id="6" name="Footer Placeholder 5">
            <a:extLst>
              <a:ext uri="{FF2B5EF4-FFF2-40B4-BE49-F238E27FC236}">
                <a16:creationId xmlns:a16="http://schemas.microsoft.com/office/drawing/2014/main" id="{C165C2A2-356A-7548-BE96-5A0D200A7CD7}"/>
              </a:ext>
            </a:extLst>
          </p:cNvPr>
          <p:cNvSpPr>
            <a:spLocks noGrp="1"/>
          </p:cNvSpPr>
          <p:nvPr>
            <p:ph type="ftr" sz="quarter" idx="102"/>
          </p:nvPr>
        </p:nvSpPr>
        <p:spPr/>
        <p:txBody>
          <a:bodyPr/>
          <a:lstStyle/>
          <a:p>
            <a:endParaRPr lang="en-US"/>
          </a:p>
        </p:txBody>
      </p:sp>
      <p:sp>
        <p:nvSpPr>
          <p:cNvPr id="7" name="Slide Number Placeholder 6">
            <a:extLst>
              <a:ext uri="{FF2B5EF4-FFF2-40B4-BE49-F238E27FC236}">
                <a16:creationId xmlns:a16="http://schemas.microsoft.com/office/drawing/2014/main" id="{AB83E43E-DF9D-AB4F-843F-9C58B110211E}"/>
              </a:ext>
            </a:extLst>
          </p:cNvPr>
          <p:cNvSpPr>
            <a:spLocks noGrp="1"/>
          </p:cNvSpPr>
          <p:nvPr>
            <p:ph type="sldNum" sz="quarter" idx="103"/>
          </p:nvPr>
        </p:nvSpPr>
        <p:spPr/>
        <p:txBody>
          <a:bodyPr/>
          <a:lstStyle/>
          <a:p>
            <a:pPr marL="12700"/>
            <a:fld id="{078C017C-E1B9-8443-B047-B08AAA027B45}" type="slidenum">
              <a:rPr lang="en-US" smtClean="0"/>
              <a:pPr marL="12700"/>
              <a:t>‹#›</a:t>
            </a:fld>
            <a:endParaRPr lang="en-US"/>
          </a:p>
        </p:txBody>
      </p:sp>
      <p:grpSp>
        <p:nvGrpSpPr>
          <p:cNvPr id="37" name="Group 36">
            <a:extLst>
              <a:ext uri="{FF2B5EF4-FFF2-40B4-BE49-F238E27FC236}">
                <a16:creationId xmlns:a16="http://schemas.microsoft.com/office/drawing/2014/main" id="{A4BF7355-4363-8343-BF89-F6DDE86B3E19}"/>
              </a:ext>
            </a:extLst>
          </p:cNvPr>
          <p:cNvGrpSpPr/>
          <p:nvPr userDrawn="1"/>
        </p:nvGrpSpPr>
        <p:grpSpPr>
          <a:xfrm>
            <a:off x="12532243" y="-1"/>
            <a:ext cx="2898257" cy="6858001"/>
            <a:chOff x="9144000" y="-1"/>
            <a:chExt cx="2874210" cy="6858001"/>
          </a:xfrm>
        </p:grpSpPr>
        <p:sp>
          <p:nvSpPr>
            <p:cNvPr id="44" name="Rectangle 43">
              <a:extLst>
                <a:ext uri="{FF2B5EF4-FFF2-40B4-BE49-F238E27FC236}">
                  <a16:creationId xmlns:a16="http://schemas.microsoft.com/office/drawing/2014/main" id="{DC3EFD55-F84B-3140-8A09-E694BBDB477A}"/>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grpSp>
          <p:nvGrpSpPr>
            <p:cNvPr id="45" name="Group 44">
              <a:extLst>
                <a:ext uri="{FF2B5EF4-FFF2-40B4-BE49-F238E27FC236}">
                  <a16:creationId xmlns:a16="http://schemas.microsoft.com/office/drawing/2014/main" id="{F52CEB7A-9DDD-2846-8CDB-25FF2BD4E0F2}"/>
                </a:ext>
              </a:extLst>
            </p:cNvPr>
            <p:cNvGrpSpPr/>
            <p:nvPr userDrawn="1"/>
          </p:nvGrpSpPr>
          <p:grpSpPr>
            <a:xfrm>
              <a:off x="9263395" y="150289"/>
              <a:ext cx="2754815" cy="6013825"/>
              <a:chOff x="9266651" y="185338"/>
              <a:chExt cx="2754815" cy="6013825"/>
            </a:xfrm>
          </p:grpSpPr>
          <p:sp>
            <p:nvSpPr>
              <p:cNvPr id="46" name="TextBox 45">
                <a:extLst>
                  <a:ext uri="{FF2B5EF4-FFF2-40B4-BE49-F238E27FC236}">
                    <a16:creationId xmlns:a16="http://schemas.microsoft.com/office/drawing/2014/main" id="{9C639E71-F95A-7A4A-BCA4-1C7279BE09D4}"/>
                  </a:ext>
                </a:extLst>
              </p:cNvPr>
              <p:cNvSpPr txBox="1"/>
              <p:nvPr userDrawn="1"/>
            </p:nvSpPr>
            <p:spPr>
              <a:xfrm>
                <a:off x="9303325" y="185338"/>
                <a:ext cx="181179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 RANKING GRAPHIC</a:t>
                </a:r>
              </a:p>
            </p:txBody>
          </p:sp>
          <p:cxnSp>
            <p:nvCxnSpPr>
              <p:cNvPr id="47" name="Straight Connector 46">
                <a:extLst>
                  <a:ext uri="{FF2B5EF4-FFF2-40B4-BE49-F238E27FC236}">
                    <a16:creationId xmlns:a16="http://schemas.microsoft.com/office/drawing/2014/main" id="{3454B777-88A5-A54A-8688-8CCFBB2CBB56}"/>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386A5866-BE39-6A48-AE63-C492C5C420BC}"/>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49" name="Group 48">
                <a:extLst>
                  <a:ext uri="{FF2B5EF4-FFF2-40B4-BE49-F238E27FC236}">
                    <a16:creationId xmlns:a16="http://schemas.microsoft.com/office/drawing/2014/main" id="{FBDBCBCD-7B16-ED4B-89CB-3BAB8B70B23B}"/>
                  </a:ext>
                </a:extLst>
              </p:cNvPr>
              <p:cNvGrpSpPr/>
              <p:nvPr userDrawn="1"/>
            </p:nvGrpSpPr>
            <p:grpSpPr>
              <a:xfrm>
                <a:off x="9286315" y="4787848"/>
                <a:ext cx="2735151" cy="1411315"/>
                <a:chOff x="9296567" y="4910411"/>
                <a:chExt cx="2735151" cy="1411315"/>
              </a:xfrm>
            </p:grpSpPr>
            <p:sp>
              <p:nvSpPr>
                <p:cNvPr id="64" name="Rectangle 63">
                  <a:extLst>
                    <a:ext uri="{FF2B5EF4-FFF2-40B4-BE49-F238E27FC236}">
                      <a16:creationId xmlns:a16="http://schemas.microsoft.com/office/drawing/2014/main" id="{7707291B-F5C5-E84D-BB87-EC256B761F2F}"/>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5" name="TextBox 64">
                  <a:extLst>
                    <a:ext uri="{FF2B5EF4-FFF2-40B4-BE49-F238E27FC236}">
                      <a16:creationId xmlns:a16="http://schemas.microsoft.com/office/drawing/2014/main" id="{47E811E1-3D01-0242-B581-B3D0E2D9E8C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66" name="Graphic 65">
                  <a:extLst>
                    <a:ext uri="{FF2B5EF4-FFF2-40B4-BE49-F238E27FC236}">
                      <a16:creationId xmlns:a16="http://schemas.microsoft.com/office/drawing/2014/main" id="{CC7533CE-AAD6-6A4F-B604-501FBC22F2F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67" name="TextBox 66">
                  <a:extLst>
                    <a:ext uri="{FF2B5EF4-FFF2-40B4-BE49-F238E27FC236}">
                      <a16:creationId xmlns:a16="http://schemas.microsoft.com/office/drawing/2014/main" id="{DEFC58F9-83F9-F24E-8CFB-85C42B9FF28B}"/>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8" name="TextBox 67">
                  <a:extLst>
                    <a:ext uri="{FF2B5EF4-FFF2-40B4-BE49-F238E27FC236}">
                      <a16:creationId xmlns:a16="http://schemas.microsoft.com/office/drawing/2014/main" id="{4343EFA7-F04B-AD4C-B49F-773E72FEEA0C}"/>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9" name="TextBox 68">
                  <a:extLst>
                    <a:ext uri="{FF2B5EF4-FFF2-40B4-BE49-F238E27FC236}">
                      <a16:creationId xmlns:a16="http://schemas.microsoft.com/office/drawing/2014/main" id="{74414D03-81D7-8041-8A2A-5F8A32095DD0}"/>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50" name="Group 49">
                <a:extLst>
                  <a:ext uri="{FF2B5EF4-FFF2-40B4-BE49-F238E27FC236}">
                    <a16:creationId xmlns:a16="http://schemas.microsoft.com/office/drawing/2014/main" id="{49F75BF1-C2B3-B54F-8730-6D9E5FA3B42F}"/>
                  </a:ext>
                </a:extLst>
              </p:cNvPr>
              <p:cNvGrpSpPr/>
              <p:nvPr userDrawn="1"/>
            </p:nvGrpSpPr>
            <p:grpSpPr>
              <a:xfrm>
                <a:off x="9286315" y="3431192"/>
                <a:ext cx="2735151" cy="1280928"/>
                <a:chOff x="9286315" y="6976989"/>
                <a:chExt cx="2735151" cy="1280928"/>
              </a:xfrm>
            </p:grpSpPr>
            <p:sp>
              <p:nvSpPr>
                <p:cNvPr id="59" name="Rectangle 58">
                  <a:extLst>
                    <a:ext uri="{FF2B5EF4-FFF2-40B4-BE49-F238E27FC236}">
                      <a16:creationId xmlns:a16="http://schemas.microsoft.com/office/drawing/2014/main" id="{390CF49D-B56E-F246-9B8F-7253ADBF55CF}"/>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0" name="TextBox 59">
                  <a:extLst>
                    <a:ext uri="{FF2B5EF4-FFF2-40B4-BE49-F238E27FC236}">
                      <a16:creationId xmlns:a16="http://schemas.microsoft.com/office/drawing/2014/main" id="{5CA0CD73-90A4-5947-9FED-FC045B6A96DB}"/>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61" name="Graphic 60">
                  <a:extLst>
                    <a:ext uri="{FF2B5EF4-FFF2-40B4-BE49-F238E27FC236}">
                      <a16:creationId xmlns:a16="http://schemas.microsoft.com/office/drawing/2014/main" id="{8566AC83-205E-F840-8065-FAD2AD96F8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62" name="TextBox 61">
                  <a:extLst>
                    <a:ext uri="{FF2B5EF4-FFF2-40B4-BE49-F238E27FC236}">
                      <a16:creationId xmlns:a16="http://schemas.microsoft.com/office/drawing/2014/main" id="{DDEB2D73-0AF0-D34E-88C1-C738A08E993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63" name="Picture 62">
                  <a:extLst>
                    <a:ext uri="{FF2B5EF4-FFF2-40B4-BE49-F238E27FC236}">
                      <a16:creationId xmlns:a16="http://schemas.microsoft.com/office/drawing/2014/main" id="{CA429C1D-9A21-394C-A2DC-7BF8A319EFA6}"/>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51" name="Group 50">
                <a:extLst>
                  <a:ext uri="{FF2B5EF4-FFF2-40B4-BE49-F238E27FC236}">
                    <a16:creationId xmlns:a16="http://schemas.microsoft.com/office/drawing/2014/main" id="{49CCA4E1-8EF5-2549-84B1-9E3BBF0438EA}"/>
                  </a:ext>
                </a:extLst>
              </p:cNvPr>
              <p:cNvGrpSpPr/>
              <p:nvPr userDrawn="1"/>
            </p:nvGrpSpPr>
            <p:grpSpPr>
              <a:xfrm>
                <a:off x="9266651" y="510458"/>
                <a:ext cx="2617883" cy="651460"/>
                <a:chOff x="12352022" y="513115"/>
                <a:chExt cx="2617883" cy="651460"/>
              </a:xfrm>
            </p:grpSpPr>
            <p:sp>
              <p:nvSpPr>
                <p:cNvPr id="56" name="TextBox 55">
                  <a:extLst>
                    <a:ext uri="{FF2B5EF4-FFF2-40B4-BE49-F238E27FC236}">
                      <a16:creationId xmlns:a16="http://schemas.microsoft.com/office/drawing/2014/main" id="{C2E305A8-FA70-5E42-8141-397DA68944F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57" name="TextBox 56">
                  <a:extLst>
                    <a:ext uri="{FF2B5EF4-FFF2-40B4-BE49-F238E27FC236}">
                      <a16:creationId xmlns:a16="http://schemas.microsoft.com/office/drawing/2014/main" id="{7ED7D884-C4B1-7941-88D0-3BC49DC1632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58" name="TextBox 57">
                  <a:extLst>
                    <a:ext uri="{FF2B5EF4-FFF2-40B4-BE49-F238E27FC236}">
                      <a16:creationId xmlns:a16="http://schemas.microsoft.com/office/drawing/2014/main" id="{FEBB71D5-7B19-FE4A-8102-B363C4A42F30}"/>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Select and download images from the Marketing Resource Database.</a:t>
                  </a:r>
                </a:p>
                <a:p>
                  <a:pPr lvl="0"/>
                  <a:r>
                    <a:rPr lang="en-US" sz="1050"/>
                    <a:t>Add the image to the placeholder.</a:t>
                  </a:r>
                </a:p>
              </p:txBody>
            </p:sp>
          </p:grpSp>
          <p:sp>
            <p:nvSpPr>
              <p:cNvPr id="52" name="TextBox 51">
                <a:extLst>
                  <a:ext uri="{FF2B5EF4-FFF2-40B4-BE49-F238E27FC236}">
                    <a16:creationId xmlns:a16="http://schemas.microsoft.com/office/drawing/2014/main" id="{A1548EEE-06E3-CC41-9F8E-0DDC2A665391}"/>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53" name="TextBox 52">
                <a:extLst>
                  <a:ext uri="{FF2B5EF4-FFF2-40B4-BE49-F238E27FC236}">
                    <a16:creationId xmlns:a16="http://schemas.microsoft.com/office/drawing/2014/main" id="{73BFC1D0-EE7B-E04D-8255-6C212EF19379}"/>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54" name="TextBox 53">
                <a:extLst>
                  <a:ext uri="{FF2B5EF4-FFF2-40B4-BE49-F238E27FC236}">
                    <a16:creationId xmlns:a16="http://schemas.microsoft.com/office/drawing/2014/main" id="{AFBE415B-053E-814E-B121-87F6ADDFE554}"/>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55" name="TextBox 54">
                <a:extLst>
                  <a:ext uri="{FF2B5EF4-FFF2-40B4-BE49-F238E27FC236}">
                    <a16:creationId xmlns:a16="http://schemas.microsoft.com/office/drawing/2014/main" id="{41737B6D-EC46-E844-88B0-2E9EB831AD16}"/>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grpSp>
      <p:sp>
        <p:nvSpPr>
          <p:cNvPr id="38" name="Picture Placeholder 7">
            <a:extLst>
              <a:ext uri="{FF2B5EF4-FFF2-40B4-BE49-F238E27FC236}">
                <a16:creationId xmlns:a16="http://schemas.microsoft.com/office/drawing/2014/main" id="{EC811737-43AA-5340-BC0A-F82D882AAFA7}"/>
              </a:ext>
            </a:extLst>
          </p:cNvPr>
          <p:cNvSpPr>
            <a:spLocks noGrp="1"/>
          </p:cNvSpPr>
          <p:nvPr>
            <p:ph type="pic" sz="quarter" idx="13" hasCustomPrompt="1"/>
          </p:nvPr>
        </p:nvSpPr>
        <p:spPr>
          <a:xfrm>
            <a:off x="576263" y="1741425"/>
            <a:ext cx="5262445" cy="3945734"/>
          </a:xfrm>
          <a:solidFill>
            <a:srgbClr val="E8F3FD"/>
          </a:solidFill>
        </p:spPr>
        <p:txBody>
          <a:bodyPr anchor="ctr"/>
          <a:lstStyle>
            <a:lvl1pPr algn="ctr">
              <a:defRPr b="0">
                <a:solidFill>
                  <a:schemeClr val="tx1">
                    <a:lumMod val="50000"/>
                    <a:lumOff val="50000"/>
                  </a:schemeClr>
                </a:solidFill>
              </a:defRPr>
            </a:lvl1pPr>
          </a:lstStyle>
          <a:p>
            <a:r>
              <a:rPr lang="en-US"/>
              <a:t>Click to add a pre-designed</a:t>
            </a:r>
            <a:br>
              <a:rPr lang="en-US"/>
            </a:br>
            <a:r>
              <a:rPr lang="en-US"/>
              <a:t>ranking or quote graphic</a:t>
            </a:r>
          </a:p>
        </p:txBody>
      </p:sp>
      <p:sp>
        <p:nvSpPr>
          <p:cNvPr id="39" name="Picture Placeholder 7">
            <a:extLst>
              <a:ext uri="{FF2B5EF4-FFF2-40B4-BE49-F238E27FC236}">
                <a16:creationId xmlns:a16="http://schemas.microsoft.com/office/drawing/2014/main" id="{279841B3-6B0F-854A-B26B-E12E8551CC41}"/>
              </a:ext>
            </a:extLst>
          </p:cNvPr>
          <p:cNvSpPr>
            <a:spLocks noGrp="1"/>
          </p:cNvSpPr>
          <p:nvPr>
            <p:ph type="pic" sz="quarter" idx="14" hasCustomPrompt="1"/>
          </p:nvPr>
        </p:nvSpPr>
        <p:spPr>
          <a:xfrm>
            <a:off x="6354592" y="1741270"/>
            <a:ext cx="5261675" cy="3946145"/>
          </a:xfrm>
          <a:solidFill>
            <a:srgbClr val="E8F3FD"/>
          </a:solidFill>
        </p:spPr>
        <p:txBody>
          <a:bodyPr anchor="ctr"/>
          <a:lstStyle>
            <a:lvl1pPr algn="ctr">
              <a:defRPr b="0">
                <a:solidFill>
                  <a:schemeClr val="tx1">
                    <a:lumMod val="50000"/>
                    <a:lumOff val="50000"/>
                  </a:schemeClr>
                </a:solidFill>
              </a:defRPr>
            </a:lvl1pPr>
          </a:lstStyle>
          <a:p>
            <a:r>
              <a:rPr lang="en-US"/>
              <a:t>Click to add a pre-designed</a:t>
            </a:r>
            <a:br>
              <a:rPr lang="en-US"/>
            </a:br>
            <a:r>
              <a:rPr lang="en-US"/>
              <a:t>ranking or quote graphic</a:t>
            </a:r>
          </a:p>
        </p:txBody>
      </p:sp>
    </p:spTree>
    <p:extLst>
      <p:ext uri="{BB962C8B-B14F-4D97-AF65-F5344CB8AC3E}">
        <p14:creationId xmlns:p14="http://schemas.microsoft.com/office/powerpoint/2010/main" val="16597058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our Rankings">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6C7DBB08-85DE-1A46-BB43-C98D1EBB9768}"/>
              </a:ext>
            </a:extLst>
          </p:cNvPr>
          <p:cNvCxnSpPr>
            <a:cxnSpLocks/>
          </p:cNvCxnSpPr>
          <p:nvPr userDrawn="1"/>
        </p:nvCxnSpPr>
        <p:spPr>
          <a:xfrm>
            <a:off x="6096000" y="1233488"/>
            <a:ext cx="0" cy="4932362"/>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BDB01CD-2962-8340-88FB-839DBE47CB09}"/>
              </a:ext>
            </a:extLst>
          </p:cNvPr>
          <p:cNvCxnSpPr>
            <a:cxnSpLocks/>
          </p:cNvCxnSpPr>
          <p:nvPr userDrawn="1"/>
        </p:nvCxnSpPr>
        <p:spPr>
          <a:xfrm flipH="1">
            <a:off x="575735" y="3699669"/>
            <a:ext cx="11040532"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A6A8005-7996-1E40-9EA1-933A3B5C30FA}"/>
              </a:ext>
            </a:extLst>
          </p:cNvPr>
          <p:cNvSpPr/>
          <p:nvPr userDrawn="1"/>
        </p:nvSpPr>
        <p:spPr>
          <a:xfrm>
            <a:off x="5907753" y="3558484"/>
            <a:ext cx="376497" cy="282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2" name="Title 11">
            <a:extLst>
              <a:ext uri="{FF2B5EF4-FFF2-40B4-BE49-F238E27FC236}">
                <a16:creationId xmlns:a16="http://schemas.microsoft.com/office/drawing/2014/main" id="{90A94CCC-95A0-1A46-97DB-01C300149D6E}"/>
              </a:ext>
            </a:extLst>
          </p:cNvPr>
          <p:cNvSpPr>
            <a:spLocks noGrp="1"/>
          </p:cNvSpPr>
          <p:nvPr>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91EC1F1B-FF90-E74E-B72A-B7A125D22585}"/>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57736864-A696-CE41-ABC2-ABC572DF6E7C}"/>
              </a:ext>
            </a:extLst>
          </p:cNvPr>
          <p:cNvSpPr>
            <a:spLocks noGrp="1"/>
          </p:cNvSpPr>
          <p:nvPr>
            <p:ph type="dt" sz="half" idx="104"/>
          </p:nvPr>
        </p:nvSpPr>
        <p:spPr/>
        <p:txBody>
          <a:bodyPr/>
          <a:lstStyle/>
          <a:p>
            <a:endParaRPr lang="en-US"/>
          </a:p>
        </p:txBody>
      </p:sp>
      <p:sp>
        <p:nvSpPr>
          <p:cNvPr id="6" name="Footer Placeholder 5">
            <a:extLst>
              <a:ext uri="{FF2B5EF4-FFF2-40B4-BE49-F238E27FC236}">
                <a16:creationId xmlns:a16="http://schemas.microsoft.com/office/drawing/2014/main" id="{32336FBA-2F01-B14F-8747-8F105CF5439F}"/>
              </a:ext>
            </a:extLst>
          </p:cNvPr>
          <p:cNvSpPr>
            <a:spLocks noGrp="1"/>
          </p:cNvSpPr>
          <p:nvPr>
            <p:ph type="ftr" sz="quarter" idx="105"/>
          </p:nvPr>
        </p:nvSpPr>
        <p:spPr/>
        <p:txBody>
          <a:bodyPr/>
          <a:lstStyle/>
          <a:p>
            <a:endParaRPr lang="en-US"/>
          </a:p>
        </p:txBody>
      </p:sp>
      <p:sp>
        <p:nvSpPr>
          <p:cNvPr id="7" name="Slide Number Placeholder 6">
            <a:extLst>
              <a:ext uri="{FF2B5EF4-FFF2-40B4-BE49-F238E27FC236}">
                <a16:creationId xmlns:a16="http://schemas.microsoft.com/office/drawing/2014/main" id="{C712BF78-99E1-2F48-8801-14B42F731A25}"/>
              </a:ext>
            </a:extLst>
          </p:cNvPr>
          <p:cNvSpPr>
            <a:spLocks noGrp="1"/>
          </p:cNvSpPr>
          <p:nvPr>
            <p:ph type="sldNum" sz="quarter" idx="106"/>
          </p:nvPr>
        </p:nvSpPr>
        <p:spPr/>
        <p:txBody>
          <a:bodyPr/>
          <a:lstStyle/>
          <a:p>
            <a:pPr marL="12700"/>
            <a:fld id="{078C017C-E1B9-8443-B047-B08AAA027B45}" type="slidenum">
              <a:rPr lang="en-US" smtClean="0"/>
              <a:pPr marL="12700"/>
              <a:t>‹#›</a:t>
            </a:fld>
            <a:endParaRPr lang="en-US"/>
          </a:p>
        </p:txBody>
      </p:sp>
      <p:grpSp>
        <p:nvGrpSpPr>
          <p:cNvPr id="55" name="Group 54">
            <a:extLst>
              <a:ext uri="{FF2B5EF4-FFF2-40B4-BE49-F238E27FC236}">
                <a16:creationId xmlns:a16="http://schemas.microsoft.com/office/drawing/2014/main" id="{C772D24F-7CE1-284A-B0C9-1A40253F06FA}"/>
              </a:ext>
            </a:extLst>
          </p:cNvPr>
          <p:cNvGrpSpPr/>
          <p:nvPr userDrawn="1"/>
        </p:nvGrpSpPr>
        <p:grpSpPr>
          <a:xfrm>
            <a:off x="12532243" y="-1"/>
            <a:ext cx="2898257" cy="6858001"/>
            <a:chOff x="9144000" y="-1"/>
            <a:chExt cx="2874210" cy="6858001"/>
          </a:xfrm>
        </p:grpSpPr>
        <p:sp>
          <p:nvSpPr>
            <p:cNvPr id="56" name="Rectangle 55">
              <a:extLst>
                <a:ext uri="{FF2B5EF4-FFF2-40B4-BE49-F238E27FC236}">
                  <a16:creationId xmlns:a16="http://schemas.microsoft.com/office/drawing/2014/main" id="{C2EAF5C8-6DFB-BD4C-BF43-3761E31E6853}"/>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grpSp>
          <p:nvGrpSpPr>
            <p:cNvPr id="57" name="Group 56">
              <a:extLst>
                <a:ext uri="{FF2B5EF4-FFF2-40B4-BE49-F238E27FC236}">
                  <a16:creationId xmlns:a16="http://schemas.microsoft.com/office/drawing/2014/main" id="{82656772-24CA-E043-B9A3-B14FFB5C0406}"/>
                </a:ext>
              </a:extLst>
            </p:cNvPr>
            <p:cNvGrpSpPr/>
            <p:nvPr userDrawn="1"/>
          </p:nvGrpSpPr>
          <p:grpSpPr>
            <a:xfrm>
              <a:off x="9263395" y="150289"/>
              <a:ext cx="2754815" cy="6013825"/>
              <a:chOff x="9266651" y="185338"/>
              <a:chExt cx="2754815" cy="6013825"/>
            </a:xfrm>
          </p:grpSpPr>
          <p:sp>
            <p:nvSpPr>
              <p:cNvPr id="58" name="TextBox 57">
                <a:extLst>
                  <a:ext uri="{FF2B5EF4-FFF2-40B4-BE49-F238E27FC236}">
                    <a16:creationId xmlns:a16="http://schemas.microsoft.com/office/drawing/2014/main" id="{5287518D-685C-5744-8755-F19276A89120}"/>
                  </a:ext>
                </a:extLst>
              </p:cNvPr>
              <p:cNvSpPr txBox="1"/>
              <p:nvPr userDrawn="1"/>
            </p:nvSpPr>
            <p:spPr>
              <a:xfrm>
                <a:off x="9303325" y="185338"/>
                <a:ext cx="181179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 RANKING GRAPHIC</a:t>
                </a:r>
              </a:p>
            </p:txBody>
          </p:sp>
          <p:cxnSp>
            <p:nvCxnSpPr>
              <p:cNvPr id="59" name="Straight Connector 58">
                <a:extLst>
                  <a:ext uri="{FF2B5EF4-FFF2-40B4-BE49-F238E27FC236}">
                    <a16:creationId xmlns:a16="http://schemas.microsoft.com/office/drawing/2014/main" id="{11E030B0-03A0-5E49-AD72-DE367FD41605}"/>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AB35B637-2DF2-8546-B330-A323B200A9E8}"/>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61" name="Group 60">
                <a:extLst>
                  <a:ext uri="{FF2B5EF4-FFF2-40B4-BE49-F238E27FC236}">
                    <a16:creationId xmlns:a16="http://schemas.microsoft.com/office/drawing/2014/main" id="{9396E543-15AA-F34E-A05E-08E8704672E6}"/>
                  </a:ext>
                </a:extLst>
              </p:cNvPr>
              <p:cNvGrpSpPr/>
              <p:nvPr userDrawn="1"/>
            </p:nvGrpSpPr>
            <p:grpSpPr>
              <a:xfrm>
                <a:off x="9286315" y="4787848"/>
                <a:ext cx="2735151" cy="1411315"/>
                <a:chOff x="9296567" y="4910411"/>
                <a:chExt cx="2735151" cy="1411315"/>
              </a:xfrm>
            </p:grpSpPr>
            <p:sp>
              <p:nvSpPr>
                <p:cNvPr id="76" name="Rectangle 75">
                  <a:extLst>
                    <a:ext uri="{FF2B5EF4-FFF2-40B4-BE49-F238E27FC236}">
                      <a16:creationId xmlns:a16="http://schemas.microsoft.com/office/drawing/2014/main" id="{4317C91B-E9F4-F34A-8B10-257688184C33}"/>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7" name="TextBox 76">
                  <a:extLst>
                    <a:ext uri="{FF2B5EF4-FFF2-40B4-BE49-F238E27FC236}">
                      <a16:creationId xmlns:a16="http://schemas.microsoft.com/office/drawing/2014/main" id="{9E121516-94E1-674C-B927-E8B317E91AC0}"/>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78" name="Graphic 77">
                  <a:extLst>
                    <a:ext uri="{FF2B5EF4-FFF2-40B4-BE49-F238E27FC236}">
                      <a16:creationId xmlns:a16="http://schemas.microsoft.com/office/drawing/2014/main" id="{4A0ABFEF-94D1-9243-9494-8DD0CB3D622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79" name="TextBox 78">
                  <a:extLst>
                    <a:ext uri="{FF2B5EF4-FFF2-40B4-BE49-F238E27FC236}">
                      <a16:creationId xmlns:a16="http://schemas.microsoft.com/office/drawing/2014/main" id="{E3C43BC8-0991-F94A-9216-66D0384B933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0" name="TextBox 79">
                  <a:extLst>
                    <a:ext uri="{FF2B5EF4-FFF2-40B4-BE49-F238E27FC236}">
                      <a16:creationId xmlns:a16="http://schemas.microsoft.com/office/drawing/2014/main" id="{CA7613D2-4F1C-6D41-B0D2-9F5073ECE09D}"/>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1" name="TextBox 80">
                  <a:extLst>
                    <a:ext uri="{FF2B5EF4-FFF2-40B4-BE49-F238E27FC236}">
                      <a16:creationId xmlns:a16="http://schemas.microsoft.com/office/drawing/2014/main" id="{041EC33D-64E6-D242-926C-2F8655CB8A09}"/>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62" name="Group 61">
                <a:extLst>
                  <a:ext uri="{FF2B5EF4-FFF2-40B4-BE49-F238E27FC236}">
                    <a16:creationId xmlns:a16="http://schemas.microsoft.com/office/drawing/2014/main" id="{F8EC0DE4-4472-9948-B881-818C7304F1BF}"/>
                  </a:ext>
                </a:extLst>
              </p:cNvPr>
              <p:cNvGrpSpPr/>
              <p:nvPr userDrawn="1"/>
            </p:nvGrpSpPr>
            <p:grpSpPr>
              <a:xfrm>
                <a:off x="9286315" y="3431192"/>
                <a:ext cx="2735151" cy="1280928"/>
                <a:chOff x="9286315" y="6976989"/>
                <a:chExt cx="2735151" cy="1280928"/>
              </a:xfrm>
            </p:grpSpPr>
            <p:sp>
              <p:nvSpPr>
                <p:cNvPr id="71" name="Rectangle 70">
                  <a:extLst>
                    <a:ext uri="{FF2B5EF4-FFF2-40B4-BE49-F238E27FC236}">
                      <a16:creationId xmlns:a16="http://schemas.microsoft.com/office/drawing/2014/main" id="{2040E1A5-E840-5D4C-AB0C-E562D7267908}"/>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2" name="TextBox 71">
                  <a:extLst>
                    <a:ext uri="{FF2B5EF4-FFF2-40B4-BE49-F238E27FC236}">
                      <a16:creationId xmlns:a16="http://schemas.microsoft.com/office/drawing/2014/main" id="{432CFF74-433E-1B44-8A29-42967B4561A1}"/>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73" name="Graphic 72">
                  <a:extLst>
                    <a:ext uri="{FF2B5EF4-FFF2-40B4-BE49-F238E27FC236}">
                      <a16:creationId xmlns:a16="http://schemas.microsoft.com/office/drawing/2014/main" id="{DA342F47-FC58-6442-9DBD-6331F65E8FF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74" name="TextBox 73">
                  <a:extLst>
                    <a:ext uri="{FF2B5EF4-FFF2-40B4-BE49-F238E27FC236}">
                      <a16:creationId xmlns:a16="http://schemas.microsoft.com/office/drawing/2014/main" id="{7E42AEEA-0756-504A-A361-542C3CD1656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75" name="Picture 74">
                  <a:extLst>
                    <a:ext uri="{FF2B5EF4-FFF2-40B4-BE49-F238E27FC236}">
                      <a16:creationId xmlns:a16="http://schemas.microsoft.com/office/drawing/2014/main" id="{7B2BC20C-83DA-3342-B35D-7EDC048125C7}"/>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3" name="Group 62">
                <a:extLst>
                  <a:ext uri="{FF2B5EF4-FFF2-40B4-BE49-F238E27FC236}">
                    <a16:creationId xmlns:a16="http://schemas.microsoft.com/office/drawing/2014/main" id="{736AA7C2-68DE-364E-8C24-8A87C5991129}"/>
                  </a:ext>
                </a:extLst>
              </p:cNvPr>
              <p:cNvGrpSpPr/>
              <p:nvPr userDrawn="1"/>
            </p:nvGrpSpPr>
            <p:grpSpPr>
              <a:xfrm>
                <a:off x="9266651" y="510458"/>
                <a:ext cx="2617883" cy="651460"/>
                <a:chOff x="12352022" y="513115"/>
                <a:chExt cx="2617883" cy="651460"/>
              </a:xfrm>
            </p:grpSpPr>
            <p:sp>
              <p:nvSpPr>
                <p:cNvPr id="68" name="TextBox 67">
                  <a:extLst>
                    <a:ext uri="{FF2B5EF4-FFF2-40B4-BE49-F238E27FC236}">
                      <a16:creationId xmlns:a16="http://schemas.microsoft.com/office/drawing/2014/main" id="{73CAED81-C546-C547-AB26-230261CAB3AF}"/>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69" name="TextBox 68">
                  <a:extLst>
                    <a:ext uri="{FF2B5EF4-FFF2-40B4-BE49-F238E27FC236}">
                      <a16:creationId xmlns:a16="http://schemas.microsoft.com/office/drawing/2014/main" id="{98B23CA1-221F-E647-988F-A99F6F1029E2}"/>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70" name="TextBox 69">
                  <a:extLst>
                    <a:ext uri="{FF2B5EF4-FFF2-40B4-BE49-F238E27FC236}">
                      <a16:creationId xmlns:a16="http://schemas.microsoft.com/office/drawing/2014/main" id="{234E2E1A-D899-9240-8A42-6B84444435F3}"/>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Select and download images from the Marketing Resource Database.</a:t>
                  </a:r>
                </a:p>
                <a:p>
                  <a:pPr lvl="0"/>
                  <a:r>
                    <a:rPr lang="en-US" sz="1050"/>
                    <a:t>Add the image to the placeholder.</a:t>
                  </a:r>
                </a:p>
              </p:txBody>
            </p:sp>
          </p:grpSp>
          <p:sp>
            <p:nvSpPr>
              <p:cNvPr id="64" name="TextBox 63">
                <a:extLst>
                  <a:ext uri="{FF2B5EF4-FFF2-40B4-BE49-F238E27FC236}">
                    <a16:creationId xmlns:a16="http://schemas.microsoft.com/office/drawing/2014/main" id="{13B500A3-3330-B34C-B02A-1E20651A77B4}"/>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65" name="TextBox 64">
                <a:extLst>
                  <a:ext uri="{FF2B5EF4-FFF2-40B4-BE49-F238E27FC236}">
                    <a16:creationId xmlns:a16="http://schemas.microsoft.com/office/drawing/2014/main" id="{D3F4653B-0540-EF45-8679-F7B98484500E}"/>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66" name="TextBox 65">
                <a:extLst>
                  <a:ext uri="{FF2B5EF4-FFF2-40B4-BE49-F238E27FC236}">
                    <a16:creationId xmlns:a16="http://schemas.microsoft.com/office/drawing/2014/main" id="{D61BD7FF-985D-0A47-8A8B-7BECE638F297}"/>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67" name="TextBox 66">
                <a:extLst>
                  <a:ext uri="{FF2B5EF4-FFF2-40B4-BE49-F238E27FC236}">
                    <a16:creationId xmlns:a16="http://schemas.microsoft.com/office/drawing/2014/main" id="{3E99C387-81D7-FC4C-8E45-45120E979362}"/>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grpSp>
      <p:sp>
        <p:nvSpPr>
          <p:cNvPr id="86" name="Picture Placeholder 85">
            <a:extLst>
              <a:ext uri="{FF2B5EF4-FFF2-40B4-BE49-F238E27FC236}">
                <a16:creationId xmlns:a16="http://schemas.microsoft.com/office/drawing/2014/main" id="{4B9FCE0A-2804-E44C-8FBA-8BF0C4436865}"/>
              </a:ext>
            </a:extLst>
          </p:cNvPr>
          <p:cNvSpPr>
            <a:spLocks noGrp="1"/>
          </p:cNvSpPr>
          <p:nvPr>
            <p:ph type="pic" sz="quarter" idx="13" hasCustomPrompt="1"/>
          </p:nvPr>
        </p:nvSpPr>
        <p:spPr>
          <a:xfrm>
            <a:off x="1100246" y="744386"/>
            <a:ext cx="4173393" cy="3129173"/>
          </a:xfrm>
          <a:custGeom>
            <a:avLst/>
            <a:gdLst>
              <a:gd name="connsiteX0" fmla="*/ 0 w 3681291"/>
              <a:gd name="connsiteY0" fmla="*/ 2756057 h 2760199"/>
              <a:gd name="connsiteX1" fmla="*/ 4143 w 3681291"/>
              <a:gd name="connsiteY1" fmla="*/ 2756057 h 2760199"/>
              <a:gd name="connsiteX2" fmla="*/ 4143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3 w 3681291"/>
              <a:gd name="connsiteY9" fmla="*/ 0 h 2760199"/>
              <a:gd name="connsiteX10" fmla="*/ 4143 w 3681291"/>
              <a:gd name="connsiteY10" fmla="*/ 4143 h 2760199"/>
              <a:gd name="connsiteX11" fmla="*/ 0 w 3681291"/>
              <a:gd name="connsiteY11" fmla="*/ 4143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3" y="2756057"/>
                </a:lnTo>
                <a:lnTo>
                  <a:pt x="4143" y="2760199"/>
                </a:lnTo>
                <a:lnTo>
                  <a:pt x="0" y="2760199"/>
                </a:lnTo>
                <a:close/>
                <a:moveTo>
                  <a:pt x="0" y="440325"/>
                </a:moveTo>
                <a:lnTo>
                  <a:pt x="3681291" y="440325"/>
                </a:lnTo>
                <a:lnTo>
                  <a:pt x="3681291" y="2478925"/>
                </a:lnTo>
                <a:lnTo>
                  <a:pt x="0" y="2478925"/>
                </a:lnTo>
                <a:close/>
                <a:moveTo>
                  <a:pt x="0" y="0"/>
                </a:moveTo>
                <a:lnTo>
                  <a:pt x="4143" y="0"/>
                </a:lnTo>
                <a:lnTo>
                  <a:pt x="4143" y="4143"/>
                </a:lnTo>
                <a:lnTo>
                  <a:pt x="0" y="4143"/>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a:t>Click icon to add a pre-designed</a:t>
            </a:r>
            <a:br>
              <a:rPr lang="en-US"/>
            </a:br>
            <a:r>
              <a:rPr lang="en-US"/>
              <a:t>ranking graphic</a:t>
            </a:r>
          </a:p>
        </p:txBody>
      </p:sp>
      <p:sp>
        <p:nvSpPr>
          <p:cNvPr id="87" name="Picture Placeholder 86">
            <a:extLst>
              <a:ext uri="{FF2B5EF4-FFF2-40B4-BE49-F238E27FC236}">
                <a16:creationId xmlns:a16="http://schemas.microsoft.com/office/drawing/2014/main" id="{267B3954-18CA-304B-9844-D22985629E24}"/>
              </a:ext>
            </a:extLst>
          </p:cNvPr>
          <p:cNvSpPr>
            <a:spLocks noGrp="1"/>
          </p:cNvSpPr>
          <p:nvPr>
            <p:ph type="pic" sz="quarter" idx="102" hasCustomPrompt="1"/>
          </p:nvPr>
        </p:nvSpPr>
        <p:spPr>
          <a:xfrm>
            <a:off x="6657993" y="744386"/>
            <a:ext cx="4173393" cy="3129173"/>
          </a:xfrm>
          <a:custGeom>
            <a:avLst/>
            <a:gdLst>
              <a:gd name="connsiteX0" fmla="*/ 0 w 3681291"/>
              <a:gd name="connsiteY0" fmla="*/ 2756057 h 2760199"/>
              <a:gd name="connsiteX1" fmla="*/ 4142 w 3681291"/>
              <a:gd name="connsiteY1" fmla="*/ 2756057 h 2760199"/>
              <a:gd name="connsiteX2" fmla="*/ 4142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2 w 3681291"/>
              <a:gd name="connsiteY9" fmla="*/ 0 h 2760199"/>
              <a:gd name="connsiteX10" fmla="*/ 4142 w 3681291"/>
              <a:gd name="connsiteY10" fmla="*/ 4143 h 2760199"/>
              <a:gd name="connsiteX11" fmla="*/ 0 w 3681291"/>
              <a:gd name="connsiteY11" fmla="*/ 4143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2" y="2756057"/>
                </a:lnTo>
                <a:lnTo>
                  <a:pt x="4142" y="2760199"/>
                </a:lnTo>
                <a:lnTo>
                  <a:pt x="0" y="2760199"/>
                </a:lnTo>
                <a:close/>
                <a:moveTo>
                  <a:pt x="0" y="440325"/>
                </a:moveTo>
                <a:lnTo>
                  <a:pt x="3681291" y="440325"/>
                </a:lnTo>
                <a:lnTo>
                  <a:pt x="3681291" y="2478925"/>
                </a:lnTo>
                <a:lnTo>
                  <a:pt x="0" y="2478925"/>
                </a:lnTo>
                <a:close/>
                <a:moveTo>
                  <a:pt x="0" y="0"/>
                </a:moveTo>
                <a:lnTo>
                  <a:pt x="4142" y="0"/>
                </a:lnTo>
                <a:lnTo>
                  <a:pt x="4142" y="4143"/>
                </a:lnTo>
                <a:lnTo>
                  <a:pt x="0" y="4143"/>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a:t>Click icon to add a pre-designed</a:t>
            </a:r>
            <a:br>
              <a:rPr lang="en-US"/>
            </a:br>
            <a:r>
              <a:rPr lang="en-US"/>
              <a:t>ranking graphic</a:t>
            </a:r>
          </a:p>
        </p:txBody>
      </p:sp>
      <p:sp>
        <p:nvSpPr>
          <p:cNvPr id="88" name="Picture Placeholder 87">
            <a:extLst>
              <a:ext uri="{FF2B5EF4-FFF2-40B4-BE49-F238E27FC236}">
                <a16:creationId xmlns:a16="http://schemas.microsoft.com/office/drawing/2014/main" id="{3DAF1DDF-1E1F-CB42-AF9F-306927902B18}"/>
              </a:ext>
            </a:extLst>
          </p:cNvPr>
          <p:cNvSpPr>
            <a:spLocks noGrp="1"/>
          </p:cNvSpPr>
          <p:nvPr>
            <p:ph type="pic" sz="quarter" idx="101" hasCustomPrompt="1"/>
          </p:nvPr>
        </p:nvSpPr>
        <p:spPr>
          <a:xfrm>
            <a:off x="1100246" y="3350349"/>
            <a:ext cx="4173393" cy="3129173"/>
          </a:xfrm>
          <a:custGeom>
            <a:avLst/>
            <a:gdLst>
              <a:gd name="connsiteX0" fmla="*/ 0 w 3681291"/>
              <a:gd name="connsiteY0" fmla="*/ 2756057 h 2760199"/>
              <a:gd name="connsiteX1" fmla="*/ 4143 w 3681291"/>
              <a:gd name="connsiteY1" fmla="*/ 2756057 h 2760199"/>
              <a:gd name="connsiteX2" fmla="*/ 4143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3 w 3681291"/>
              <a:gd name="connsiteY9" fmla="*/ 0 h 2760199"/>
              <a:gd name="connsiteX10" fmla="*/ 4143 w 3681291"/>
              <a:gd name="connsiteY10" fmla="*/ 4142 h 2760199"/>
              <a:gd name="connsiteX11" fmla="*/ 0 w 3681291"/>
              <a:gd name="connsiteY11" fmla="*/ 4142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3" y="2756057"/>
                </a:lnTo>
                <a:lnTo>
                  <a:pt x="4143" y="2760199"/>
                </a:lnTo>
                <a:lnTo>
                  <a:pt x="0" y="2760199"/>
                </a:lnTo>
                <a:close/>
                <a:moveTo>
                  <a:pt x="0" y="440325"/>
                </a:moveTo>
                <a:lnTo>
                  <a:pt x="3681291" y="440325"/>
                </a:lnTo>
                <a:lnTo>
                  <a:pt x="3681291" y="2478925"/>
                </a:lnTo>
                <a:lnTo>
                  <a:pt x="0" y="2478925"/>
                </a:lnTo>
                <a:close/>
                <a:moveTo>
                  <a:pt x="0" y="0"/>
                </a:moveTo>
                <a:lnTo>
                  <a:pt x="4143" y="0"/>
                </a:lnTo>
                <a:lnTo>
                  <a:pt x="4143" y="4142"/>
                </a:lnTo>
                <a:lnTo>
                  <a:pt x="0" y="4142"/>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a:t>Click icon to add a pre-designed</a:t>
            </a:r>
            <a:br>
              <a:rPr lang="en-US"/>
            </a:br>
            <a:r>
              <a:rPr lang="en-US"/>
              <a:t>ranking graphic</a:t>
            </a:r>
          </a:p>
        </p:txBody>
      </p:sp>
      <p:sp>
        <p:nvSpPr>
          <p:cNvPr id="89" name="Picture Placeholder 88">
            <a:extLst>
              <a:ext uri="{FF2B5EF4-FFF2-40B4-BE49-F238E27FC236}">
                <a16:creationId xmlns:a16="http://schemas.microsoft.com/office/drawing/2014/main" id="{32E33F12-5B48-F547-ABB9-866F04F1F903}"/>
              </a:ext>
            </a:extLst>
          </p:cNvPr>
          <p:cNvSpPr>
            <a:spLocks noGrp="1"/>
          </p:cNvSpPr>
          <p:nvPr>
            <p:ph type="pic" sz="quarter" idx="103" hasCustomPrompt="1"/>
          </p:nvPr>
        </p:nvSpPr>
        <p:spPr>
          <a:xfrm>
            <a:off x="6657993" y="3350349"/>
            <a:ext cx="4173393" cy="3129173"/>
          </a:xfrm>
          <a:custGeom>
            <a:avLst/>
            <a:gdLst>
              <a:gd name="connsiteX0" fmla="*/ 0 w 3681291"/>
              <a:gd name="connsiteY0" fmla="*/ 2756057 h 2760199"/>
              <a:gd name="connsiteX1" fmla="*/ 4142 w 3681291"/>
              <a:gd name="connsiteY1" fmla="*/ 2756057 h 2760199"/>
              <a:gd name="connsiteX2" fmla="*/ 4142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2 w 3681291"/>
              <a:gd name="connsiteY9" fmla="*/ 0 h 2760199"/>
              <a:gd name="connsiteX10" fmla="*/ 4142 w 3681291"/>
              <a:gd name="connsiteY10" fmla="*/ 4142 h 2760199"/>
              <a:gd name="connsiteX11" fmla="*/ 0 w 3681291"/>
              <a:gd name="connsiteY11" fmla="*/ 4142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2" y="2756057"/>
                </a:lnTo>
                <a:lnTo>
                  <a:pt x="4142" y="2760199"/>
                </a:lnTo>
                <a:lnTo>
                  <a:pt x="0" y="2760199"/>
                </a:lnTo>
                <a:close/>
                <a:moveTo>
                  <a:pt x="0" y="440325"/>
                </a:moveTo>
                <a:lnTo>
                  <a:pt x="3681291" y="440325"/>
                </a:lnTo>
                <a:lnTo>
                  <a:pt x="3681291" y="2478925"/>
                </a:lnTo>
                <a:lnTo>
                  <a:pt x="0" y="2478925"/>
                </a:lnTo>
                <a:close/>
                <a:moveTo>
                  <a:pt x="0" y="0"/>
                </a:moveTo>
                <a:lnTo>
                  <a:pt x="4142" y="0"/>
                </a:lnTo>
                <a:lnTo>
                  <a:pt x="4142" y="4142"/>
                </a:lnTo>
                <a:lnTo>
                  <a:pt x="0" y="4142"/>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a:t>Click icon to add a pre-designed</a:t>
            </a:r>
            <a:br>
              <a:rPr lang="en-US"/>
            </a:br>
            <a:r>
              <a:rPr lang="en-US"/>
              <a:t>ranking graphic</a:t>
            </a:r>
          </a:p>
        </p:txBody>
      </p:sp>
    </p:spTree>
    <p:extLst>
      <p:ext uri="{BB962C8B-B14F-4D97-AF65-F5344CB8AC3E}">
        <p14:creationId xmlns:p14="http://schemas.microsoft.com/office/powerpoint/2010/main" val="55017581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ext w/ Supporting Graphic (Righ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000" name="Footnotes Placeholder">
            <a:extLst>
              <a:ext uri="{FF2B5EF4-FFF2-40B4-BE49-F238E27FC236}">
                <a16:creationId xmlns:a16="http://schemas.microsoft.com/office/drawing/2014/main" id="{C191A018-C105-424B-88DC-E4B2664039C3}"/>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8" name="Date Placeholder 7">
            <a:extLst>
              <a:ext uri="{FF2B5EF4-FFF2-40B4-BE49-F238E27FC236}">
                <a16:creationId xmlns:a16="http://schemas.microsoft.com/office/drawing/2014/main" id="{2E70A2B7-CE2A-ED43-A309-9210649F358A}"/>
              </a:ext>
            </a:extLst>
          </p:cNvPr>
          <p:cNvSpPr>
            <a:spLocks noGrp="1"/>
          </p:cNvSpPr>
          <p:nvPr userDrawn="1">
            <p:ph type="dt" sz="half" idx="106"/>
          </p:nvPr>
        </p:nvSpPr>
        <p:spPr/>
        <p:txBody>
          <a:bodyPr/>
          <a:lstStyle/>
          <a:p>
            <a:endParaRPr lang="en-US"/>
          </a:p>
        </p:txBody>
      </p:sp>
      <p:sp>
        <p:nvSpPr>
          <p:cNvPr id="12" name="Footer Placeholder 11">
            <a:extLst>
              <a:ext uri="{FF2B5EF4-FFF2-40B4-BE49-F238E27FC236}">
                <a16:creationId xmlns:a16="http://schemas.microsoft.com/office/drawing/2014/main" id="{CD578981-DF62-9545-86D9-D47CA9B9AE76}"/>
              </a:ext>
            </a:extLst>
          </p:cNvPr>
          <p:cNvSpPr>
            <a:spLocks noGrp="1"/>
          </p:cNvSpPr>
          <p:nvPr userDrawn="1">
            <p:ph type="ftr" sz="quarter" idx="107"/>
          </p:nvPr>
        </p:nvSpPr>
        <p:spPr/>
        <p:txBody>
          <a:bodyPr/>
          <a:lstStyle/>
          <a:p>
            <a:endParaRPr lang="en-US"/>
          </a:p>
        </p:txBody>
      </p:sp>
      <p:sp>
        <p:nvSpPr>
          <p:cNvPr id="35" name="Slide Number Placeholder 34">
            <a:extLst>
              <a:ext uri="{FF2B5EF4-FFF2-40B4-BE49-F238E27FC236}">
                <a16:creationId xmlns:a16="http://schemas.microsoft.com/office/drawing/2014/main" id="{375449F1-602A-F648-BB75-81B7431F974E}"/>
              </a:ext>
            </a:extLst>
          </p:cNvPr>
          <p:cNvSpPr>
            <a:spLocks noGrp="1"/>
          </p:cNvSpPr>
          <p:nvPr userDrawn="1">
            <p:ph type="sldNum" sz="quarter" idx="108"/>
          </p:nvPr>
        </p:nvSpPr>
        <p:spPr/>
        <p:txBody>
          <a:bodyPr/>
          <a:lstStyle/>
          <a:p>
            <a:pPr marL="12700"/>
            <a:fld id="{078C017C-E1B9-8443-B047-B08AAA027B45}" type="slidenum">
              <a:rPr lang="en-US" smtClean="0"/>
              <a:pPr marL="12700"/>
              <a:t>‹#›</a:t>
            </a:fld>
            <a:endParaRPr lang="en-US"/>
          </a:p>
        </p:txBody>
      </p:sp>
      <p:sp>
        <p:nvSpPr>
          <p:cNvPr id="52" name="Text Placeholder 51">
            <a:extLst>
              <a:ext uri="{FF2B5EF4-FFF2-40B4-BE49-F238E27FC236}">
                <a16:creationId xmlns:a16="http://schemas.microsoft.com/office/drawing/2014/main" id="{32E619A7-2AA9-834A-95F7-C8972C8CA24E}"/>
              </a:ext>
            </a:extLst>
          </p:cNvPr>
          <p:cNvSpPr>
            <a:spLocks noGrp="1"/>
          </p:cNvSpPr>
          <p:nvPr>
            <p:ph type="body" sz="quarter" idx="109"/>
          </p:nvPr>
        </p:nvSpPr>
        <p:spPr>
          <a:xfrm>
            <a:off x="575733" y="1233489"/>
            <a:ext cx="5347200"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3" name="Text Placeholder 51">
            <a:extLst>
              <a:ext uri="{FF2B5EF4-FFF2-40B4-BE49-F238E27FC236}">
                <a16:creationId xmlns:a16="http://schemas.microsoft.com/office/drawing/2014/main" id="{B3C16F4A-5C29-7D42-B44A-AE0870C22033}"/>
              </a:ext>
            </a:extLst>
          </p:cNvPr>
          <p:cNvSpPr>
            <a:spLocks noGrp="1"/>
          </p:cNvSpPr>
          <p:nvPr>
            <p:ph type="body" sz="quarter" idx="110"/>
          </p:nvPr>
        </p:nvSpPr>
        <p:spPr>
          <a:xfrm>
            <a:off x="6269067" y="1233489"/>
            <a:ext cx="5347200" cy="7350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51" name="Group 50">
            <a:extLst>
              <a:ext uri="{FF2B5EF4-FFF2-40B4-BE49-F238E27FC236}">
                <a16:creationId xmlns:a16="http://schemas.microsoft.com/office/drawing/2014/main" id="{439DA4F8-9BFA-1543-833F-C395E53F03C5}"/>
              </a:ext>
            </a:extLst>
          </p:cNvPr>
          <p:cNvGrpSpPr/>
          <p:nvPr userDrawn="1"/>
        </p:nvGrpSpPr>
        <p:grpSpPr>
          <a:xfrm>
            <a:off x="12532242" y="-2"/>
            <a:ext cx="2996229" cy="9769405"/>
            <a:chOff x="9399182" y="-2"/>
            <a:chExt cx="2974470" cy="9769405"/>
          </a:xfrm>
        </p:grpSpPr>
        <p:sp>
          <p:nvSpPr>
            <p:cNvPr id="54" name="Rectangle 53">
              <a:extLst>
                <a:ext uri="{FF2B5EF4-FFF2-40B4-BE49-F238E27FC236}">
                  <a16:creationId xmlns:a16="http://schemas.microsoft.com/office/drawing/2014/main" id="{6B93FAD8-1ABE-8A4B-99DB-5688A1F2FCF4}"/>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55" name="Picture 54">
              <a:extLst>
                <a:ext uri="{FF2B5EF4-FFF2-40B4-BE49-F238E27FC236}">
                  <a16:creationId xmlns:a16="http://schemas.microsoft.com/office/drawing/2014/main" id="{9A844FD7-28C9-684C-8754-5CC8523344A8}"/>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6" name="Group 55">
              <a:extLst>
                <a:ext uri="{FF2B5EF4-FFF2-40B4-BE49-F238E27FC236}">
                  <a16:creationId xmlns:a16="http://schemas.microsoft.com/office/drawing/2014/main" id="{755AFA76-AD18-3D47-851A-F91F6F1DD6C4}"/>
                </a:ext>
              </a:extLst>
            </p:cNvPr>
            <p:cNvGrpSpPr/>
            <p:nvPr userDrawn="1"/>
          </p:nvGrpSpPr>
          <p:grpSpPr>
            <a:xfrm>
              <a:off x="9541497" y="162442"/>
              <a:ext cx="2819400" cy="814510"/>
              <a:chOff x="-3644733" y="165205"/>
              <a:chExt cx="2819400" cy="814510"/>
            </a:xfrm>
          </p:grpSpPr>
          <p:sp>
            <p:nvSpPr>
              <p:cNvPr id="123" name="Rectangle 122">
                <a:extLst>
                  <a:ext uri="{FF2B5EF4-FFF2-40B4-BE49-F238E27FC236}">
                    <a16:creationId xmlns:a16="http://schemas.microsoft.com/office/drawing/2014/main" id="{C097B3FB-898A-AC42-B3E4-F5A08355AA01}"/>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24" name="TextBox 123">
                <a:extLst>
                  <a:ext uri="{FF2B5EF4-FFF2-40B4-BE49-F238E27FC236}">
                    <a16:creationId xmlns:a16="http://schemas.microsoft.com/office/drawing/2014/main" id="{B57B4B0D-B8A6-3741-B898-3B5B9621F809}"/>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25" name="Picture 124">
                <a:extLst>
                  <a:ext uri="{FF2B5EF4-FFF2-40B4-BE49-F238E27FC236}">
                    <a16:creationId xmlns:a16="http://schemas.microsoft.com/office/drawing/2014/main" id="{E334168C-A1EA-0045-904E-AD3D885667B5}"/>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57" name="Group 56">
              <a:extLst>
                <a:ext uri="{FF2B5EF4-FFF2-40B4-BE49-F238E27FC236}">
                  <a16:creationId xmlns:a16="http://schemas.microsoft.com/office/drawing/2014/main" id="{6AC4EB5C-A373-3142-A895-73AFE767A8C7}"/>
                </a:ext>
              </a:extLst>
            </p:cNvPr>
            <p:cNvGrpSpPr/>
            <p:nvPr userDrawn="1"/>
          </p:nvGrpSpPr>
          <p:grpSpPr>
            <a:xfrm>
              <a:off x="9521833" y="3755578"/>
              <a:ext cx="2754815" cy="6013825"/>
              <a:chOff x="9521833" y="2566288"/>
              <a:chExt cx="2754815" cy="6013825"/>
            </a:xfrm>
          </p:grpSpPr>
          <p:sp>
            <p:nvSpPr>
              <p:cNvPr id="68" name="TextBox 67">
                <a:extLst>
                  <a:ext uri="{FF2B5EF4-FFF2-40B4-BE49-F238E27FC236}">
                    <a16:creationId xmlns:a16="http://schemas.microsoft.com/office/drawing/2014/main" id="{CEA72FE0-5163-5647-91EF-188D43828BD3}"/>
                  </a:ext>
                </a:extLst>
              </p:cNvPr>
              <p:cNvSpPr txBox="1"/>
              <p:nvPr userDrawn="1"/>
            </p:nvSpPr>
            <p:spPr>
              <a:xfrm>
                <a:off x="9558507" y="256628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69" name="Straight Connector 68">
                <a:extLst>
                  <a:ext uri="{FF2B5EF4-FFF2-40B4-BE49-F238E27FC236}">
                    <a16:creationId xmlns:a16="http://schemas.microsoft.com/office/drawing/2014/main" id="{23870F40-EB02-D74F-9098-6F2F12C985CB}"/>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8AE3F8FE-C399-5943-9055-76BEAA6F1E25}"/>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71" name="Group 70">
                <a:extLst>
                  <a:ext uri="{FF2B5EF4-FFF2-40B4-BE49-F238E27FC236}">
                    <a16:creationId xmlns:a16="http://schemas.microsoft.com/office/drawing/2014/main" id="{4F7E5367-61BA-0844-A18D-6E243A611B23}"/>
                  </a:ext>
                </a:extLst>
              </p:cNvPr>
              <p:cNvGrpSpPr/>
              <p:nvPr userDrawn="1"/>
            </p:nvGrpSpPr>
            <p:grpSpPr>
              <a:xfrm>
                <a:off x="9541497" y="7168798"/>
                <a:ext cx="2735151" cy="1411315"/>
                <a:chOff x="9296567" y="4910411"/>
                <a:chExt cx="2735151" cy="1411315"/>
              </a:xfrm>
            </p:grpSpPr>
            <p:sp>
              <p:nvSpPr>
                <p:cNvPr id="86" name="Rectangle 85">
                  <a:extLst>
                    <a:ext uri="{FF2B5EF4-FFF2-40B4-BE49-F238E27FC236}">
                      <a16:creationId xmlns:a16="http://schemas.microsoft.com/office/drawing/2014/main" id="{B7AB5EF7-7C57-6842-8895-9E22B85B7ACE}"/>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18" name="TextBox 117">
                  <a:extLst>
                    <a:ext uri="{FF2B5EF4-FFF2-40B4-BE49-F238E27FC236}">
                      <a16:creationId xmlns:a16="http://schemas.microsoft.com/office/drawing/2014/main" id="{73AAC846-7BFB-DA44-8D2C-ECB3087FB0D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119" name="Graphic 118">
                  <a:extLst>
                    <a:ext uri="{FF2B5EF4-FFF2-40B4-BE49-F238E27FC236}">
                      <a16:creationId xmlns:a16="http://schemas.microsoft.com/office/drawing/2014/main" id="{3D419284-D2BF-524C-9A3C-343AEBFCB80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20" name="TextBox 119">
                  <a:extLst>
                    <a:ext uri="{FF2B5EF4-FFF2-40B4-BE49-F238E27FC236}">
                      <a16:creationId xmlns:a16="http://schemas.microsoft.com/office/drawing/2014/main" id="{ACB24C4B-2C93-3D41-91B0-90484A6DE11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21" name="TextBox 120">
                  <a:extLst>
                    <a:ext uri="{FF2B5EF4-FFF2-40B4-BE49-F238E27FC236}">
                      <a16:creationId xmlns:a16="http://schemas.microsoft.com/office/drawing/2014/main" id="{6DC0F23D-3334-F945-BE8F-138CCFB269C5}"/>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22" name="TextBox 121">
                  <a:extLst>
                    <a:ext uri="{FF2B5EF4-FFF2-40B4-BE49-F238E27FC236}">
                      <a16:creationId xmlns:a16="http://schemas.microsoft.com/office/drawing/2014/main" id="{DF879D9E-3B5F-5346-BC23-2A7421B948CB}"/>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72" name="Group 71">
                <a:extLst>
                  <a:ext uri="{FF2B5EF4-FFF2-40B4-BE49-F238E27FC236}">
                    <a16:creationId xmlns:a16="http://schemas.microsoft.com/office/drawing/2014/main" id="{806D7B6A-4525-CB4E-BEDE-27DFFFC9F273}"/>
                  </a:ext>
                </a:extLst>
              </p:cNvPr>
              <p:cNvGrpSpPr/>
              <p:nvPr userDrawn="1"/>
            </p:nvGrpSpPr>
            <p:grpSpPr>
              <a:xfrm>
                <a:off x="9541497" y="5812142"/>
                <a:ext cx="2735151" cy="1280928"/>
                <a:chOff x="9286315" y="6976989"/>
                <a:chExt cx="2735151" cy="1280928"/>
              </a:xfrm>
            </p:grpSpPr>
            <p:sp>
              <p:nvSpPr>
                <p:cNvPr id="81" name="Rectangle 80">
                  <a:extLst>
                    <a:ext uri="{FF2B5EF4-FFF2-40B4-BE49-F238E27FC236}">
                      <a16:creationId xmlns:a16="http://schemas.microsoft.com/office/drawing/2014/main" id="{3112B5BF-3EA7-EA4E-9AAA-8D3A2CCACF6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2" name="TextBox 81">
                  <a:extLst>
                    <a:ext uri="{FF2B5EF4-FFF2-40B4-BE49-F238E27FC236}">
                      <a16:creationId xmlns:a16="http://schemas.microsoft.com/office/drawing/2014/main" id="{86F17A0C-8BDE-2B4F-8AFF-BF237CA89922}"/>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83" name="Graphic 82">
                  <a:extLst>
                    <a:ext uri="{FF2B5EF4-FFF2-40B4-BE49-F238E27FC236}">
                      <a16:creationId xmlns:a16="http://schemas.microsoft.com/office/drawing/2014/main" id="{E28C0A14-C0E0-DB4A-8A0E-0D823458A51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4" name="TextBox 83">
                  <a:extLst>
                    <a:ext uri="{FF2B5EF4-FFF2-40B4-BE49-F238E27FC236}">
                      <a16:creationId xmlns:a16="http://schemas.microsoft.com/office/drawing/2014/main" id="{4FEAEE44-7C52-1F4B-A920-A8BD040EFC7B}"/>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85" name="Picture 84">
                  <a:extLst>
                    <a:ext uri="{FF2B5EF4-FFF2-40B4-BE49-F238E27FC236}">
                      <a16:creationId xmlns:a16="http://schemas.microsoft.com/office/drawing/2014/main" id="{61D39635-4EFC-EB4F-A621-556285D7CB3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3" name="Group 72">
                <a:extLst>
                  <a:ext uri="{FF2B5EF4-FFF2-40B4-BE49-F238E27FC236}">
                    <a16:creationId xmlns:a16="http://schemas.microsoft.com/office/drawing/2014/main" id="{CCE30F03-6ECE-1648-965A-6C4E47AAC40C}"/>
                  </a:ext>
                </a:extLst>
              </p:cNvPr>
              <p:cNvGrpSpPr/>
              <p:nvPr userDrawn="1"/>
            </p:nvGrpSpPr>
            <p:grpSpPr>
              <a:xfrm>
                <a:off x="9521833" y="2891408"/>
                <a:ext cx="2617883" cy="651460"/>
                <a:chOff x="12352022" y="513115"/>
                <a:chExt cx="2617883" cy="651460"/>
              </a:xfrm>
            </p:grpSpPr>
            <p:sp>
              <p:nvSpPr>
                <p:cNvPr id="78" name="TextBox 77">
                  <a:extLst>
                    <a:ext uri="{FF2B5EF4-FFF2-40B4-BE49-F238E27FC236}">
                      <a16:creationId xmlns:a16="http://schemas.microsoft.com/office/drawing/2014/main" id="{1BFE1CF6-1371-7949-8C81-E85AE3364C6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79" name="TextBox 78">
                  <a:extLst>
                    <a:ext uri="{FF2B5EF4-FFF2-40B4-BE49-F238E27FC236}">
                      <a16:creationId xmlns:a16="http://schemas.microsoft.com/office/drawing/2014/main" id="{E7065FCA-7D52-954D-951B-AFFF617AC36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80" name="TextBox 79">
                  <a:extLst>
                    <a:ext uri="{FF2B5EF4-FFF2-40B4-BE49-F238E27FC236}">
                      <a16:creationId xmlns:a16="http://schemas.microsoft.com/office/drawing/2014/main" id="{9F81720C-5B88-6747-92DE-B4CC8D593A59}"/>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Select and download images from the Marketing Resource Database.</a:t>
                  </a:r>
                </a:p>
                <a:p>
                  <a:pPr lvl="0"/>
                  <a:r>
                    <a:rPr lang="en-US" sz="1050"/>
                    <a:t>Add the image to the placeholder.</a:t>
                  </a:r>
                </a:p>
              </p:txBody>
            </p:sp>
          </p:grpSp>
          <p:sp>
            <p:nvSpPr>
              <p:cNvPr id="74" name="TextBox 73">
                <a:extLst>
                  <a:ext uri="{FF2B5EF4-FFF2-40B4-BE49-F238E27FC236}">
                    <a16:creationId xmlns:a16="http://schemas.microsoft.com/office/drawing/2014/main" id="{C66E677C-F59F-234E-94B8-5E68549A3A91}"/>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75" name="TextBox 74">
                <a:extLst>
                  <a:ext uri="{FF2B5EF4-FFF2-40B4-BE49-F238E27FC236}">
                    <a16:creationId xmlns:a16="http://schemas.microsoft.com/office/drawing/2014/main" id="{CA900B32-800E-3A4E-AD5E-D6F78E897FB7}"/>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76" name="TextBox 75">
                <a:extLst>
                  <a:ext uri="{FF2B5EF4-FFF2-40B4-BE49-F238E27FC236}">
                    <a16:creationId xmlns:a16="http://schemas.microsoft.com/office/drawing/2014/main" id="{4C3215A6-2653-8046-96BD-835DEB1396EC}"/>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77" name="TextBox 76">
                <a:extLst>
                  <a:ext uri="{FF2B5EF4-FFF2-40B4-BE49-F238E27FC236}">
                    <a16:creationId xmlns:a16="http://schemas.microsoft.com/office/drawing/2014/main" id="{4C82AA2D-B8C0-024B-860E-F3632B97576C}"/>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sp>
          <p:nvSpPr>
            <p:cNvPr id="58" name="TextBox 57">
              <a:extLst>
                <a:ext uri="{FF2B5EF4-FFF2-40B4-BE49-F238E27FC236}">
                  <a16:creationId xmlns:a16="http://schemas.microsoft.com/office/drawing/2014/main" id="{370B81F6-838F-D747-95BA-4C229DAF5126}"/>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59" name="Straight Connector 58">
              <a:extLst>
                <a:ext uri="{FF2B5EF4-FFF2-40B4-BE49-F238E27FC236}">
                  <a16:creationId xmlns:a16="http://schemas.microsoft.com/office/drawing/2014/main" id="{CB220E15-3482-4F41-A26F-2953EA355B4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515E1C38-696D-EF44-A4BC-68688B6A2140}"/>
                </a:ext>
              </a:extLst>
            </p:cNvPr>
            <p:cNvGrpSpPr/>
            <p:nvPr userDrawn="1"/>
          </p:nvGrpSpPr>
          <p:grpSpPr>
            <a:xfrm>
              <a:off x="9554253" y="2414886"/>
              <a:ext cx="2819399" cy="1181890"/>
              <a:chOff x="9541498" y="3352649"/>
              <a:chExt cx="2819399" cy="1181890"/>
            </a:xfrm>
          </p:grpSpPr>
          <p:grpSp>
            <p:nvGrpSpPr>
              <p:cNvPr id="61" name="Group 60">
                <a:extLst>
                  <a:ext uri="{FF2B5EF4-FFF2-40B4-BE49-F238E27FC236}">
                    <a16:creationId xmlns:a16="http://schemas.microsoft.com/office/drawing/2014/main" id="{BA17E685-1C3A-5D40-866A-F707A720ED89}"/>
                  </a:ext>
                </a:extLst>
              </p:cNvPr>
              <p:cNvGrpSpPr/>
              <p:nvPr userDrawn="1"/>
            </p:nvGrpSpPr>
            <p:grpSpPr>
              <a:xfrm>
                <a:off x="9541498" y="3352649"/>
                <a:ext cx="2735150" cy="1181890"/>
                <a:chOff x="9541498" y="3751132"/>
                <a:chExt cx="2735150" cy="1181890"/>
              </a:xfrm>
            </p:grpSpPr>
            <p:grpSp>
              <p:nvGrpSpPr>
                <p:cNvPr id="63" name="Group 62">
                  <a:extLst>
                    <a:ext uri="{FF2B5EF4-FFF2-40B4-BE49-F238E27FC236}">
                      <a16:creationId xmlns:a16="http://schemas.microsoft.com/office/drawing/2014/main" id="{708B5411-EB9C-DE44-A78A-CB78C658CE4F}"/>
                    </a:ext>
                  </a:extLst>
                </p:cNvPr>
                <p:cNvGrpSpPr/>
                <p:nvPr userDrawn="1"/>
              </p:nvGrpSpPr>
              <p:grpSpPr>
                <a:xfrm>
                  <a:off x="9541498" y="3751132"/>
                  <a:ext cx="2735150" cy="1181890"/>
                  <a:chOff x="9296568" y="4910411"/>
                  <a:chExt cx="2735150" cy="1181890"/>
                </a:xfrm>
              </p:grpSpPr>
              <p:sp>
                <p:nvSpPr>
                  <p:cNvPr id="65" name="Rectangle 64">
                    <a:extLst>
                      <a:ext uri="{FF2B5EF4-FFF2-40B4-BE49-F238E27FC236}">
                        <a16:creationId xmlns:a16="http://schemas.microsoft.com/office/drawing/2014/main" id="{100AB9A3-51FF-BC40-B7CC-8EE421C3F661}"/>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6" name="TextBox 65">
                    <a:extLst>
                      <a:ext uri="{FF2B5EF4-FFF2-40B4-BE49-F238E27FC236}">
                        <a16:creationId xmlns:a16="http://schemas.microsoft.com/office/drawing/2014/main" id="{2C58CAD7-CFE6-3E47-9821-B56722BF0476}"/>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67" name="TextBox 66">
                    <a:extLst>
                      <a:ext uri="{FF2B5EF4-FFF2-40B4-BE49-F238E27FC236}">
                        <a16:creationId xmlns:a16="http://schemas.microsoft.com/office/drawing/2014/main" id="{27700D65-D0AA-CC46-A945-F26784AD6A6A}"/>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4" name="Graphic 63">
                  <a:extLst>
                    <a:ext uri="{FF2B5EF4-FFF2-40B4-BE49-F238E27FC236}">
                      <a16:creationId xmlns:a16="http://schemas.microsoft.com/office/drawing/2014/main" id="{C2A770D0-9E7E-A948-806C-6BFD3E5A41B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62" name="Picture 61">
                <a:extLst>
                  <a:ext uri="{FF2B5EF4-FFF2-40B4-BE49-F238E27FC236}">
                    <a16:creationId xmlns:a16="http://schemas.microsoft.com/office/drawing/2014/main" id="{8385943A-95B3-1445-B5C9-27F30D8DF83D}"/>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
        <p:nvSpPr>
          <p:cNvPr id="87" name="Picture Placeholder 7">
            <a:extLst>
              <a:ext uri="{FF2B5EF4-FFF2-40B4-BE49-F238E27FC236}">
                <a16:creationId xmlns:a16="http://schemas.microsoft.com/office/drawing/2014/main" id="{353CB43E-9690-CC4F-8FAB-75EB32F17B33}"/>
              </a:ext>
            </a:extLst>
          </p:cNvPr>
          <p:cNvSpPr>
            <a:spLocks noGrp="1"/>
          </p:cNvSpPr>
          <p:nvPr>
            <p:ph type="pic" sz="quarter" idx="14" hasCustomPrompt="1"/>
          </p:nvPr>
        </p:nvSpPr>
        <p:spPr>
          <a:xfrm>
            <a:off x="6267852" y="2154652"/>
            <a:ext cx="5348415" cy="4011199"/>
          </a:xfrm>
          <a:solidFill>
            <a:srgbClr val="E8F3FD"/>
          </a:solidFill>
        </p:spPr>
        <p:txBody>
          <a:bodyPr anchor="ctr"/>
          <a:lstStyle>
            <a:lvl1pPr algn="ctr">
              <a:defRPr b="0">
                <a:solidFill>
                  <a:schemeClr val="tx1">
                    <a:lumMod val="50000"/>
                    <a:lumOff val="50000"/>
                  </a:schemeClr>
                </a:solidFill>
              </a:defRPr>
            </a:lvl1pPr>
          </a:lstStyle>
          <a:p>
            <a:r>
              <a:rPr lang="en-US"/>
              <a:t>Click icon to add a supporting</a:t>
            </a:r>
            <a:br>
              <a:rPr lang="en-US"/>
            </a:br>
            <a:r>
              <a:rPr lang="en-US"/>
              <a:t>graphic from the MRD</a:t>
            </a:r>
          </a:p>
        </p:txBody>
      </p:sp>
    </p:spTree>
    <p:extLst>
      <p:ext uri="{BB962C8B-B14F-4D97-AF65-F5344CB8AC3E}">
        <p14:creationId xmlns:p14="http://schemas.microsoft.com/office/powerpoint/2010/main" val="28373173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Plain, Team Virginia)">
    <p:bg>
      <p:bgPr>
        <a:solidFill>
          <a:schemeClr val="bg1"/>
        </a:solidFill>
        <a:effectLst/>
      </p:bgPr>
    </p:bg>
    <p:spTree>
      <p:nvGrpSpPr>
        <p:cNvPr id="1" name=""/>
        <p:cNvGrpSpPr/>
        <p:nvPr/>
      </p:nvGrpSpPr>
      <p:grpSpPr>
        <a:xfrm>
          <a:off x="0" y="0"/>
          <a:ext cx="0" cy="0"/>
          <a:chOff x="0" y="0"/>
          <a:chExt cx="0" cy="0"/>
        </a:xfrm>
      </p:grpSpPr>
      <p:sp>
        <p:nvSpPr>
          <p:cNvPr id="20" name="Title 7">
            <a:extLst>
              <a:ext uri="{FF2B5EF4-FFF2-40B4-BE49-F238E27FC236}">
                <a16:creationId xmlns:a16="http://schemas.microsoft.com/office/drawing/2014/main" id="{2E4EC4B7-9921-7546-93EE-893BF867304E}"/>
              </a:ext>
            </a:extLst>
          </p:cNvPr>
          <p:cNvSpPr>
            <a:spLocks noGrp="1"/>
          </p:cNvSpPr>
          <p:nvPr>
            <p:ph type="title" hasCustomPrompt="1"/>
          </p:nvPr>
        </p:nvSpPr>
        <p:spPr>
          <a:xfrm>
            <a:off x="575734" y="2357718"/>
            <a:ext cx="9993969" cy="1443370"/>
          </a:xfrm>
        </p:spPr>
        <p:txBody>
          <a:bodyPr anchor="ctr"/>
          <a:lstStyle>
            <a:lvl1pPr>
              <a:defRPr sz="3600">
                <a:solidFill>
                  <a:schemeClr val="accent1"/>
                </a:solidFill>
              </a:defRPr>
            </a:lvl1pPr>
          </a:lstStyle>
          <a:p>
            <a:pPr lvl="0"/>
            <a:r>
              <a:rPr lang="en-US"/>
              <a:t>CLICK TO EDIT PRESENTATION TITLE. ALL CAPS. TWO LINES.</a:t>
            </a:r>
          </a:p>
        </p:txBody>
      </p:sp>
      <p:sp>
        <p:nvSpPr>
          <p:cNvPr id="21" name="Text Placeholder 2">
            <a:extLst>
              <a:ext uri="{FF2B5EF4-FFF2-40B4-BE49-F238E27FC236}">
                <a16:creationId xmlns:a16="http://schemas.microsoft.com/office/drawing/2014/main" id="{CBD7F296-7577-D048-B37A-792AA8CDED6B}"/>
              </a:ext>
            </a:extLst>
          </p:cNvPr>
          <p:cNvSpPr>
            <a:spLocks noGrp="1"/>
          </p:cNvSpPr>
          <p:nvPr>
            <p:ph type="body" sz="quarter" idx="27" hasCustomPrompt="1"/>
          </p:nvPr>
        </p:nvSpPr>
        <p:spPr>
          <a:xfrm>
            <a:off x="575734" y="3813061"/>
            <a:ext cx="4417905" cy="364145"/>
          </a:xfrm>
        </p:spPr>
        <p:txBody>
          <a:bodyPr anchor="ctr"/>
          <a:lstStyle>
            <a:lvl1pPr marL="9525" indent="0">
              <a:buFontTx/>
              <a:buNone/>
              <a:tabLst/>
              <a:defRPr sz="1400" b="0">
                <a:solidFill>
                  <a:srgbClr val="494848"/>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a:t>Click to add date (Month DD, YYYY)</a:t>
            </a:r>
          </a:p>
        </p:txBody>
      </p:sp>
      <p:pic>
        <p:nvPicPr>
          <p:cNvPr id="22" name="Graphic 6">
            <a:extLst>
              <a:ext uri="{FF2B5EF4-FFF2-40B4-BE49-F238E27FC236}">
                <a16:creationId xmlns:a16="http://schemas.microsoft.com/office/drawing/2014/main" id="{70287834-F6B6-5348-96B2-DC0931057AB3}"/>
              </a:ext>
            </a:extLst>
          </p:cNvPr>
          <p:cNvPicPr>
            <a:picLocks noChangeAspect="1"/>
          </p:cNvPicPr>
          <p:nvPr userDrawn="1"/>
        </p:nvPicPr>
        <p:blipFill>
          <a:blip r:embed="rId2"/>
          <a:srcRect/>
          <a:stretch/>
        </p:blipFill>
        <p:spPr>
          <a:xfrm>
            <a:off x="575734" y="5985905"/>
            <a:ext cx="2576576" cy="425520"/>
          </a:xfrm>
          <a:prstGeom prst="rect">
            <a:avLst/>
          </a:prstGeom>
        </p:spPr>
      </p:pic>
      <p:grpSp>
        <p:nvGrpSpPr>
          <p:cNvPr id="23" name="Group 22">
            <a:extLst>
              <a:ext uri="{FF2B5EF4-FFF2-40B4-BE49-F238E27FC236}">
                <a16:creationId xmlns:a16="http://schemas.microsoft.com/office/drawing/2014/main" id="{CACDBCF1-B95F-5C4E-84B4-7428CBBE723F}"/>
              </a:ext>
            </a:extLst>
          </p:cNvPr>
          <p:cNvGrpSpPr/>
          <p:nvPr userDrawn="1"/>
        </p:nvGrpSpPr>
        <p:grpSpPr>
          <a:xfrm>
            <a:off x="-266701" y="2662815"/>
            <a:ext cx="266701" cy="1540292"/>
            <a:chOff x="-266701" y="2662815"/>
            <a:chExt cx="266701" cy="1540292"/>
          </a:xfrm>
        </p:grpSpPr>
        <p:grpSp>
          <p:nvGrpSpPr>
            <p:cNvPr id="41" name="Group 40">
              <a:extLst>
                <a:ext uri="{FF2B5EF4-FFF2-40B4-BE49-F238E27FC236}">
                  <a16:creationId xmlns:a16="http://schemas.microsoft.com/office/drawing/2014/main" id="{1D055A76-A891-9F4D-9E36-B8B595990B2B}"/>
                </a:ext>
              </a:extLst>
            </p:cNvPr>
            <p:cNvGrpSpPr/>
            <p:nvPr userDrawn="1"/>
          </p:nvGrpSpPr>
          <p:grpSpPr>
            <a:xfrm>
              <a:off x="-266701" y="2662815"/>
              <a:ext cx="259365" cy="803868"/>
              <a:chOff x="-256404" y="360363"/>
              <a:chExt cx="251461" cy="692152"/>
            </a:xfrm>
          </p:grpSpPr>
          <p:grpSp>
            <p:nvGrpSpPr>
              <p:cNvPr id="48" name="Group 47">
                <a:extLst>
                  <a:ext uri="{FF2B5EF4-FFF2-40B4-BE49-F238E27FC236}">
                    <a16:creationId xmlns:a16="http://schemas.microsoft.com/office/drawing/2014/main" id="{EE2E769F-76CF-6144-AA83-682930485B95}"/>
                  </a:ext>
                </a:extLst>
              </p:cNvPr>
              <p:cNvGrpSpPr/>
              <p:nvPr userDrawn="1"/>
            </p:nvGrpSpPr>
            <p:grpSpPr>
              <a:xfrm rot="16200000">
                <a:off x="-476749" y="580708"/>
                <a:ext cx="692152" cy="251461"/>
                <a:chOff x="431800" y="-235792"/>
                <a:chExt cx="4400551" cy="235792"/>
              </a:xfrm>
            </p:grpSpPr>
            <p:cxnSp>
              <p:nvCxnSpPr>
                <p:cNvPr id="50" name="Straight Connector 49">
                  <a:extLst>
                    <a:ext uri="{FF2B5EF4-FFF2-40B4-BE49-F238E27FC236}">
                      <a16:creationId xmlns:a16="http://schemas.microsoft.com/office/drawing/2014/main" id="{D0EE5D78-3817-4840-B72B-00A80084B3D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0A37FA80-31C1-D947-8C2C-706FF10A0064}"/>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2" name="Rectangle 51">
                  <a:extLst>
                    <a:ext uri="{FF2B5EF4-FFF2-40B4-BE49-F238E27FC236}">
                      <a16:creationId xmlns:a16="http://schemas.microsoft.com/office/drawing/2014/main" id="{59F03733-9088-6645-9C71-C261C5B0C532}"/>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49" name="TextBox 48">
                <a:extLst>
                  <a:ext uri="{FF2B5EF4-FFF2-40B4-BE49-F238E27FC236}">
                    <a16:creationId xmlns:a16="http://schemas.microsoft.com/office/drawing/2014/main" id="{2E8BDFF2-96E9-E246-8DC1-E68CDB059194}"/>
                  </a:ext>
                </a:extLst>
              </p:cNvPr>
              <p:cNvSpPr txBox="1"/>
              <p:nvPr userDrawn="1"/>
            </p:nvSpPr>
            <p:spPr>
              <a:xfrm rot="16200000">
                <a:off x="-235572" y="662665"/>
                <a:ext cx="209794"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ITLE</a:t>
                </a:r>
              </a:p>
            </p:txBody>
          </p:sp>
        </p:grpSp>
        <p:grpSp>
          <p:nvGrpSpPr>
            <p:cNvPr id="42" name="Group 41">
              <a:extLst>
                <a:ext uri="{FF2B5EF4-FFF2-40B4-BE49-F238E27FC236}">
                  <a16:creationId xmlns:a16="http://schemas.microsoft.com/office/drawing/2014/main" id="{D8233478-0987-8541-9CC6-220483FE0140}"/>
                </a:ext>
              </a:extLst>
            </p:cNvPr>
            <p:cNvGrpSpPr/>
            <p:nvPr userDrawn="1"/>
          </p:nvGrpSpPr>
          <p:grpSpPr>
            <a:xfrm>
              <a:off x="-251461" y="3788135"/>
              <a:ext cx="251461" cy="414972"/>
              <a:chOff x="-256404" y="360363"/>
              <a:chExt cx="251461" cy="692152"/>
            </a:xfrm>
          </p:grpSpPr>
          <p:grpSp>
            <p:nvGrpSpPr>
              <p:cNvPr id="43" name="Group 42">
                <a:extLst>
                  <a:ext uri="{FF2B5EF4-FFF2-40B4-BE49-F238E27FC236}">
                    <a16:creationId xmlns:a16="http://schemas.microsoft.com/office/drawing/2014/main" id="{E94DEFAA-6C0F-F34A-B227-E1F3A46420FA}"/>
                  </a:ext>
                </a:extLst>
              </p:cNvPr>
              <p:cNvGrpSpPr/>
              <p:nvPr userDrawn="1"/>
            </p:nvGrpSpPr>
            <p:grpSpPr>
              <a:xfrm rot="16200000">
                <a:off x="-476749" y="580708"/>
                <a:ext cx="692152" cy="251461"/>
                <a:chOff x="431800" y="-235792"/>
                <a:chExt cx="4400551" cy="235792"/>
              </a:xfrm>
            </p:grpSpPr>
            <p:cxnSp>
              <p:nvCxnSpPr>
                <p:cNvPr id="45" name="Straight Connector 44">
                  <a:extLst>
                    <a:ext uri="{FF2B5EF4-FFF2-40B4-BE49-F238E27FC236}">
                      <a16:creationId xmlns:a16="http://schemas.microsoft.com/office/drawing/2014/main" id="{70B286A2-0C3F-2346-82DC-AF65A62BDD7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67265F15-6361-604B-A346-F4414F7999E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7" name="Rectangle 46">
                  <a:extLst>
                    <a:ext uri="{FF2B5EF4-FFF2-40B4-BE49-F238E27FC236}">
                      <a16:creationId xmlns:a16="http://schemas.microsoft.com/office/drawing/2014/main" id="{A48B8082-5B2F-3B49-BBCD-8319BB4A2ED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44" name="TextBox 43">
                <a:extLst>
                  <a:ext uri="{FF2B5EF4-FFF2-40B4-BE49-F238E27FC236}">
                    <a16:creationId xmlns:a16="http://schemas.microsoft.com/office/drawing/2014/main" id="{398D26B0-1BFC-AA47-BB3E-5CEB3D2ECCF8}"/>
                  </a:ext>
                </a:extLst>
              </p:cNvPr>
              <p:cNvSpPr txBox="1"/>
              <p:nvPr userDrawn="1"/>
            </p:nvSpPr>
            <p:spPr>
              <a:xfrm rot="16200000">
                <a:off x="-328529" y="649200"/>
                <a:ext cx="395711" cy="10772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DATE</a:t>
                </a:r>
              </a:p>
            </p:txBody>
          </p:sp>
        </p:grpSp>
      </p:grpSp>
    </p:spTree>
    <p:extLst>
      <p:ext uri="{BB962C8B-B14F-4D97-AF65-F5344CB8AC3E}">
        <p14:creationId xmlns:p14="http://schemas.microsoft.com/office/powerpoint/2010/main" val="1703726354"/>
      </p:ext>
    </p:extLst>
  </p:cSld>
  <p:clrMapOvr>
    <a:masterClrMapping/>
  </p:clrMapOvr>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ext w/ Supporting Graphic (Lef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000" name="Footnotes Placeholder">
            <a:extLst>
              <a:ext uri="{FF2B5EF4-FFF2-40B4-BE49-F238E27FC236}">
                <a16:creationId xmlns:a16="http://schemas.microsoft.com/office/drawing/2014/main" id="{8A77B1E8-8952-D848-91B2-927E1D27FF9C}"/>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5" name="Date Placeholder 4">
            <a:extLst>
              <a:ext uri="{FF2B5EF4-FFF2-40B4-BE49-F238E27FC236}">
                <a16:creationId xmlns:a16="http://schemas.microsoft.com/office/drawing/2014/main" id="{E8245AA9-9EB0-A44D-9F6A-AE5544DD7AF4}"/>
              </a:ext>
            </a:extLst>
          </p:cNvPr>
          <p:cNvSpPr>
            <a:spLocks noGrp="1"/>
          </p:cNvSpPr>
          <p:nvPr>
            <p:ph type="dt" sz="half" idx="106"/>
          </p:nvPr>
        </p:nvSpPr>
        <p:spPr/>
        <p:txBody>
          <a:bodyPr/>
          <a:lstStyle/>
          <a:p>
            <a:endParaRPr lang="en-US"/>
          </a:p>
        </p:txBody>
      </p:sp>
      <p:sp>
        <p:nvSpPr>
          <p:cNvPr id="7" name="Footer Placeholder 6">
            <a:extLst>
              <a:ext uri="{FF2B5EF4-FFF2-40B4-BE49-F238E27FC236}">
                <a16:creationId xmlns:a16="http://schemas.microsoft.com/office/drawing/2014/main" id="{C076AD30-9E9D-AD46-8DB1-E1FA38235D98}"/>
              </a:ext>
            </a:extLst>
          </p:cNvPr>
          <p:cNvSpPr>
            <a:spLocks noGrp="1"/>
          </p:cNvSpPr>
          <p:nvPr>
            <p:ph type="ftr" sz="quarter" idx="107"/>
          </p:nvPr>
        </p:nvSpPr>
        <p:spPr/>
        <p:txBody>
          <a:bodyPr/>
          <a:lstStyle/>
          <a:p>
            <a:endParaRPr lang="en-US"/>
          </a:p>
        </p:txBody>
      </p:sp>
      <p:sp>
        <p:nvSpPr>
          <p:cNvPr id="8" name="Slide Number Placeholder 7">
            <a:extLst>
              <a:ext uri="{FF2B5EF4-FFF2-40B4-BE49-F238E27FC236}">
                <a16:creationId xmlns:a16="http://schemas.microsoft.com/office/drawing/2014/main" id="{341D4FA9-B8EC-024E-9A3B-D9D5C8888BDC}"/>
              </a:ext>
            </a:extLst>
          </p:cNvPr>
          <p:cNvSpPr>
            <a:spLocks noGrp="1"/>
          </p:cNvSpPr>
          <p:nvPr>
            <p:ph type="sldNum" sz="quarter" idx="108"/>
          </p:nvPr>
        </p:nvSpPr>
        <p:spPr/>
        <p:txBody>
          <a:bodyPr/>
          <a:lstStyle/>
          <a:p>
            <a:pPr marL="12700"/>
            <a:fld id="{078C017C-E1B9-8443-B047-B08AAA027B45}" type="slidenum">
              <a:rPr lang="en-US" smtClean="0"/>
              <a:pPr marL="12700"/>
              <a:t>‹#›</a:t>
            </a:fld>
            <a:endParaRPr lang="en-US"/>
          </a:p>
        </p:txBody>
      </p:sp>
      <p:sp>
        <p:nvSpPr>
          <p:cNvPr id="83" name="Text Placeholder 51">
            <a:extLst>
              <a:ext uri="{FF2B5EF4-FFF2-40B4-BE49-F238E27FC236}">
                <a16:creationId xmlns:a16="http://schemas.microsoft.com/office/drawing/2014/main" id="{9F65596F-ECB2-1345-91E2-F5F3E3B039BA}"/>
              </a:ext>
            </a:extLst>
          </p:cNvPr>
          <p:cNvSpPr>
            <a:spLocks noGrp="1"/>
          </p:cNvSpPr>
          <p:nvPr>
            <p:ph type="body" sz="quarter" idx="109"/>
          </p:nvPr>
        </p:nvSpPr>
        <p:spPr>
          <a:xfrm>
            <a:off x="575733" y="5432611"/>
            <a:ext cx="5347200" cy="73290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4" name="Text Placeholder 51">
            <a:extLst>
              <a:ext uri="{FF2B5EF4-FFF2-40B4-BE49-F238E27FC236}">
                <a16:creationId xmlns:a16="http://schemas.microsoft.com/office/drawing/2014/main" id="{7E8C46CA-959B-CA4A-8775-B431C35E84F3}"/>
              </a:ext>
            </a:extLst>
          </p:cNvPr>
          <p:cNvSpPr>
            <a:spLocks noGrp="1"/>
          </p:cNvSpPr>
          <p:nvPr>
            <p:ph type="body" sz="quarter" idx="110"/>
          </p:nvPr>
        </p:nvSpPr>
        <p:spPr>
          <a:xfrm>
            <a:off x="6269067" y="1233489"/>
            <a:ext cx="5347200" cy="49323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5" name="Picture Placeholder 7">
            <a:extLst>
              <a:ext uri="{FF2B5EF4-FFF2-40B4-BE49-F238E27FC236}">
                <a16:creationId xmlns:a16="http://schemas.microsoft.com/office/drawing/2014/main" id="{AB2069B6-C720-654D-9923-3FC6822958E1}"/>
              </a:ext>
            </a:extLst>
          </p:cNvPr>
          <p:cNvSpPr>
            <a:spLocks noGrp="1"/>
          </p:cNvSpPr>
          <p:nvPr>
            <p:ph type="pic" sz="quarter" idx="14" hasCustomPrompt="1"/>
          </p:nvPr>
        </p:nvSpPr>
        <p:spPr>
          <a:xfrm>
            <a:off x="576263" y="1233488"/>
            <a:ext cx="5346670" cy="4009890"/>
          </a:xfrm>
          <a:solidFill>
            <a:srgbClr val="E8F3FD"/>
          </a:solidFill>
        </p:spPr>
        <p:txBody>
          <a:bodyPr anchor="ctr"/>
          <a:lstStyle>
            <a:lvl1pPr algn="ctr">
              <a:defRPr b="0">
                <a:solidFill>
                  <a:schemeClr val="tx1">
                    <a:lumMod val="50000"/>
                    <a:lumOff val="50000"/>
                  </a:schemeClr>
                </a:solidFill>
              </a:defRPr>
            </a:lvl1pPr>
          </a:lstStyle>
          <a:p>
            <a:r>
              <a:rPr lang="en-US"/>
              <a:t>Click icon to add a supporting</a:t>
            </a:r>
            <a:br>
              <a:rPr lang="en-US"/>
            </a:br>
            <a:r>
              <a:rPr lang="en-US"/>
              <a:t>graphic from the MRD</a:t>
            </a:r>
          </a:p>
        </p:txBody>
      </p:sp>
      <p:grpSp>
        <p:nvGrpSpPr>
          <p:cNvPr id="86" name="Group 85">
            <a:extLst>
              <a:ext uri="{FF2B5EF4-FFF2-40B4-BE49-F238E27FC236}">
                <a16:creationId xmlns:a16="http://schemas.microsoft.com/office/drawing/2014/main" id="{A3352F7B-6BDB-6141-80C3-ED3F2195C764}"/>
              </a:ext>
            </a:extLst>
          </p:cNvPr>
          <p:cNvGrpSpPr/>
          <p:nvPr userDrawn="1"/>
        </p:nvGrpSpPr>
        <p:grpSpPr>
          <a:xfrm>
            <a:off x="12532242" y="-2"/>
            <a:ext cx="2996229" cy="9769405"/>
            <a:chOff x="9399182" y="-2"/>
            <a:chExt cx="2974470" cy="9769405"/>
          </a:xfrm>
        </p:grpSpPr>
        <p:sp>
          <p:nvSpPr>
            <p:cNvPr id="87" name="Rectangle 86">
              <a:extLst>
                <a:ext uri="{FF2B5EF4-FFF2-40B4-BE49-F238E27FC236}">
                  <a16:creationId xmlns:a16="http://schemas.microsoft.com/office/drawing/2014/main" id="{C5EF3968-08FE-0341-A7EF-F5AC475080A7}"/>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88" name="Picture 87">
              <a:extLst>
                <a:ext uri="{FF2B5EF4-FFF2-40B4-BE49-F238E27FC236}">
                  <a16:creationId xmlns:a16="http://schemas.microsoft.com/office/drawing/2014/main" id="{23E199A1-214E-9543-BD85-A1C2A64ED3A6}"/>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89" name="Group 88">
              <a:extLst>
                <a:ext uri="{FF2B5EF4-FFF2-40B4-BE49-F238E27FC236}">
                  <a16:creationId xmlns:a16="http://schemas.microsoft.com/office/drawing/2014/main" id="{66C64C75-2045-0845-AFDF-DB9A0990ED6F}"/>
                </a:ext>
              </a:extLst>
            </p:cNvPr>
            <p:cNvGrpSpPr/>
            <p:nvPr userDrawn="1"/>
          </p:nvGrpSpPr>
          <p:grpSpPr>
            <a:xfrm>
              <a:off x="9541497" y="162442"/>
              <a:ext cx="2819400" cy="814510"/>
              <a:chOff x="-3644733" y="165205"/>
              <a:chExt cx="2819400" cy="814510"/>
            </a:xfrm>
          </p:grpSpPr>
          <p:sp>
            <p:nvSpPr>
              <p:cNvPr id="133" name="Rectangle 132">
                <a:extLst>
                  <a:ext uri="{FF2B5EF4-FFF2-40B4-BE49-F238E27FC236}">
                    <a16:creationId xmlns:a16="http://schemas.microsoft.com/office/drawing/2014/main" id="{11ED0D3E-CAF6-4F42-B6B1-1D51DAB4F52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4" name="TextBox 133">
                <a:extLst>
                  <a:ext uri="{FF2B5EF4-FFF2-40B4-BE49-F238E27FC236}">
                    <a16:creationId xmlns:a16="http://schemas.microsoft.com/office/drawing/2014/main" id="{B6A2E7F9-C19C-BD47-8F25-1EE8EF68601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35" name="Picture 134">
                <a:extLst>
                  <a:ext uri="{FF2B5EF4-FFF2-40B4-BE49-F238E27FC236}">
                    <a16:creationId xmlns:a16="http://schemas.microsoft.com/office/drawing/2014/main" id="{C6F330DD-CABC-824D-8AF1-D19EE72BE3A4}"/>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90" name="Group 89">
              <a:extLst>
                <a:ext uri="{FF2B5EF4-FFF2-40B4-BE49-F238E27FC236}">
                  <a16:creationId xmlns:a16="http://schemas.microsoft.com/office/drawing/2014/main" id="{FB25E36F-0AD8-3C4B-B330-8AD6F0566577}"/>
                </a:ext>
              </a:extLst>
            </p:cNvPr>
            <p:cNvGrpSpPr/>
            <p:nvPr userDrawn="1"/>
          </p:nvGrpSpPr>
          <p:grpSpPr>
            <a:xfrm>
              <a:off x="9521833" y="3755578"/>
              <a:ext cx="2754815" cy="6013825"/>
              <a:chOff x="9521833" y="2566288"/>
              <a:chExt cx="2754815" cy="6013825"/>
            </a:xfrm>
          </p:grpSpPr>
          <p:sp>
            <p:nvSpPr>
              <p:cNvPr id="101" name="TextBox 100">
                <a:extLst>
                  <a:ext uri="{FF2B5EF4-FFF2-40B4-BE49-F238E27FC236}">
                    <a16:creationId xmlns:a16="http://schemas.microsoft.com/office/drawing/2014/main" id="{EFCEA40F-C498-7849-83CC-05F525331886}"/>
                  </a:ext>
                </a:extLst>
              </p:cNvPr>
              <p:cNvSpPr txBox="1"/>
              <p:nvPr userDrawn="1"/>
            </p:nvSpPr>
            <p:spPr>
              <a:xfrm>
                <a:off x="9558507" y="256628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102" name="Straight Connector 101">
                <a:extLst>
                  <a:ext uri="{FF2B5EF4-FFF2-40B4-BE49-F238E27FC236}">
                    <a16:creationId xmlns:a16="http://schemas.microsoft.com/office/drawing/2014/main" id="{28EA3E43-AD66-A344-9092-650F575A06B9}"/>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3" name="TextBox 102">
                <a:extLst>
                  <a:ext uri="{FF2B5EF4-FFF2-40B4-BE49-F238E27FC236}">
                    <a16:creationId xmlns:a16="http://schemas.microsoft.com/office/drawing/2014/main" id="{19BDDB79-2E8B-5340-9893-BB4E3472F751}"/>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104" name="Group 103">
                <a:extLst>
                  <a:ext uri="{FF2B5EF4-FFF2-40B4-BE49-F238E27FC236}">
                    <a16:creationId xmlns:a16="http://schemas.microsoft.com/office/drawing/2014/main" id="{D5719C97-0D94-5244-B5C9-CB8F897EEF21}"/>
                  </a:ext>
                </a:extLst>
              </p:cNvPr>
              <p:cNvGrpSpPr/>
              <p:nvPr userDrawn="1"/>
            </p:nvGrpSpPr>
            <p:grpSpPr>
              <a:xfrm>
                <a:off x="9541497" y="7168798"/>
                <a:ext cx="2735151" cy="1411315"/>
                <a:chOff x="9296567" y="4910411"/>
                <a:chExt cx="2735151" cy="1411315"/>
              </a:xfrm>
            </p:grpSpPr>
            <p:sp>
              <p:nvSpPr>
                <p:cNvPr id="127" name="Rectangle 126">
                  <a:extLst>
                    <a:ext uri="{FF2B5EF4-FFF2-40B4-BE49-F238E27FC236}">
                      <a16:creationId xmlns:a16="http://schemas.microsoft.com/office/drawing/2014/main" id="{BB4C8D93-AFE6-E744-9820-4ACE7B76AA48}"/>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28" name="TextBox 127">
                  <a:extLst>
                    <a:ext uri="{FF2B5EF4-FFF2-40B4-BE49-F238E27FC236}">
                      <a16:creationId xmlns:a16="http://schemas.microsoft.com/office/drawing/2014/main" id="{B872D160-E1AD-B34D-B802-879048309EBE}"/>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129" name="Graphic 128">
                  <a:extLst>
                    <a:ext uri="{FF2B5EF4-FFF2-40B4-BE49-F238E27FC236}">
                      <a16:creationId xmlns:a16="http://schemas.microsoft.com/office/drawing/2014/main" id="{A0B0569F-959C-9A45-82E4-91C9E981825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0" name="TextBox 129">
                  <a:extLst>
                    <a:ext uri="{FF2B5EF4-FFF2-40B4-BE49-F238E27FC236}">
                      <a16:creationId xmlns:a16="http://schemas.microsoft.com/office/drawing/2014/main" id="{EDFCE2B9-8D41-7844-9685-118BDB3EE46B}"/>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1" name="TextBox 130">
                  <a:extLst>
                    <a:ext uri="{FF2B5EF4-FFF2-40B4-BE49-F238E27FC236}">
                      <a16:creationId xmlns:a16="http://schemas.microsoft.com/office/drawing/2014/main" id="{8F43E73A-32AC-384E-AE86-404ADAA3DD42}"/>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32" name="TextBox 131">
                  <a:extLst>
                    <a:ext uri="{FF2B5EF4-FFF2-40B4-BE49-F238E27FC236}">
                      <a16:creationId xmlns:a16="http://schemas.microsoft.com/office/drawing/2014/main" id="{C61F8817-B1A5-8D46-8BB6-340D48D08BB2}"/>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105" name="Group 104">
                <a:extLst>
                  <a:ext uri="{FF2B5EF4-FFF2-40B4-BE49-F238E27FC236}">
                    <a16:creationId xmlns:a16="http://schemas.microsoft.com/office/drawing/2014/main" id="{2BFB2065-1602-1C4B-AE9C-1536E680CD25}"/>
                  </a:ext>
                </a:extLst>
              </p:cNvPr>
              <p:cNvGrpSpPr/>
              <p:nvPr userDrawn="1"/>
            </p:nvGrpSpPr>
            <p:grpSpPr>
              <a:xfrm>
                <a:off x="9541497" y="5812142"/>
                <a:ext cx="2735151" cy="1280928"/>
                <a:chOff x="9286315" y="6976989"/>
                <a:chExt cx="2735151" cy="1280928"/>
              </a:xfrm>
            </p:grpSpPr>
            <p:sp>
              <p:nvSpPr>
                <p:cNvPr id="114" name="Rectangle 113">
                  <a:extLst>
                    <a:ext uri="{FF2B5EF4-FFF2-40B4-BE49-F238E27FC236}">
                      <a16:creationId xmlns:a16="http://schemas.microsoft.com/office/drawing/2014/main" id="{D4A3DC7B-2630-F446-B7D1-5C8DFD7F2F1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15" name="TextBox 114">
                  <a:extLst>
                    <a:ext uri="{FF2B5EF4-FFF2-40B4-BE49-F238E27FC236}">
                      <a16:creationId xmlns:a16="http://schemas.microsoft.com/office/drawing/2014/main" id="{02E2D492-7B93-0040-BB6D-645C9F022F4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116" name="Graphic 115">
                  <a:extLst>
                    <a:ext uri="{FF2B5EF4-FFF2-40B4-BE49-F238E27FC236}">
                      <a16:creationId xmlns:a16="http://schemas.microsoft.com/office/drawing/2014/main" id="{D4BB5DF9-0ADB-D644-A33B-05338C19EE9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17" name="TextBox 116">
                  <a:extLst>
                    <a:ext uri="{FF2B5EF4-FFF2-40B4-BE49-F238E27FC236}">
                      <a16:creationId xmlns:a16="http://schemas.microsoft.com/office/drawing/2014/main" id="{3773743D-ACAC-9D47-B6A7-B622BD0809A9}"/>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126" name="Picture 125">
                  <a:extLst>
                    <a:ext uri="{FF2B5EF4-FFF2-40B4-BE49-F238E27FC236}">
                      <a16:creationId xmlns:a16="http://schemas.microsoft.com/office/drawing/2014/main" id="{DEC08DBB-43DD-6245-B6DB-3708A984A5DC}"/>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06" name="Group 105">
                <a:extLst>
                  <a:ext uri="{FF2B5EF4-FFF2-40B4-BE49-F238E27FC236}">
                    <a16:creationId xmlns:a16="http://schemas.microsoft.com/office/drawing/2014/main" id="{765D8845-425C-6A40-9160-935CD18C148A}"/>
                  </a:ext>
                </a:extLst>
              </p:cNvPr>
              <p:cNvGrpSpPr/>
              <p:nvPr userDrawn="1"/>
            </p:nvGrpSpPr>
            <p:grpSpPr>
              <a:xfrm>
                <a:off x="9521833" y="2891408"/>
                <a:ext cx="2617883" cy="651460"/>
                <a:chOff x="12352022" y="513115"/>
                <a:chExt cx="2617883" cy="651460"/>
              </a:xfrm>
            </p:grpSpPr>
            <p:sp>
              <p:nvSpPr>
                <p:cNvPr id="111" name="TextBox 110">
                  <a:extLst>
                    <a:ext uri="{FF2B5EF4-FFF2-40B4-BE49-F238E27FC236}">
                      <a16:creationId xmlns:a16="http://schemas.microsoft.com/office/drawing/2014/main" id="{D3D5ED8F-C8CA-DA4C-AF3C-341B91615A11}"/>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12" name="TextBox 111">
                  <a:extLst>
                    <a:ext uri="{FF2B5EF4-FFF2-40B4-BE49-F238E27FC236}">
                      <a16:creationId xmlns:a16="http://schemas.microsoft.com/office/drawing/2014/main" id="{D8A6C9C5-A974-E94E-9E5D-72AE43329D2A}"/>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13" name="TextBox 112">
                  <a:extLst>
                    <a:ext uri="{FF2B5EF4-FFF2-40B4-BE49-F238E27FC236}">
                      <a16:creationId xmlns:a16="http://schemas.microsoft.com/office/drawing/2014/main" id="{E95E0233-900A-7945-87AD-380ECD75A332}"/>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Select and download images from the Marketing Resource Database.</a:t>
                  </a:r>
                </a:p>
                <a:p>
                  <a:pPr lvl="0"/>
                  <a:r>
                    <a:rPr lang="en-US" sz="1050"/>
                    <a:t>Add the image to the placeholder.</a:t>
                  </a:r>
                </a:p>
              </p:txBody>
            </p:sp>
          </p:grpSp>
          <p:sp>
            <p:nvSpPr>
              <p:cNvPr id="107" name="TextBox 106">
                <a:extLst>
                  <a:ext uri="{FF2B5EF4-FFF2-40B4-BE49-F238E27FC236}">
                    <a16:creationId xmlns:a16="http://schemas.microsoft.com/office/drawing/2014/main" id="{5BF640FF-926D-934B-82CE-A8A0E2B1C562}"/>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108" name="TextBox 107">
                <a:extLst>
                  <a:ext uri="{FF2B5EF4-FFF2-40B4-BE49-F238E27FC236}">
                    <a16:creationId xmlns:a16="http://schemas.microsoft.com/office/drawing/2014/main" id="{AE198672-2AE1-9646-AA9F-434AE5EB6287}"/>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109" name="TextBox 108">
                <a:extLst>
                  <a:ext uri="{FF2B5EF4-FFF2-40B4-BE49-F238E27FC236}">
                    <a16:creationId xmlns:a16="http://schemas.microsoft.com/office/drawing/2014/main" id="{52C3CD8E-629B-5748-9DDB-5A9CA7B3ACBF}"/>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110" name="TextBox 109">
                <a:extLst>
                  <a:ext uri="{FF2B5EF4-FFF2-40B4-BE49-F238E27FC236}">
                    <a16:creationId xmlns:a16="http://schemas.microsoft.com/office/drawing/2014/main" id="{A618709D-4787-E145-ACBA-A6EBDFEA055D}"/>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sp>
          <p:nvSpPr>
            <p:cNvPr id="91" name="TextBox 90">
              <a:extLst>
                <a:ext uri="{FF2B5EF4-FFF2-40B4-BE49-F238E27FC236}">
                  <a16:creationId xmlns:a16="http://schemas.microsoft.com/office/drawing/2014/main" id="{73D2FE7B-9D51-494A-A335-516F338CA001}"/>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92" name="Straight Connector 91">
              <a:extLst>
                <a:ext uri="{FF2B5EF4-FFF2-40B4-BE49-F238E27FC236}">
                  <a16:creationId xmlns:a16="http://schemas.microsoft.com/office/drawing/2014/main" id="{37AB7E52-35B4-DE47-A070-EF6CBA5D1DAA}"/>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3" name="Group 92">
              <a:extLst>
                <a:ext uri="{FF2B5EF4-FFF2-40B4-BE49-F238E27FC236}">
                  <a16:creationId xmlns:a16="http://schemas.microsoft.com/office/drawing/2014/main" id="{FF62A100-B71D-CF4C-B927-9C174CAB2208}"/>
                </a:ext>
              </a:extLst>
            </p:cNvPr>
            <p:cNvGrpSpPr/>
            <p:nvPr userDrawn="1"/>
          </p:nvGrpSpPr>
          <p:grpSpPr>
            <a:xfrm>
              <a:off x="9554253" y="2414886"/>
              <a:ext cx="2819399" cy="1181890"/>
              <a:chOff x="9541498" y="3352649"/>
              <a:chExt cx="2819399" cy="1181890"/>
            </a:xfrm>
          </p:grpSpPr>
          <p:grpSp>
            <p:nvGrpSpPr>
              <p:cNvPr id="94" name="Group 93">
                <a:extLst>
                  <a:ext uri="{FF2B5EF4-FFF2-40B4-BE49-F238E27FC236}">
                    <a16:creationId xmlns:a16="http://schemas.microsoft.com/office/drawing/2014/main" id="{09EDDF4F-0ABB-B645-AFE1-66AAC2C51ED7}"/>
                  </a:ext>
                </a:extLst>
              </p:cNvPr>
              <p:cNvGrpSpPr/>
              <p:nvPr userDrawn="1"/>
            </p:nvGrpSpPr>
            <p:grpSpPr>
              <a:xfrm>
                <a:off x="9541498" y="3352649"/>
                <a:ext cx="2735150" cy="1181890"/>
                <a:chOff x="9541498" y="3751132"/>
                <a:chExt cx="2735150" cy="1181890"/>
              </a:xfrm>
            </p:grpSpPr>
            <p:grpSp>
              <p:nvGrpSpPr>
                <p:cNvPr id="96" name="Group 95">
                  <a:extLst>
                    <a:ext uri="{FF2B5EF4-FFF2-40B4-BE49-F238E27FC236}">
                      <a16:creationId xmlns:a16="http://schemas.microsoft.com/office/drawing/2014/main" id="{82E1BE2F-ADF5-F249-96E6-06E93ADFBE31}"/>
                    </a:ext>
                  </a:extLst>
                </p:cNvPr>
                <p:cNvGrpSpPr/>
                <p:nvPr userDrawn="1"/>
              </p:nvGrpSpPr>
              <p:grpSpPr>
                <a:xfrm>
                  <a:off x="9541498" y="3751132"/>
                  <a:ext cx="2735150" cy="1181890"/>
                  <a:chOff x="9296568" y="4910411"/>
                  <a:chExt cx="2735150" cy="1181890"/>
                </a:xfrm>
              </p:grpSpPr>
              <p:sp>
                <p:nvSpPr>
                  <p:cNvPr id="98" name="Rectangle 97">
                    <a:extLst>
                      <a:ext uri="{FF2B5EF4-FFF2-40B4-BE49-F238E27FC236}">
                        <a16:creationId xmlns:a16="http://schemas.microsoft.com/office/drawing/2014/main" id="{4679D8A9-FD06-114E-A3F6-55A3ECB6764B}"/>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99" name="TextBox 98">
                    <a:extLst>
                      <a:ext uri="{FF2B5EF4-FFF2-40B4-BE49-F238E27FC236}">
                        <a16:creationId xmlns:a16="http://schemas.microsoft.com/office/drawing/2014/main" id="{F1363A52-5ED6-9848-9C7F-79FA159D9DDD}"/>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100" name="TextBox 99">
                    <a:extLst>
                      <a:ext uri="{FF2B5EF4-FFF2-40B4-BE49-F238E27FC236}">
                        <a16:creationId xmlns:a16="http://schemas.microsoft.com/office/drawing/2014/main" id="{9CE035C1-42E7-614E-95AE-E5F5B8205835}"/>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97" name="Graphic 96">
                  <a:extLst>
                    <a:ext uri="{FF2B5EF4-FFF2-40B4-BE49-F238E27FC236}">
                      <a16:creationId xmlns:a16="http://schemas.microsoft.com/office/drawing/2014/main" id="{0ABF60CC-72C2-BA46-8ABF-E984E58D3FD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95" name="Picture 94">
                <a:extLst>
                  <a:ext uri="{FF2B5EF4-FFF2-40B4-BE49-F238E27FC236}">
                    <a16:creationId xmlns:a16="http://schemas.microsoft.com/office/drawing/2014/main" id="{AF432CCB-1758-0448-91A7-444FBE4BE475}"/>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93307568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A1E5E-5092-C14B-BCA7-1CE9980DAC4E}"/>
              </a:ext>
            </a:extLst>
          </p:cNvPr>
          <p:cNvSpPr>
            <a:spLocks noGrp="1"/>
          </p:cNvSpPr>
          <p:nvPr>
            <p:ph type="title" hasCustomPrompt="1"/>
          </p:nvPr>
        </p:nvSpPr>
        <p:spPr/>
        <p:txBody>
          <a:bodyPr/>
          <a:lstStyle/>
          <a:p>
            <a:r>
              <a:rPr lang="en-US"/>
              <a:t>CLICK TO ADD Slide TITLE. ALL CAPS. TWO LINES max.</a:t>
            </a:r>
          </a:p>
        </p:txBody>
      </p:sp>
      <p:sp>
        <p:nvSpPr>
          <p:cNvPr id="1000" name="Footnotes Placeholder">
            <a:extLst>
              <a:ext uri="{FF2B5EF4-FFF2-40B4-BE49-F238E27FC236}">
                <a16:creationId xmlns:a16="http://schemas.microsoft.com/office/drawing/2014/main" id="{36AF8DC8-87FB-C141-8D83-20DF12993AF5}"/>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 name="Date Placeholder 2">
            <a:extLst>
              <a:ext uri="{FF2B5EF4-FFF2-40B4-BE49-F238E27FC236}">
                <a16:creationId xmlns:a16="http://schemas.microsoft.com/office/drawing/2014/main" id="{6F932E4D-3BB6-F145-B5C5-AD97EAF75D44}"/>
              </a:ext>
            </a:extLst>
          </p:cNvPr>
          <p:cNvSpPr>
            <a:spLocks noGrp="1"/>
          </p:cNvSpPr>
          <p:nvPr>
            <p:ph type="dt" sz="half" idx="1001"/>
          </p:nvPr>
        </p:nvSpPr>
        <p:spPr/>
        <p:txBody>
          <a:bodyPr/>
          <a:lstStyle/>
          <a:p>
            <a:endParaRPr lang="en-US"/>
          </a:p>
        </p:txBody>
      </p:sp>
      <p:sp>
        <p:nvSpPr>
          <p:cNvPr id="4" name="Footer Placeholder 3">
            <a:extLst>
              <a:ext uri="{FF2B5EF4-FFF2-40B4-BE49-F238E27FC236}">
                <a16:creationId xmlns:a16="http://schemas.microsoft.com/office/drawing/2014/main" id="{E17286FE-76E3-3247-ACB0-061B0414E37F}"/>
              </a:ext>
            </a:extLst>
          </p:cNvPr>
          <p:cNvSpPr>
            <a:spLocks noGrp="1"/>
          </p:cNvSpPr>
          <p:nvPr>
            <p:ph type="ftr" sz="quarter" idx="1002"/>
          </p:nvPr>
        </p:nvSpPr>
        <p:spPr/>
        <p:txBody>
          <a:bodyPr/>
          <a:lstStyle/>
          <a:p>
            <a:endParaRPr lang="en-US"/>
          </a:p>
        </p:txBody>
      </p:sp>
      <p:sp>
        <p:nvSpPr>
          <p:cNvPr id="5" name="Slide Number Placeholder 4">
            <a:extLst>
              <a:ext uri="{FF2B5EF4-FFF2-40B4-BE49-F238E27FC236}">
                <a16:creationId xmlns:a16="http://schemas.microsoft.com/office/drawing/2014/main" id="{867E789D-6D1E-A34E-82C5-72E722D0C6B6}"/>
              </a:ext>
            </a:extLst>
          </p:cNvPr>
          <p:cNvSpPr>
            <a:spLocks noGrp="1"/>
          </p:cNvSpPr>
          <p:nvPr>
            <p:ph type="sldNum" sz="quarter" idx="1003"/>
          </p:nvPr>
        </p:nvSpPr>
        <p:spPr/>
        <p:txBody>
          <a:bodyPr/>
          <a:lstStyle/>
          <a:p>
            <a:pPr marL="12700"/>
            <a:fld id="{078C017C-E1B9-8443-B047-B08AAA027B45}" type="slidenum">
              <a:rPr lang="en-US" smtClean="0"/>
              <a:pPr marL="12700"/>
              <a:t>‹#›</a:t>
            </a:fld>
            <a:endParaRPr lang="en-US"/>
          </a:p>
        </p:txBody>
      </p:sp>
    </p:spTree>
    <p:extLst>
      <p:ext uri="{BB962C8B-B14F-4D97-AF65-F5344CB8AC3E}">
        <p14:creationId xmlns:p14="http://schemas.microsoft.com/office/powerpoint/2010/main" val="291581770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ootnotes Appendix">
    <p:spTree>
      <p:nvGrpSpPr>
        <p:cNvPr id="1" name=""/>
        <p:cNvGrpSpPr/>
        <p:nvPr/>
      </p:nvGrpSpPr>
      <p:grpSpPr>
        <a:xfrm>
          <a:off x="0" y="0"/>
          <a:ext cx="0" cy="0"/>
          <a:chOff x="0" y="0"/>
          <a:chExt cx="0" cy="0"/>
        </a:xfrm>
      </p:grpSpPr>
      <p:sp>
        <p:nvSpPr>
          <p:cNvPr id="1000" name="Footnotes Placeholder">
            <a:extLst>
              <a:ext uri="{FF2B5EF4-FFF2-40B4-BE49-F238E27FC236}">
                <a16:creationId xmlns:a16="http://schemas.microsoft.com/office/drawing/2014/main" id="{73A7EDA7-F3CC-FE4B-8FF2-546BF052CA2D}"/>
              </a:ext>
            </a:extLst>
          </p:cNvPr>
          <p:cNvSpPr>
            <a:spLocks noGrp="1"/>
          </p:cNvSpPr>
          <p:nvPr>
            <p:ph type="subTitle" sz="quarter" idx="1000" hasCustomPrompt="1"/>
          </p:nvPr>
        </p:nvSpPr>
        <p:spPr>
          <a:xfrm>
            <a:off x="575710" y="1233488"/>
            <a:ext cx="11040532" cy="4932362"/>
          </a:xfrm>
        </p:spPr>
        <p:txBody>
          <a:bodyPr bIns="0" anchor="t"/>
          <a:lstStyle>
            <a:lvl1pPr marL="6350" indent="-1588">
              <a:spcBef>
                <a:spcPts val="600"/>
              </a:spcBef>
              <a:spcAft>
                <a:spcPts val="75"/>
              </a:spcAft>
              <a:buSzPct val="100000"/>
              <a:buFontTx/>
              <a:buNone/>
              <a:tabLst/>
              <a:defRPr sz="1100" b="1">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page reference. Paste in overflow footnotes.</a:t>
            </a:r>
          </a:p>
          <a:p>
            <a:pPr lvl="1"/>
            <a:r>
              <a:rPr lang="en-US"/>
              <a:t>Second level</a:t>
            </a:r>
          </a:p>
          <a:p>
            <a:pPr lvl="2"/>
            <a:r>
              <a:rPr lang="en-US"/>
              <a:t>Third level</a:t>
            </a:r>
          </a:p>
          <a:p>
            <a:pPr lvl="3"/>
            <a:r>
              <a:rPr lang="en-US"/>
              <a:t>Fourth level</a:t>
            </a:r>
          </a:p>
          <a:p>
            <a:pPr lvl="4"/>
            <a:r>
              <a:rPr lang="en-US"/>
              <a:t>Fifth level</a:t>
            </a:r>
            <a:endParaRPr lang="en-US" sz="1400">
              <a:latin typeface="Arial" charset="0"/>
              <a:cs typeface="Arial" charset="0"/>
            </a:endParaRPr>
          </a:p>
          <a:p>
            <a:pPr lvl="5"/>
            <a:r>
              <a:rPr lang="en-US">
                <a:latin typeface="Arial" charset="0"/>
                <a:cs typeface="Arial" charset="0"/>
              </a:rPr>
              <a:t>Sixth level</a:t>
            </a:r>
          </a:p>
          <a:p>
            <a:pPr lvl="6"/>
            <a:r>
              <a:rPr lang="en-US">
                <a:latin typeface="Arial" charset="0"/>
                <a:cs typeface="Arial" charset="0"/>
              </a:rPr>
              <a:t>Seventh level</a:t>
            </a:r>
          </a:p>
          <a:p>
            <a:pPr lvl="7"/>
            <a:r>
              <a:rPr lang="en-US">
                <a:latin typeface="Arial" charset="0"/>
                <a:cs typeface="Arial" charset="0"/>
              </a:rPr>
              <a:t>Eighth level</a:t>
            </a:r>
          </a:p>
          <a:p>
            <a:pPr lvl="8"/>
            <a:r>
              <a:rPr lang="en-US">
                <a:latin typeface="Arial" charset="0"/>
                <a:cs typeface="Arial" charset="0"/>
              </a:rPr>
              <a:t>Ninth level</a:t>
            </a:r>
            <a:endParaRPr lang="en-US"/>
          </a:p>
        </p:txBody>
      </p:sp>
      <p:sp>
        <p:nvSpPr>
          <p:cNvPr id="11" name="Title 8">
            <a:extLst>
              <a:ext uri="{FF2B5EF4-FFF2-40B4-BE49-F238E27FC236}">
                <a16:creationId xmlns:a16="http://schemas.microsoft.com/office/drawing/2014/main" id="{39E817B6-FF8C-0842-B1E7-3F8A6FA8F66D}"/>
              </a:ext>
            </a:extLst>
          </p:cNvPr>
          <p:cNvSpPr txBox="1">
            <a:spLocks/>
          </p:cNvSpPr>
          <p:nvPr userDrawn="1"/>
        </p:nvSpPr>
        <p:spPr>
          <a:xfrm>
            <a:off x="575734" y="423038"/>
            <a:ext cx="11040533" cy="567394"/>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a:lstStyle>
          <a:p>
            <a:r>
              <a:rPr lang="en-US" sz="1900"/>
              <a:t>Appendix</a:t>
            </a:r>
          </a:p>
        </p:txBody>
      </p:sp>
      <p:sp>
        <p:nvSpPr>
          <p:cNvPr id="5" name="Date Placeholder 4">
            <a:extLst>
              <a:ext uri="{FF2B5EF4-FFF2-40B4-BE49-F238E27FC236}">
                <a16:creationId xmlns:a16="http://schemas.microsoft.com/office/drawing/2014/main" id="{4EB956B6-5A6C-5D48-9F0C-B94F649F8BBE}"/>
              </a:ext>
            </a:extLst>
          </p:cNvPr>
          <p:cNvSpPr>
            <a:spLocks noGrp="1"/>
          </p:cNvSpPr>
          <p:nvPr>
            <p:ph type="dt" sz="half" idx="101"/>
          </p:nvPr>
        </p:nvSpPr>
        <p:spPr/>
        <p:txBody>
          <a:bodyPr/>
          <a:lstStyle/>
          <a:p>
            <a:endParaRPr lang="en-US"/>
          </a:p>
        </p:txBody>
      </p:sp>
      <p:sp>
        <p:nvSpPr>
          <p:cNvPr id="6" name="Footer Placeholder 5">
            <a:extLst>
              <a:ext uri="{FF2B5EF4-FFF2-40B4-BE49-F238E27FC236}">
                <a16:creationId xmlns:a16="http://schemas.microsoft.com/office/drawing/2014/main" id="{65529702-1F3A-4D45-95E7-B4EE450AA0E0}"/>
              </a:ext>
            </a:extLst>
          </p:cNvPr>
          <p:cNvSpPr>
            <a:spLocks noGrp="1"/>
          </p:cNvSpPr>
          <p:nvPr>
            <p:ph type="ftr" sz="quarter" idx="102"/>
          </p:nvPr>
        </p:nvSpPr>
        <p:spPr/>
        <p:txBody>
          <a:bodyPr/>
          <a:lstStyle/>
          <a:p>
            <a:endParaRPr lang="en-US"/>
          </a:p>
        </p:txBody>
      </p:sp>
      <p:sp>
        <p:nvSpPr>
          <p:cNvPr id="7" name="Slide Number Placeholder 6">
            <a:extLst>
              <a:ext uri="{FF2B5EF4-FFF2-40B4-BE49-F238E27FC236}">
                <a16:creationId xmlns:a16="http://schemas.microsoft.com/office/drawing/2014/main" id="{2AF6F60A-A028-CA43-9F6E-24A771157036}"/>
              </a:ext>
            </a:extLst>
          </p:cNvPr>
          <p:cNvSpPr>
            <a:spLocks noGrp="1"/>
          </p:cNvSpPr>
          <p:nvPr>
            <p:ph type="sldNum" sz="quarter" idx="103"/>
          </p:nvPr>
        </p:nvSpPr>
        <p:spPr/>
        <p:txBody>
          <a:bodyPr/>
          <a:lstStyle/>
          <a:p>
            <a:pPr marL="12700"/>
            <a:fld id="{078C017C-E1B9-8443-B047-B08AAA027B45}" type="slidenum">
              <a:rPr lang="en-US" smtClean="0"/>
              <a:pPr marL="12700"/>
              <a:t>‹#›</a:t>
            </a:fld>
            <a:endParaRPr lang="en-US"/>
          </a:p>
        </p:txBody>
      </p:sp>
      <p:grpSp>
        <p:nvGrpSpPr>
          <p:cNvPr id="21" name="Group 20">
            <a:extLst>
              <a:ext uri="{FF2B5EF4-FFF2-40B4-BE49-F238E27FC236}">
                <a16:creationId xmlns:a16="http://schemas.microsoft.com/office/drawing/2014/main" id="{104D1EDF-2467-804A-B15C-D4504AFFEBB6}"/>
              </a:ext>
            </a:extLst>
          </p:cNvPr>
          <p:cNvGrpSpPr/>
          <p:nvPr userDrawn="1"/>
        </p:nvGrpSpPr>
        <p:grpSpPr>
          <a:xfrm>
            <a:off x="12532244" y="-1"/>
            <a:ext cx="2979899" cy="6858001"/>
            <a:chOff x="9399182" y="-1"/>
            <a:chExt cx="2961715" cy="6858001"/>
          </a:xfrm>
        </p:grpSpPr>
        <p:sp>
          <p:nvSpPr>
            <p:cNvPr id="9" name="Rectangle 8">
              <a:extLst>
                <a:ext uri="{FF2B5EF4-FFF2-40B4-BE49-F238E27FC236}">
                  <a16:creationId xmlns:a16="http://schemas.microsoft.com/office/drawing/2014/main" id="{1450A66C-4EFE-574E-8105-8F19294291C0}"/>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41" name="Picture 40">
              <a:extLst>
                <a:ext uri="{FF2B5EF4-FFF2-40B4-BE49-F238E27FC236}">
                  <a16:creationId xmlns:a16="http://schemas.microsoft.com/office/drawing/2014/main" id="{8CFE866E-1B7C-B841-9874-F39026C7B1D6}"/>
                </a:ext>
              </a:extLst>
            </p:cNvPr>
            <p:cNvPicPr>
              <a:picLocks noChangeAspect="1"/>
            </p:cNvPicPr>
            <p:nvPr userDrawn="1"/>
          </p:nvPicPr>
          <p:blipFill rotWithShape="1">
            <a:blip r:embed="rId2"/>
            <a:srcRect l="-1" t="-1" r="57393" b="1331"/>
            <a:stretch/>
          </p:blipFill>
          <p:spPr>
            <a:xfrm>
              <a:off x="9558505" y="1322104"/>
              <a:ext cx="2631977" cy="1346819"/>
            </a:xfrm>
            <a:prstGeom prst="rect">
              <a:avLst/>
            </a:prstGeom>
          </p:spPr>
        </p:pic>
        <p:grpSp>
          <p:nvGrpSpPr>
            <p:cNvPr id="14" name="Group 13">
              <a:extLst>
                <a:ext uri="{FF2B5EF4-FFF2-40B4-BE49-F238E27FC236}">
                  <a16:creationId xmlns:a16="http://schemas.microsoft.com/office/drawing/2014/main" id="{9FFEF678-A102-7F4F-AA3B-CD00034E1645}"/>
                </a:ext>
              </a:extLst>
            </p:cNvPr>
            <p:cNvGrpSpPr/>
            <p:nvPr userDrawn="1"/>
          </p:nvGrpSpPr>
          <p:grpSpPr>
            <a:xfrm>
              <a:off x="9541497" y="162442"/>
              <a:ext cx="2819400" cy="814510"/>
              <a:chOff x="-3644733" y="165205"/>
              <a:chExt cx="2819400" cy="814510"/>
            </a:xfrm>
          </p:grpSpPr>
          <p:sp>
            <p:nvSpPr>
              <p:cNvPr id="42" name="Rectangle 41">
                <a:extLst>
                  <a:ext uri="{FF2B5EF4-FFF2-40B4-BE49-F238E27FC236}">
                    <a16:creationId xmlns:a16="http://schemas.microsoft.com/office/drawing/2014/main" id="{5897A035-D50A-9E4B-AC4B-7F127F053054}"/>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3" name="TextBox 42">
                <a:extLst>
                  <a:ext uri="{FF2B5EF4-FFF2-40B4-BE49-F238E27FC236}">
                    <a16:creationId xmlns:a16="http://schemas.microsoft.com/office/drawing/2014/main" id="{80017FBF-C159-274E-A045-C7FE28DD4891}"/>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44" name="Picture 43">
                <a:extLst>
                  <a:ext uri="{FF2B5EF4-FFF2-40B4-BE49-F238E27FC236}">
                    <a16:creationId xmlns:a16="http://schemas.microsoft.com/office/drawing/2014/main" id="{E92D98F1-AA3C-ED4D-9D08-7B7F95CAA93F}"/>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23" name="Group 22">
              <a:extLst>
                <a:ext uri="{FF2B5EF4-FFF2-40B4-BE49-F238E27FC236}">
                  <a16:creationId xmlns:a16="http://schemas.microsoft.com/office/drawing/2014/main" id="{63F2733A-C19B-3340-8146-DE69DD441B5E}"/>
                </a:ext>
              </a:extLst>
            </p:cNvPr>
            <p:cNvGrpSpPr/>
            <p:nvPr userDrawn="1"/>
          </p:nvGrpSpPr>
          <p:grpSpPr>
            <a:xfrm>
              <a:off x="9558507" y="1119891"/>
              <a:ext cx="2639328" cy="202617"/>
              <a:chOff x="9303325" y="149270"/>
              <a:chExt cx="2639328" cy="202617"/>
            </a:xfrm>
          </p:grpSpPr>
          <p:sp>
            <p:nvSpPr>
              <p:cNvPr id="24" name="TextBox 23">
                <a:extLst>
                  <a:ext uri="{FF2B5EF4-FFF2-40B4-BE49-F238E27FC236}">
                    <a16:creationId xmlns:a16="http://schemas.microsoft.com/office/drawing/2014/main" id="{C79CF978-B72A-C545-9B0B-E904D2B4E054}"/>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25" name="Straight Connector 24">
                <a:extLst>
                  <a:ext uri="{FF2B5EF4-FFF2-40B4-BE49-F238E27FC236}">
                    <a16:creationId xmlns:a16="http://schemas.microsoft.com/office/drawing/2014/main" id="{8526A15D-C3EF-0040-8B4F-8F84446E57AB}"/>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702144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Q+A (Photo)">
    <p:bg>
      <p:bgPr>
        <a:solidFill>
          <a:schemeClr val="bg1"/>
        </a:solidFill>
        <a:effectLst/>
      </p:bgPr>
    </p:bg>
    <p:spTree>
      <p:nvGrpSpPr>
        <p:cNvPr id="1" name=""/>
        <p:cNvGrpSpPr/>
        <p:nvPr/>
      </p:nvGrpSpPr>
      <p:grpSpPr>
        <a:xfrm>
          <a:off x="0" y="0"/>
          <a:ext cx="0" cy="0"/>
          <a:chOff x="0" y="0"/>
          <a:chExt cx="0" cy="0"/>
        </a:xfrm>
      </p:grpSpPr>
      <p:sp>
        <p:nvSpPr>
          <p:cNvPr id="61" name="Picture Placeholder 61">
            <a:extLst>
              <a:ext uri="{FF2B5EF4-FFF2-40B4-BE49-F238E27FC236}">
                <a16:creationId xmlns:a16="http://schemas.microsoft.com/office/drawing/2014/main" id="{82A49FA3-4801-5047-9B46-2A41C3411542}"/>
              </a:ext>
            </a:extLst>
          </p:cNvPr>
          <p:cNvSpPr>
            <a:spLocks noGrp="1"/>
          </p:cNvSpPr>
          <p:nvPr>
            <p:ph type="pic" sz="quarter" idx="13" hasCustomPrompt="1"/>
          </p:nvPr>
        </p:nvSpPr>
        <p:spPr>
          <a:xfrm>
            <a:off x="1" y="1"/>
            <a:ext cx="12192000" cy="6858000"/>
          </a:xfrm>
          <a:custGeom>
            <a:avLst/>
            <a:gdLst>
              <a:gd name="connsiteX0" fmla="*/ 0 w 9144000"/>
              <a:gd name="connsiteY0" fmla="*/ 0 h 6858000"/>
              <a:gd name="connsiteX1" fmla="*/ 9144000 w 9144000"/>
              <a:gd name="connsiteY1" fmla="*/ 0 h 6858000"/>
              <a:gd name="connsiteX2" fmla="*/ 9144000 w 9144000"/>
              <a:gd name="connsiteY2" fmla="*/ 6858000 h 6858000"/>
              <a:gd name="connsiteX3" fmla="*/ 0 w 9144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9144000" h="6858000">
                <a:moveTo>
                  <a:pt x="0" y="0"/>
                </a:moveTo>
                <a:lnTo>
                  <a:pt x="9144000" y="0"/>
                </a:lnTo>
                <a:lnTo>
                  <a:pt x="9144000" y="6858000"/>
                </a:lnTo>
                <a:lnTo>
                  <a:pt x="0" y="6858000"/>
                </a:lnTo>
                <a:close/>
              </a:path>
            </a:pathLst>
          </a:custGeom>
          <a:solidFill>
            <a:schemeClr val="accent5">
              <a:lumMod val="60000"/>
              <a:lumOff val="40000"/>
            </a:schemeClr>
          </a:solidFill>
          <a:ln>
            <a:solidFill>
              <a:srgbClr val="003865">
                <a:shade val="50000"/>
                <a:alpha val="0"/>
              </a:srgbClr>
            </a:solidFill>
          </a:ln>
        </p:spPr>
        <p:txBody>
          <a:bodyPr wrap="square" rIns="432000" anchor="ctr">
            <a:noAutofit/>
          </a:bodyPr>
          <a:lstStyle>
            <a:lvl1pPr marL="0" indent="0" algn="r">
              <a:spcBef>
                <a:spcPts val="0"/>
              </a:spcBef>
              <a:spcAft>
                <a:spcPts val="0"/>
              </a:spcAft>
              <a:buNone/>
              <a:defRPr b="0">
                <a:solidFill>
                  <a:schemeClr val="bg1"/>
                </a:solidFill>
              </a:defRPr>
            </a:lvl1pPr>
          </a:lstStyle>
          <a:p>
            <a:r>
              <a:rPr lang="en-US"/>
              <a:t>Drag image onto slide to add photo</a:t>
            </a:r>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2" y="1"/>
            <a:ext cx="9622695"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gradFill>
            <a:gsLst>
              <a:gs pos="13000">
                <a:schemeClr val="accent1"/>
              </a:gs>
              <a:gs pos="97000">
                <a:schemeClr val="accent1">
                  <a:alpha val="80000"/>
                </a:schemeClr>
              </a:gs>
            </a:gsLst>
            <a:lin ang="5400000" scaled="0"/>
          </a:gradFill>
          <a:ln>
            <a:solidFill>
              <a:srgbClr val="003865">
                <a:shade val="50000"/>
                <a:alpha val="0"/>
              </a:srgbClr>
            </a:solidFill>
          </a:ln>
        </p:spPr>
        <p:txBody>
          <a:bodyPr wrap="square" lIns="576000" tIns="0" rIns="2160000" bIns="0" anchor="ctr">
            <a:noAutofit/>
          </a:bodyPr>
          <a:lstStyle>
            <a:lvl1pPr marL="20638" indent="0">
              <a:spcAft>
                <a:spcPts val="300"/>
              </a:spcAft>
              <a:buNone/>
              <a:tabLst/>
              <a:defRPr sz="66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Q&amp;A message</a:t>
            </a:r>
          </a:p>
          <a:p>
            <a:pPr lvl="1"/>
            <a:r>
              <a:rPr lang="en-US"/>
              <a:t>Second level</a:t>
            </a:r>
          </a:p>
        </p:txBody>
      </p:sp>
      <p:grpSp>
        <p:nvGrpSpPr>
          <p:cNvPr id="16" name="Group 15">
            <a:extLst>
              <a:ext uri="{FF2B5EF4-FFF2-40B4-BE49-F238E27FC236}">
                <a16:creationId xmlns:a16="http://schemas.microsoft.com/office/drawing/2014/main" id="{50A982D0-E4B8-1041-813F-BDDC3436A88D}"/>
              </a:ext>
            </a:extLst>
          </p:cNvPr>
          <p:cNvGrpSpPr/>
          <p:nvPr userDrawn="1"/>
        </p:nvGrpSpPr>
        <p:grpSpPr>
          <a:xfrm>
            <a:off x="-266702" y="2429705"/>
            <a:ext cx="259365" cy="1998593"/>
            <a:chOff x="-256404" y="360363"/>
            <a:chExt cx="251461" cy="692152"/>
          </a:xfrm>
        </p:grpSpPr>
        <p:grpSp>
          <p:nvGrpSpPr>
            <p:cNvPr id="17" name="Group 16">
              <a:extLst>
                <a:ext uri="{FF2B5EF4-FFF2-40B4-BE49-F238E27FC236}">
                  <a16:creationId xmlns:a16="http://schemas.microsoft.com/office/drawing/2014/main" id="{C83CFF79-5962-9D49-8E42-F2AF4C267204}"/>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A6F525C6-8B46-4140-AF00-48FB794ECBC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04655F-D15F-D843-AA38-CAA6FDF115A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43ACDE28-DF49-C14A-B556-C3FBEB96DDE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18" name="TextBox 17">
              <a:extLst>
                <a:ext uri="{FF2B5EF4-FFF2-40B4-BE49-F238E27FC236}">
                  <a16:creationId xmlns:a16="http://schemas.microsoft.com/office/drawing/2014/main" id="{509205E5-0F35-EB40-8B2F-8E547892AACD}"/>
                </a:ext>
              </a:extLst>
            </p:cNvPr>
            <p:cNvSpPr txBox="1"/>
            <p:nvPr userDrawn="1"/>
          </p:nvSpPr>
          <p:spPr>
            <a:xfrm rot="16200000">
              <a:off x="-244472" y="662666"/>
              <a:ext cx="227612"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Q&amp;A MESSAGE</a:t>
              </a:r>
            </a:p>
          </p:txBody>
        </p:sp>
      </p:grpSp>
      <p:grpSp>
        <p:nvGrpSpPr>
          <p:cNvPr id="12" name="Group 11">
            <a:extLst>
              <a:ext uri="{FF2B5EF4-FFF2-40B4-BE49-F238E27FC236}">
                <a16:creationId xmlns:a16="http://schemas.microsoft.com/office/drawing/2014/main" id="{A18A15BD-A596-E247-85A4-DD939638C5D3}"/>
              </a:ext>
            </a:extLst>
          </p:cNvPr>
          <p:cNvGrpSpPr/>
          <p:nvPr userDrawn="1"/>
        </p:nvGrpSpPr>
        <p:grpSpPr>
          <a:xfrm>
            <a:off x="12532244" y="0"/>
            <a:ext cx="2979899" cy="8293166"/>
            <a:chOff x="9399182" y="0"/>
            <a:chExt cx="2961715" cy="8293166"/>
          </a:xfrm>
        </p:grpSpPr>
        <p:sp>
          <p:nvSpPr>
            <p:cNvPr id="24" name="Rectangle 23">
              <a:extLst>
                <a:ext uri="{FF2B5EF4-FFF2-40B4-BE49-F238E27FC236}">
                  <a16:creationId xmlns:a16="http://schemas.microsoft.com/office/drawing/2014/main" id="{3484143C-DF42-9845-8B4E-6EE9192D37DA}"/>
                </a:ext>
              </a:extLst>
            </p:cNvPr>
            <p:cNvSpPr/>
            <p:nvPr userDrawn="1"/>
          </p:nvSpPr>
          <p:spPr>
            <a:xfrm>
              <a:off x="9399182" y="0"/>
              <a:ext cx="2798651" cy="812636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68" name="Picture 67">
              <a:extLst>
                <a:ext uri="{FF2B5EF4-FFF2-40B4-BE49-F238E27FC236}">
                  <a16:creationId xmlns:a16="http://schemas.microsoft.com/office/drawing/2014/main" id="{DC6F3D09-77E6-DD4A-B8C1-57D3B5AF8511}"/>
                </a:ext>
              </a:extLst>
            </p:cNvPr>
            <p:cNvPicPr>
              <a:picLocks noChangeAspect="1"/>
            </p:cNvPicPr>
            <p:nvPr userDrawn="1"/>
          </p:nvPicPr>
          <p:blipFill rotWithShape="1">
            <a:blip r:embed="rId2"/>
            <a:srcRect r="31332"/>
            <a:stretch/>
          </p:blipFill>
          <p:spPr>
            <a:xfrm>
              <a:off x="9558506" y="1334591"/>
              <a:ext cx="2639325" cy="793238"/>
            </a:xfrm>
            <a:prstGeom prst="rect">
              <a:avLst/>
            </a:prstGeom>
          </p:spPr>
        </p:pic>
        <p:sp>
          <p:nvSpPr>
            <p:cNvPr id="57" name="Rectangle 56">
              <a:extLst>
                <a:ext uri="{FF2B5EF4-FFF2-40B4-BE49-F238E27FC236}">
                  <a16:creationId xmlns:a16="http://schemas.microsoft.com/office/drawing/2014/main" id="{6FAA681A-5A01-3546-8044-1C8ECB661A3E}"/>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8" name="TextBox 57">
              <a:extLst>
                <a:ext uri="{FF2B5EF4-FFF2-40B4-BE49-F238E27FC236}">
                  <a16:creationId xmlns:a16="http://schemas.microsoft.com/office/drawing/2014/main" id="{94D0CDE4-38A0-8B46-802A-EFEB782422E0}"/>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59" name="Picture 58">
              <a:extLst>
                <a:ext uri="{FF2B5EF4-FFF2-40B4-BE49-F238E27FC236}">
                  <a16:creationId xmlns:a16="http://schemas.microsoft.com/office/drawing/2014/main" id="{F1F33519-662F-9A45-B84A-EC851E121091}"/>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grpSp>
          <p:nvGrpSpPr>
            <p:cNvPr id="6" name="Group 5">
              <a:extLst>
                <a:ext uri="{FF2B5EF4-FFF2-40B4-BE49-F238E27FC236}">
                  <a16:creationId xmlns:a16="http://schemas.microsoft.com/office/drawing/2014/main" id="{991FADFC-F7F0-CE43-B65A-8A3CF7063BA7}"/>
                </a:ext>
              </a:extLst>
            </p:cNvPr>
            <p:cNvGrpSpPr/>
            <p:nvPr userDrawn="1"/>
          </p:nvGrpSpPr>
          <p:grpSpPr>
            <a:xfrm>
              <a:off x="9521833" y="2279341"/>
              <a:ext cx="2754815" cy="6013825"/>
              <a:chOff x="9521833" y="2429703"/>
              <a:chExt cx="2754815" cy="6013825"/>
            </a:xfrm>
          </p:grpSpPr>
          <p:sp>
            <p:nvSpPr>
              <p:cNvPr id="25" name="TextBox 24">
                <a:extLst>
                  <a:ext uri="{FF2B5EF4-FFF2-40B4-BE49-F238E27FC236}">
                    <a16:creationId xmlns:a16="http://schemas.microsoft.com/office/drawing/2014/main" id="{50000E5F-473E-B14E-9172-0C267CD0D2E3}"/>
                  </a:ext>
                </a:extLst>
              </p:cNvPr>
              <p:cNvSpPr txBox="1"/>
              <p:nvPr userDrawn="1"/>
            </p:nvSpPr>
            <p:spPr>
              <a:xfrm>
                <a:off x="9558507" y="2429703"/>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26" name="Straight Connector 25">
                <a:extLst>
                  <a:ext uri="{FF2B5EF4-FFF2-40B4-BE49-F238E27FC236}">
                    <a16:creationId xmlns:a16="http://schemas.microsoft.com/office/drawing/2014/main" id="{4E62F4DD-8AD3-2F43-B8DF-8C54ABD90DFD}"/>
                  </a:ext>
                </a:extLst>
              </p:cNvPr>
              <p:cNvCxnSpPr>
                <a:cxnSpLocks/>
              </p:cNvCxnSpPr>
              <p:nvPr userDrawn="1"/>
            </p:nvCxnSpPr>
            <p:spPr>
              <a:xfrm>
                <a:off x="9558507" y="263232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C363D809-5FFE-3D42-B068-23D851F092D9}"/>
                  </a:ext>
                </a:extLst>
              </p:cNvPr>
              <p:cNvSpPr txBox="1"/>
              <p:nvPr userDrawn="1"/>
            </p:nvSpPr>
            <p:spPr>
              <a:xfrm>
                <a:off x="9686426" y="349063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sp>
            <p:nvSpPr>
              <p:cNvPr id="51" name="Rectangle 50">
                <a:extLst>
                  <a:ext uri="{FF2B5EF4-FFF2-40B4-BE49-F238E27FC236}">
                    <a16:creationId xmlns:a16="http://schemas.microsoft.com/office/drawing/2014/main" id="{AB47AC43-F715-C242-B27E-A04E6F462262}"/>
                  </a:ext>
                </a:extLst>
              </p:cNvPr>
              <p:cNvSpPr/>
              <p:nvPr userDrawn="1"/>
            </p:nvSpPr>
            <p:spPr>
              <a:xfrm>
                <a:off x="9541497" y="7032213"/>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2" name="TextBox 51">
                <a:extLst>
                  <a:ext uri="{FF2B5EF4-FFF2-40B4-BE49-F238E27FC236}">
                    <a16:creationId xmlns:a16="http://schemas.microsoft.com/office/drawing/2014/main" id="{148CB54C-821A-5D43-9B80-B00746C05FDA}"/>
                  </a:ext>
                </a:extLst>
              </p:cNvPr>
              <p:cNvSpPr txBox="1"/>
              <p:nvPr userDrawn="1"/>
            </p:nvSpPr>
            <p:spPr>
              <a:xfrm>
                <a:off x="9907688" y="7161013"/>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53" name="Graphic 52">
                <a:extLst>
                  <a:ext uri="{FF2B5EF4-FFF2-40B4-BE49-F238E27FC236}">
                    <a16:creationId xmlns:a16="http://schemas.microsoft.com/office/drawing/2014/main" id="{2504B4CD-2C7F-1246-A54A-8E3EBAAD534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171296"/>
                <a:ext cx="155227" cy="155227"/>
              </a:xfrm>
              <a:prstGeom prst="rect">
                <a:avLst/>
              </a:prstGeom>
            </p:spPr>
          </p:pic>
          <p:sp>
            <p:nvSpPr>
              <p:cNvPr id="54" name="TextBox 53">
                <a:extLst>
                  <a:ext uri="{FF2B5EF4-FFF2-40B4-BE49-F238E27FC236}">
                    <a16:creationId xmlns:a16="http://schemas.microsoft.com/office/drawing/2014/main" id="{62BFE2AB-0056-4F46-9E47-AE686B26A8F3}"/>
                  </a:ext>
                </a:extLst>
              </p:cNvPr>
              <p:cNvSpPr txBox="1"/>
              <p:nvPr userDrawn="1"/>
            </p:nvSpPr>
            <p:spPr>
              <a:xfrm>
                <a:off x="9716735" y="7740996"/>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5" name="TextBox 54">
                <a:extLst>
                  <a:ext uri="{FF2B5EF4-FFF2-40B4-BE49-F238E27FC236}">
                    <a16:creationId xmlns:a16="http://schemas.microsoft.com/office/drawing/2014/main" id="{89249B47-877A-7F4B-81CF-E1915A134B07}"/>
                  </a:ext>
                </a:extLst>
              </p:cNvPr>
              <p:cNvSpPr txBox="1"/>
              <p:nvPr userDrawn="1"/>
            </p:nvSpPr>
            <p:spPr>
              <a:xfrm>
                <a:off x="9716735" y="742215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6" name="TextBox 55">
                <a:extLst>
                  <a:ext uri="{FF2B5EF4-FFF2-40B4-BE49-F238E27FC236}">
                    <a16:creationId xmlns:a16="http://schemas.microsoft.com/office/drawing/2014/main" id="{25B3D92B-ADE7-4F4A-97DB-1DFE94A4713A}"/>
                  </a:ext>
                </a:extLst>
              </p:cNvPr>
              <p:cNvSpPr txBox="1"/>
              <p:nvPr userDrawn="1"/>
            </p:nvSpPr>
            <p:spPr>
              <a:xfrm>
                <a:off x="9716735" y="8190673"/>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sp>
            <p:nvSpPr>
              <p:cNvPr id="44" name="Rectangle 43">
                <a:extLst>
                  <a:ext uri="{FF2B5EF4-FFF2-40B4-BE49-F238E27FC236}">
                    <a16:creationId xmlns:a16="http://schemas.microsoft.com/office/drawing/2014/main" id="{27DA6595-306D-0A4B-AE99-BA22D473E46C}"/>
                  </a:ext>
                </a:extLst>
              </p:cNvPr>
              <p:cNvSpPr/>
              <p:nvPr userDrawn="1"/>
            </p:nvSpPr>
            <p:spPr>
              <a:xfrm>
                <a:off x="9541497" y="5675557"/>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5" name="TextBox 44">
                <a:extLst>
                  <a:ext uri="{FF2B5EF4-FFF2-40B4-BE49-F238E27FC236}">
                    <a16:creationId xmlns:a16="http://schemas.microsoft.com/office/drawing/2014/main" id="{EF7C1405-EF07-DF44-B3F2-FD2C93E0BA8B}"/>
                  </a:ext>
                </a:extLst>
              </p:cNvPr>
              <p:cNvSpPr txBox="1"/>
              <p:nvPr userDrawn="1"/>
            </p:nvSpPr>
            <p:spPr>
              <a:xfrm>
                <a:off x="9907688" y="580435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46" name="Graphic 45">
                <a:extLst>
                  <a:ext uri="{FF2B5EF4-FFF2-40B4-BE49-F238E27FC236}">
                    <a16:creationId xmlns:a16="http://schemas.microsoft.com/office/drawing/2014/main" id="{98B75E83-A291-C749-8530-D0134288939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814639"/>
                <a:ext cx="155227" cy="155227"/>
              </a:xfrm>
              <a:prstGeom prst="rect">
                <a:avLst/>
              </a:prstGeom>
            </p:spPr>
          </p:pic>
          <p:sp>
            <p:nvSpPr>
              <p:cNvPr id="47" name="TextBox 46">
                <a:extLst>
                  <a:ext uri="{FF2B5EF4-FFF2-40B4-BE49-F238E27FC236}">
                    <a16:creationId xmlns:a16="http://schemas.microsoft.com/office/drawing/2014/main" id="{49043FBC-99A8-904D-B1DC-ED8D203DAF7E}"/>
                  </a:ext>
                </a:extLst>
              </p:cNvPr>
              <p:cNvSpPr txBox="1"/>
              <p:nvPr userDrawn="1"/>
            </p:nvSpPr>
            <p:spPr>
              <a:xfrm>
                <a:off x="9701720" y="6068540"/>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48" name="Picture 47">
                <a:extLst>
                  <a:ext uri="{FF2B5EF4-FFF2-40B4-BE49-F238E27FC236}">
                    <a16:creationId xmlns:a16="http://schemas.microsoft.com/office/drawing/2014/main" id="{94798B0E-910D-4A4C-9F6F-4AAF72D24DFC}"/>
                  </a:ext>
                </a:extLst>
              </p:cNvPr>
              <p:cNvPicPr>
                <a:picLocks noChangeAspect="1"/>
              </p:cNvPicPr>
              <p:nvPr userDrawn="1"/>
            </p:nvPicPr>
            <p:blipFill rotWithShape="1">
              <a:blip r:embed="rId6"/>
              <a:srcRect l="33684" t="12097" r="43371" b="20368"/>
              <a:stretch/>
            </p:blipFill>
            <p:spPr>
              <a:xfrm>
                <a:off x="11498723" y="6152973"/>
                <a:ext cx="136897" cy="213643"/>
              </a:xfrm>
              <a:prstGeom prst="rect">
                <a:avLst/>
              </a:prstGeom>
              <a:ln w="19050">
                <a:solidFill>
                  <a:schemeClr val="accent3">
                    <a:lumMod val="60000"/>
                    <a:lumOff val="40000"/>
                  </a:schemeClr>
                </a:solidFill>
              </a:ln>
            </p:spPr>
          </p:pic>
          <p:sp>
            <p:nvSpPr>
              <p:cNvPr id="41" name="TextBox 40">
                <a:extLst>
                  <a:ext uri="{FF2B5EF4-FFF2-40B4-BE49-F238E27FC236}">
                    <a16:creationId xmlns:a16="http://schemas.microsoft.com/office/drawing/2014/main" id="{52BC29DD-C20C-EA42-8872-8414ACCDD374}"/>
                  </a:ext>
                </a:extLst>
              </p:cNvPr>
              <p:cNvSpPr txBox="1">
                <a:spLocks noChangeAspect="1"/>
              </p:cNvSpPr>
              <p:nvPr/>
            </p:nvSpPr>
            <p:spPr>
              <a:xfrm>
                <a:off x="9521833" y="27798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42" name="TextBox 41">
                <a:extLst>
                  <a:ext uri="{FF2B5EF4-FFF2-40B4-BE49-F238E27FC236}">
                    <a16:creationId xmlns:a16="http://schemas.microsoft.com/office/drawing/2014/main" id="{95A41E19-A5FB-2D4D-8D95-130C7BA64B44}"/>
                  </a:ext>
                </a:extLst>
              </p:cNvPr>
              <p:cNvSpPr txBox="1">
                <a:spLocks noChangeAspect="1"/>
              </p:cNvSpPr>
              <p:nvPr/>
            </p:nvSpPr>
            <p:spPr>
              <a:xfrm>
                <a:off x="9521833" y="327540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43" name="TextBox 42">
                <a:extLst>
                  <a:ext uri="{FF2B5EF4-FFF2-40B4-BE49-F238E27FC236}">
                    <a16:creationId xmlns:a16="http://schemas.microsoft.com/office/drawing/2014/main" id="{B4A2419C-7501-4D49-A0B2-08128721E5B0}"/>
                  </a:ext>
                </a:extLst>
              </p:cNvPr>
              <p:cNvSpPr txBox="1"/>
              <p:nvPr userDrawn="1"/>
            </p:nvSpPr>
            <p:spPr>
              <a:xfrm>
                <a:off x="9686426" y="2754823"/>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Select and download images from the Marketing Resource Database.</a:t>
                </a:r>
              </a:p>
              <a:p>
                <a:pPr lvl="0"/>
                <a:r>
                  <a:rPr lang="en-US" sz="1050"/>
                  <a:t>Add the image to the placeholder.</a:t>
                </a:r>
              </a:p>
            </p:txBody>
          </p:sp>
          <p:sp>
            <p:nvSpPr>
              <p:cNvPr id="33" name="TextBox 32">
                <a:extLst>
                  <a:ext uri="{FF2B5EF4-FFF2-40B4-BE49-F238E27FC236}">
                    <a16:creationId xmlns:a16="http://schemas.microsoft.com/office/drawing/2014/main" id="{5506C958-AF2C-9943-9FB4-E2A3C7843CB1}"/>
                  </a:ext>
                </a:extLst>
              </p:cNvPr>
              <p:cNvSpPr txBox="1"/>
              <p:nvPr userDrawn="1"/>
            </p:nvSpPr>
            <p:spPr>
              <a:xfrm>
                <a:off x="9674267" y="3773935"/>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34" name="TextBox 33">
                <a:extLst>
                  <a:ext uri="{FF2B5EF4-FFF2-40B4-BE49-F238E27FC236}">
                    <a16:creationId xmlns:a16="http://schemas.microsoft.com/office/drawing/2014/main" id="{C706E14D-CD4C-A845-9F04-15216A850EFD}"/>
                  </a:ext>
                </a:extLst>
              </p:cNvPr>
              <p:cNvSpPr txBox="1"/>
              <p:nvPr userDrawn="1"/>
            </p:nvSpPr>
            <p:spPr>
              <a:xfrm>
                <a:off x="9686426" y="418919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 </a:t>
                </a:r>
              </a:p>
              <a:p>
                <a:pPr lvl="1">
                  <a:buNone/>
                </a:pPr>
                <a:r>
                  <a:rPr lang="en-US" sz="1050"/>
                  <a:t>Right-click or use keyboard shortcuts to paste the image.</a:t>
                </a:r>
              </a:p>
            </p:txBody>
          </p:sp>
          <p:sp>
            <p:nvSpPr>
              <p:cNvPr id="35" name="TextBox 34">
                <a:extLst>
                  <a:ext uri="{FF2B5EF4-FFF2-40B4-BE49-F238E27FC236}">
                    <a16:creationId xmlns:a16="http://schemas.microsoft.com/office/drawing/2014/main" id="{781F2FB8-3E34-904B-A499-11E8E7059B83}"/>
                  </a:ext>
                </a:extLst>
              </p:cNvPr>
              <p:cNvSpPr txBox="1"/>
              <p:nvPr userDrawn="1"/>
            </p:nvSpPr>
            <p:spPr>
              <a:xfrm>
                <a:off x="9686426" y="490928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36" name="TextBox 35">
                <a:extLst>
                  <a:ext uri="{FF2B5EF4-FFF2-40B4-BE49-F238E27FC236}">
                    <a16:creationId xmlns:a16="http://schemas.microsoft.com/office/drawing/2014/main" id="{E470A557-B8E0-3A45-9AF0-EA49D8E444DD}"/>
                  </a:ext>
                </a:extLst>
              </p:cNvPr>
              <p:cNvSpPr txBox="1"/>
              <p:nvPr userDrawn="1"/>
            </p:nvSpPr>
            <p:spPr>
              <a:xfrm>
                <a:off x="9674267" y="5339845"/>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 </a:t>
                </a:r>
                <a:br>
                  <a:rPr lang="en-US" sz="700"/>
                </a:br>
                <a:r>
                  <a:rPr lang="en-US" sz="700"/>
                  <a:t>In this case use one of the other methods.</a:t>
                </a:r>
              </a:p>
            </p:txBody>
          </p:sp>
        </p:grpSp>
        <p:sp>
          <p:nvSpPr>
            <p:cNvPr id="39" name="TextBox 38">
              <a:extLst>
                <a:ext uri="{FF2B5EF4-FFF2-40B4-BE49-F238E27FC236}">
                  <a16:creationId xmlns:a16="http://schemas.microsoft.com/office/drawing/2014/main" id="{E6CC4D87-33F0-FC4F-BA5B-B1A92EB4BE71}"/>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40" name="Straight Connector 39">
              <a:extLst>
                <a:ext uri="{FF2B5EF4-FFF2-40B4-BE49-F238E27FC236}">
                  <a16:creationId xmlns:a16="http://schemas.microsoft.com/office/drawing/2014/main" id="{E1268B1E-F62E-304A-B81F-61E2F75FA67E}"/>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60" name="Text Placeholder 21">
            <a:extLst>
              <a:ext uri="{FF2B5EF4-FFF2-40B4-BE49-F238E27FC236}">
                <a16:creationId xmlns:a16="http://schemas.microsoft.com/office/drawing/2014/main" id="{AE87001B-4793-B648-AA15-C4839E720D70}"/>
              </a:ext>
            </a:extLst>
          </p:cNvPr>
          <p:cNvSpPr>
            <a:spLocks noGrp="1"/>
          </p:cNvSpPr>
          <p:nvPr userDrawn="1">
            <p:ph type="body" sz="quarter" idx="14" hasCustomPrompt="1"/>
          </p:nvPr>
        </p:nvSpPr>
        <p:spPr>
          <a:xfrm>
            <a:off x="9812449" y="6200776"/>
            <a:ext cx="1791763"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2" name="Date Placeholder 1">
            <a:extLst>
              <a:ext uri="{FF2B5EF4-FFF2-40B4-BE49-F238E27FC236}">
                <a16:creationId xmlns:a16="http://schemas.microsoft.com/office/drawing/2014/main" id="{639E4D18-9C18-1044-90FB-55BA101FB9A6}"/>
              </a:ext>
            </a:extLst>
          </p:cNvPr>
          <p:cNvSpPr>
            <a:spLocks noGrp="1"/>
          </p:cNvSpPr>
          <p:nvPr userDrawn="1">
            <p:ph type="dt" sz="half" idx="16"/>
          </p:nvPr>
        </p:nvSpPr>
        <p:spPr/>
        <p:txBody>
          <a:bodyPr/>
          <a:lstStyle/>
          <a:p>
            <a:endParaRPr lang="en-US"/>
          </a:p>
        </p:txBody>
      </p:sp>
      <p:sp>
        <p:nvSpPr>
          <p:cNvPr id="4" name="Footer Placeholder 3">
            <a:extLst>
              <a:ext uri="{FF2B5EF4-FFF2-40B4-BE49-F238E27FC236}">
                <a16:creationId xmlns:a16="http://schemas.microsoft.com/office/drawing/2014/main" id="{9A6F3FDB-CFE4-E643-8F66-62F5B43DC7E7}"/>
              </a:ext>
            </a:extLst>
          </p:cNvPr>
          <p:cNvSpPr>
            <a:spLocks noGrp="1"/>
          </p:cNvSpPr>
          <p:nvPr userDrawn="1">
            <p:ph type="ftr" sz="quarter" idx="17"/>
          </p:nvPr>
        </p:nvSpPr>
        <p:spPr/>
        <p:txBody>
          <a:bodyPr/>
          <a:lstStyle/>
          <a:p>
            <a:endParaRPr lang="en-US"/>
          </a:p>
        </p:txBody>
      </p:sp>
      <p:sp>
        <p:nvSpPr>
          <p:cNvPr id="5" name="Slide Number Placeholder 4">
            <a:extLst>
              <a:ext uri="{FF2B5EF4-FFF2-40B4-BE49-F238E27FC236}">
                <a16:creationId xmlns:a16="http://schemas.microsoft.com/office/drawing/2014/main" id="{DDB21BDA-AD36-4743-9F8E-0A4C0BC0DD64}"/>
              </a:ext>
            </a:extLst>
          </p:cNvPr>
          <p:cNvSpPr>
            <a:spLocks noGrp="1"/>
          </p:cNvSpPr>
          <p:nvPr userDrawn="1">
            <p:ph type="sldNum" sz="quarter" idx="18"/>
          </p:nvPr>
        </p:nvSpPr>
        <p:spPr>
          <a:noFill/>
        </p:spPr>
        <p:txBody>
          <a:bodyPr/>
          <a:lstStyle>
            <a:lvl1pPr>
              <a:defRPr>
                <a:solidFill>
                  <a:schemeClr val="bg1"/>
                </a:solidFill>
              </a:defRPr>
            </a:lvl1pPr>
          </a:lstStyle>
          <a:p>
            <a:pPr marL="12700"/>
            <a:fld id="{078C017C-E1B9-8443-B047-B08AAA027B45}" type="slidenum">
              <a:rPr lang="en-US" smtClean="0"/>
              <a:pPr marL="12700"/>
              <a:t>‹#›</a:t>
            </a:fld>
            <a:endParaRPr lang="en-US"/>
          </a:p>
        </p:txBody>
      </p:sp>
      <p:grpSp>
        <p:nvGrpSpPr>
          <p:cNvPr id="96" name="Group 95">
            <a:extLst>
              <a:ext uri="{FF2B5EF4-FFF2-40B4-BE49-F238E27FC236}">
                <a16:creationId xmlns:a16="http://schemas.microsoft.com/office/drawing/2014/main" id="{673DA702-693D-CC41-B851-ADCA7E442CAD}"/>
              </a:ext>
            </a:extLst>
          </p:cNvPr>
          <p:cNvGrpSpPr/>
          <p:nvPr userDrawn="1"/>
        </p:nvGrpSpPr>
        <p:grpSpPr>
          <a:xfrm>
            <a:off x="574987" y="-246933"/>
            <a:ext cx="11040535" cy="7347304"/>
            <a:chOff x="431240" y="-246933"/>
            <a:chExt cx="8280401" cy="7347304"/>
          </a:xfrm>
        </p:grpSpPr>
        <p:grpSp>
          <p:nvGrpSpPr>
            <p:cNvPr id="97" name="Group 96">
              <a:extLst>
                <a:ext uri="{FF2B5EF4-FFF2-40B4-BE49-F238E27FC236}">
                  <a16:creationId xmlns:a16="http://schemas.microsoft.com/office/drawing/2014/main" id="{68E21C45-C896-3A4E-9AC2-0B2E1C68424D}"/>
                </a:ext>
              </a:extLst>
            </p:cNvPr>
            <p:cNvGrpSpPr/>
            <p:nvPr userDrawn="1"/>
          </p:nvGrpSpPr>
          <p:grpSpPr>
            <a:xfrm>
              <a:off x="431242" y="6864579"/>
              <a:ext cx="8280398" cy="235792"/>
              <a:chOff x="431801" y="-235792"/>
              <a:chExt cx="4400550" cy="235792"/>
            </a:xfrm>
          </p:grpSpPr>
          <p:cxnSp>
            <p:nvCxnSpPr>
              <p:cNvPr id="106" name="Straight Connector 105">
                <a:extLst>
                  <a:ext uri="{FF2B5EF4-FFF2-40B4-BE49-F238E27FC236}">
                    <a16:creationId xmlns:a16="http://schemas.microsoft.com/office/drawing/2014/main" id="{E11C4987-4F88-FA4D-9044-5BEA5CD0FD7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FAFED8F-4D61-3A4C-B900-C1AFD5742855}"/>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0F0D3C41-93FC-C045-9185-5A21C57F01F2}"/>
                </a:ext>
              </a:extLst>
            </p:cNvPr>
            <p:cNvGrpSpPr/>
            <p:nvPr userDrawn="1"/>
          </p:nvGrpSpPr>
          <p:grpSpPr>
            <a:xfrm>
              <a:off x="431240" y="-246933"/>
              <a:ext cx="8280401" cy="235792"/>
              <a:chOff x="431800" y="-240735"/>
              <a:chExt cx="8280401" cy="235792"/>
            </a:xfrm>
          </p:grpSpPr>
          <p:grpSp>
            <p:nvGrpSpPr>
              <p:cNvPr id="99" name="Group 98">
                <a:extLst>
                  <a:ext uri="{FF2B5EF4-FFF2-40B4-BE49-F238E27FC236}">
                    <a16:creationId xmlns:a16="http://schemas.microsoft.com/office/drawing/2014/main" id="{1D065C1D-41DC-ED41-AC5F-9B220460AFDF}"/>
                  </a:ext>
                </a:extLst>
              </p:cNvPr>
              <p:cNvGrpSpPr/>
              <p:nvPr userDrawn="1"/>
            </p:nvGrpSpPr>
            <p:grpSpPr>
              <a:xfrm>
                <a:off x="431800" y="-240735"/>
                <a:ext cx="8280400" cy="235792"/>
                <a:chOff x="431800" y="-235792"/>
                <a:chExt cx="4400551" cy="235792"/>
              </a:xfrm>
            </p:grpSpPr>
            <p:cxnSp>
              <p:nvCxnSpPr>
                <p:cNvPr id="103" name="Straight Connector 102">
                  <a:extLst>
                    <a:ext uri="{FF2B5EF4-FFF2-40B4-BE49-F238E27FC236}">
                      <a16:creationId xmlns:a16="http://schemas.microsoft.com/office/drawing/2014/main" id="{0C96A83E-17A8-C54D-A34D-A4D00E992C7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EE874F0A-C444-FD4A-ABF6-C6D41FC80E5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E74B379E-15F9-2A4A-A6FF-49649073612C}"/>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100" name="TextBox 99">
                <a:extLst>
                  <a:ext uri="{FF2B5EF4-FFF2-40B4-BE49-F238E27FC236}">
                    <a16:creationId xmlns:a16="http://schemas.microsoft.com/office/drawing/2014/main" id="{4B9BE125-E956-8941-AE3B-AD6895BD1F8B}"/>
                  </a:ext>
                </a:extLst>
              </p:cNvPr>
              <p:cNvSpPr txBox="1"/>
              <p:nvPr userDrawn="1"/>
            </p:nvSpPr>
            <p:spPr>
              <a:xfrm>
                <a:off x="3914336" y="-176700"/>
                <a:ext cx="1315339"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101" name="Straight Arrow Connector 100">
                <a:extLst>
                  <a:ext uri="{FF2B5EF4-FFF2-40B4-BE49-F238E27FC236}">
                    <a16:creationId xmlns:a16="http://schemas.microsoft.com/office/drawing/2014/main" id="{B40F167B-24AA-EA40-9DF5-3D37F00624E8}"/>
                  </a:ext>
                </a:extLst>
              </p:cNvPr>
              <p:cNvCxnSpPr>
                <a:cxnSpLocks/>
                <a:stCxn id="100" idx="1"/>
                <a:endCxn id="105" idx="2"/>
              </p:cNvCxnSpPr>
              <p:nvPr userDrawn="1"/>
            </p:nvCxnSpPr>
            <p:spPr>
              <a:xfrm flipH="1">
                <a:off x="431801" y="-122839"/>
                <a:ext cx="3482535"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4111FD70-76FA-D84E-9207-CC62337BE3E4}"/>
                  </a:ext>
                </a:extLst>
              </p:cNvPr>
              <p:cNvCxnSpPr>
                <a:cxnSpLocks/>
                <a:stCxn id="100" idx="3"/>
                <a:endCxn id="105" idx="0"/>
              </p:cNvCxnSpPr>
              <p:nvPr userDrawn="1"/>
            </p:nvCxnSpPr>
            <p:spPr>
              <a:xfrm flipV="1">
                <a:off x="5229674" y="-122840"/>
                <a:ext cx="3482527"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04590203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Q+A (Plain)">
    <p:spTree>
      <p:nvGrpSpPr>
        <p:cNvPr id="1" name=""/>
        <p:cNvGrpSpPr/>
        <p:nvPr/>
      </p:nvGrpSpPr>
      <p:grpSpPr>
        <a:xfrm>
          <a:off x="0" y="0"/>
          <a:ext cx="0" cy="0"/>
          <a:chOff x="0" y="0"/>
          <a:chExt cx="0" cy="0"/>
        </a:xfrm>
      </p:grpSpPr>
      <p:sp>
        <p:nvSpPr>
          <p:cNvPr id="24" name="Freeform 23">
            <a:extLst>
              <a:ext uri="{FF2B5EF4-FFF2-40B4-BE49-F238E27FC236}">
                <a16:creationId xmlns:a16="http://schemas.microsoft.com/office/drawing/2014/main" id="{E79AC3E7-6F38-DB4F-A28C-F43DDC379D28}"/>
              </a:ext>
            </a:extLst>
          </p:cNvPr>
          <p:cNvSpPr/>
          <p:nvPr userDrawn="1"/>
        </p:nvSpPr>
        <p:spPr>
          <a:xfrm>
            <a:off x="1" y="0"/>
            <a:ext cx="9622695"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2" y="1881813"/>
            <a:ext cx="6926468" cy="3094376"/>
          </a:xfrm>
          <a:prstGeom prst="rect">
            <a:avLst/>
          </a:prstGeom>
          <a:noFill/>
          <a:ln>
            <a:noFill/>
          </a:ln>
        </p:spPr>
        <p:txBody>
          <a:bodyPr wrap="square" lIns="576000" tIns="0" rIns="0" bIns="0" anchor="ctr">
            <a:noAutofit/>
          </a:bodyPr>
          <a:lstStyle>
            <a:lvl1pPr marL="20638" indent="0">
              <a:spcAft>
                <a:spcPts val="300"/>
              </a:spcAft>
              <a:buNone/>
              <a:tabLst/>
              <a:defRPr sz="66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Q&amp;A message</a:t>
            </a:r>
          </a:p>
          <a:p>
            <a:pPr lvl="1"/>
            <a:r>
              <a:rPr lang="en-US"/>
              <a:t>Second level</a:t>
            </a:r>
          </a:p>
        </p:txBody>
      </p:sp>
      <p:grpSp>
        <p:nvGrpSpPr>
          <p:cNvPr id="9" name="Group 8">
            <a:extLst>
              <a:ext uri="{FF2B5EF4-FFF2-40B4-BE49-F238E27FC236}">
                <a16:creationId xmlns:a16="http://schemas.microsoft.com/office/drawing/2014/main" id="{A9A7483A-4424-4C4C-B1F2-8E0F2C79B3A4}"/>
              </a:ext>
            </a:extLst>
          </p:cNvPr>
          <p:cNvGrpSpPr/>
          <p:nvPr userDrawn="1"/>
        </p:nvGrpSpPr>
        <p:grpSpPr>
          <a:xfrm>
            <a:off x="12532244" y="-1"/>
            <a:ext cx="2979899" cy="6858001"/>
            <a:chOff x="9399182" y="-1"/>
            <a:chExt cx="2961715" cy="6858001"/>
          </a:xfrm>
        </p:grpSpPr>
        <p:sp>
          <p:nvSpPr>
            <p:cNvPr id="13" name="Rectangle 12">
              <a:extLst>
                <a:ext uri="{FF2B5EF4-FFF2-40B4-BE49-F238E27FC236}">
                  <a16:creationId xmlns:a16="http://schemas.microsoft.com/office/drawing/2014/main" id="{9743BD3E-2C67-B54E-81F0-54DACF7DFE45}"/>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47" name="Picture 46">
              <a:extLst>
                <a:ext uri="{FF2B5EF4-FFF2-40B4-BE49-F238E27FC236}">
                  <a16:creationId xmlns:a16="http://schemas.microsoft.com/office/drawing/2014/main" id="{A9367C43-CC85-224D-AD7D-1ED5A0D9F644}"/>
                </a:ext>
              </a:extLst>
            </p:cNvPr>
            <p:cNvPicPr>
              <a:picLocks noChangeAspect="1"/>
            </p:cNvPicPr>
            <p:nvPr userDrawn="1"/>
          </p:nvPicPr>
          <p:blipFill rotWithShape="1">
            <a:blip r:embed="rId2"/>
            <a:srcRect r="31332"/>
            <a:stretch/>
          </p:blipFill>
          <p:spPr>
            <a:xfrm>
              <a:off x="9558506" y="1334591"/>
              <a:ext cx="2639325" cy="793238"/>
            </a:xfrm>
            <a:prstGeom prst="rect">
              <a:avLst/>
            </a:prstGeom>
          </p:spPr>
        </p:pic>
        <p:grpSp>
          <p:nvGrpSpPr>
            <p:cNvPr id="17" name="Group 16">
              <a:extLst>
                <a:ext uri="{FF2B5EF4-FFF2-40B4-BE49-F238E27FC236}">
                  <a16:creationId xmlns:a16="http://schemas.microsoft.com/office/drawing/2014/main" id="{2A9C7FA4-FCE6-7949-A0D7-679DD9A64FDC}"/>
                </a:ext>
              </a:extLst>
            </p:cNvPr>
            <p:cNvGrpSpPr/>
            <p:nvPr userDrawn="1"/>
          </p:nvGrpSpPr>
          <p:grpSpPr>
            <a:xfrm>
              <a:off x="9541497" y="162442"/>
              <a:ext cx="2819400" cy="814510"/>
              <a:chOff x="-3644733" y="165205"/>
              <a:chExt cx="2819400" cy="814510"/>
            </a:xfrm>
          </p:grpSpPr>
          <p:sp>
            <p:nvSpPr>
              <p:cNvPr id="53" name="Rectangle 52">
                <a:extLst>
                  <a:ext uri="{FF2B5EF4-FFF2-40B4-BE49-F238E27FC236}">
                    <a16:creationId xmlns:a16="http://schemas.microsoft.com/office/drawing/2014/main" id="{E6A4374B-28C4-A446-B944-F0B0823BD893}"/>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4" name="TextBox 53">
                <a:extLst>
                  <a:ext uri="{FF2B5EF4-FFF2-40B4-BE49-F238E27FC236}">
                    <a16:creationId xmlns:a16="http://schemas.microsoft.com/office/drawing/2014/main" id="{EE586C57-8856-BD47-9CD4-B7DE17D313F0}"/>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55" name="Picture 54">
                <a:extLst>
                  <a:ext uri="{FF2B5EF4-FFF2-40B4-BE49-F238E27FC236}">
                    <a16:creationId xmlns:a16="http://schemas.microsoft.com/office/drawing/2014/main" id="{819A74B4-84E5-5946-9114-CF2C00B8314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35" name="TextBox 34">
              <a:extLst>
                <a:ext uri="{FF2B5EF4-FFF2-40B4-BE49-F238E27FC236}">
                  <a16:creationId xmlns:a16="http://schemas.microsoft.com/office/drawing/2014/main" id="{0C99A293-5185-464D-9613-58B7520A8FFD}"/>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36" name="Straight Connector 35">
              <a:extLst>
                <a:ext uri="{FF2B5EF4-FFF2-40B4-BE49-F238E27FC236}">
                  <a16:creationId xmlns:a16="http://schemas.microsoft.com/office/drawing/2014/main" id="{1C5A7CD5-C968-D840-92D1-2E763C0E070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6" name="Date Placeholder 5">
            <a:extLst>
              <a:ext uri="{FF2B5EF4-FFF2-40B4-BE49-F238E27FC236}">
                <a16:creationId xmlns:a16="http://schemas.microsoft.com/office/drawing/2014/main" id="{2A94A909-1D52-5E46-B1A0-D0AF81D2814A}"/>
              </a:ext>
            </a:extLst>
          </p:cNvPr>
          <p:cNvSpPr>
            <a:spLocks noGrp="1"/>
          </p:cNvSpPr>
          <p:nvPr userDrawn="1">
            <p:ph type="dt" sz="half" idx="16"/>
          </p:nvPr>
        </p:nvSpPr>
        <p:spPr/>
        <p:txBody>
          <a:bodyPr/>
          <a:lstStyle/>
          <a:p>
            <a:endParaRPr lang="en-US"/>
          </a:p>
        </p:txBody>
      </p:sp>
      <p:sp>
        <p:nvSpPr>
          <p:cNvPr id="7" name="Footer Placeholder 6">
            <a:extLst>
              <a:ext uri="{FF2B5EF4-FFF2-40B4-BE49-F238E27FC236}">
                <a16:creationId xmlns:a16="http://schemas.microsoft.com/office/drawing/2014/main" id="{37A6EC4E-A217-D940-A712-EF8E45593574}"/>
              </a:ext>
            </a:extLst>
          </p:cNvPr>
          <p:cNvSpPr>
            <a:spLocks noGrp="1"/>
          </p:cNvSpPr>
          <p:nvPr userDrawn="1">
            <p:ph type="ftr" sz="quarter" idx="17"/>
          </p:nvPr>
        </p:nvSpPr>
        <p:spPr/>
        <p:txBody>
          <a:bodyPr/>
          <a:lstStyle/>
          <a:p>
            <a:endParaRPr lang="en-US"/>
          </a:p>
        </p:txBody>
      </p:sp>
      <p:sp>
        <p:nvSpPr>
          <p:cNvPr id="8" name="Slide Number Placeholder 7">
            <a:extLst>
              <a:ext uri="{FF2B5EF4-FFF2-40B4-BE49-F238E27FC236}">
                <a16:creationId xmlns:a16="http://schemas.microsoft.com/office/drawing/2014/main" id="{95FB6912-B810-8A46-94FD-A4C9F97EBB58}"/>
              </a:ext>
            </a:extLst>
          </p:cNvPr>
          <p:cNvSpPr>
            <a:spLocks noGrp="1"/>
          </p:cNvSpPr>
          <p:nvPr userDrawn="1">
            <p:ph type="sldNum" sz="quarter" idx="18"/>
          </p:nvPr>
        </p:nvSpPr>
        <p:spPr/>
        <p:txBody>
          <a:bodyPr/>
          <a:lstStyle/>
          <a:p>
            <a:pPr marL="12700"/>
            <a:fld id="{078C017C-E1B9-8443-B047-B08AAA027B45}" type="slidenum">
              <a:rPr lang="en-US" smtClean="0"/>
              <a:pPr marL="12700"/>
              <a:t>‹#›</a:t>
            </a:fld>
            <a:endParaRPr lang="en-US"/>
          </a:p>
        </p:txBody>
      </p:sp>
      <p:grpSp>
        <p:nvGrpSpPr>
          <p:cNvPr id="31" name="Group 30">
            <a:extLst>
              <a:ext uri="{FF2B5EF4-FFF2-40B4-BE49-F238E27FC236}">
                <a16:creationId xmlns:a16="http://schemas.microsoft.com/office/drawing/2014/main" id="{ECDB5F78-53FA-F540-9184-B4244AFBB550}"/>
              </a:ext>
            </a:extLst>
          </p:cNvPr>
          <p:cNvGrpSpPr/>
          <p:nvPr userDrawn="1"/>
        </p:nvGrpSpPr>
        <p:grpSpPr>
          <a:xfrm>
            <a:off x="574987" y="-246933"/>
            <a:ext cx="11040535" cy="7347304"/>
            <a:chOff x="431240" y="-246933"/>
            <a:chExt cx="8280401" cy="7347304"/>
          </a:xfrm>
        </p:grpSpPr>
        <p:grpSp>
          <p:nvGrpSpPr>
            <p:cNvPr id="32" name="Group 31">
              <a:extLst>
                <a:ext uri="{FF2B5EF4-FFF2-40B4-BE49-F238E27FC236}">
                  <a16:creationId xmlns:a16="http://schemas.microsoft.com/office/drawing/2014/main" id="{E94D2956-4630-B947-85C0-FA902055800D}"/>
                </a:ext>
              </a:extLst>
            </p:cNvPr>
            <p:cNvGrpSpPr/>
            <p:nvPr userDrawn="1"/>
          </p:nvGrpSpPr>
          <p:grpSpPr>
            <a:xfrm>
              <a:off x="431242" y="6864579"/>
              <a:ext cx="8280398" cy="235792"/>
              <a:chOff x="431801" y="-235792"/>
              <a:chExt cx="4400550" cy="235792"/>
            </a:xfrm>
          </p:grpSpPr>
          <p:cxnSp>
            <p:nvCxnSpPr>
              <p:cNvPr id="45" name="Straight Connector 44">
                <a:extLst>
                  <a:ext uri="{FF2B5EF4-FFF2-40B4-BE49-F238E27FC236}">
                    <a16:creationId xmlns:a16="http://schemas.microsoft.com/office/drawing/2014/main" id="{A9DCB243-7CBD-CF41-A847-4743B31F6F4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A3C3437-8E87-6441-8B0A-8F8F806A150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C6173C6B-B5E5-C049-9D82-7736499206BB}"/>
                </a:ext>
              </a:extLst>
            </p:cNvPr>
            <p:cNvGrpSpPr/>
            <p:nvPr userDrawn="1"/>
          </p:nvGrpSpPr>
          <p:grpSpPr>
            <a:xfrm>
              <a:off x="431240" y="-246933"/>
              <a:ext cx="8280401" cy="235792"/>
              <a:chOff x="431800" y="-240735"/>
              <a:chExt cx="8280401" cy="235792"/>
            </a:xfrm>
          </p:grpSpPr>
          <p:grpSp>
            <p:nvGrpSpPr>
              <p:cNvPr id="38" name="Group 37">
                <a:extLst>
                  <a:ext uri="{FF2B5EF4-FFF2-40B4-BE49-F238E27FC236}">
                    <a16:creationId xmlns:a16="http://schemas.microsoft.com/office/drawing/2014/main" id="{7DB3214B-5835-0A45-ACF6-5EA3D2A2C2A4}"/>
                  </a:ext>
                </a:extLst>
              </p:cNvPr>
              <p:cNvGrpSpPr/>
              <p:nvPr userDrawn="1"/>
            </p:nvGrpSpPr>
            <p:grpSpPr>
              <a:xfrm>
                <a:off x="431800" y="-240735"/>
                <a:ext cx="8280400" cy="235792"/>
                <a:chOff x="431800" y="-235792"/>
                <a:chExt cx="4400551" cy="235792"/>
              </a:xfrm>
            </p:grpSpPr>
            <p:cxnSp>
              <p:nvCxnSpPr>
                <p:cNvPr id="42" name="Straight Connector 41">
                  <a:extLst>
                    <a:ext uri="{FF2B5EF4-FFF2-40B4-BE49-F238E27FC236}">
                      <a16:creationId xmlns:a16="http://schemas.microsoft.com/office/drawing/2014/main" id="{9CD9029C-552E-3842-9142-2A9B992CBCD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5CB89CE-5B72-E546-9AC4-BA4ABE7B6E5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96D438F2-534B-EE4B-B585-C4CC5EDDB6F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39" name="TextBox 38">
                <a:extLst>
                  <a:ext uri="{FF2B5EF4-FFF2-40B4-BE49-F238E27FC236}">
                    <a16:creationId xmlns:a16="http://schemas.microsoft.com/office/drawing/2014/main" id="{64038C5B-89D1-BD45-9508-F03D30A080FB}"/>
                  </a:ext>
                </a:extLst>
              </p:cNvPr>
              <p:cNvSpPr txBox="1"/>
              <p:nvPr userDrawn="1"/>
            </p:nvSpPr>
            <p:spPr>
              <a:xfrm>
                <a:off x="3914336" y="-176700"/>
                <a:ext cx="1315339"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40" name="Straight Arrow Connector 39">
                <a:extLst>
                  <a:ext uri="{FF2B5EF4-FFF2-40B4-BE49-F238E27FC236}">
                    <a16:creationId xmlns:a16="http://schemas.microsoft.com/office/drawing/2014/main" id="{EF67F087-0FB9-A040-AE75-7F2F09852397}"/>
                  </a:ext>
                </a:extLst>
              </p:cNvPr>
              <p:cNvCxnSpPr>
                <a:cxnSpLocks/>
                <a:stCxn id="39" idx="1"/>
                <a:endCxn id="44" idx="2"/>
              </p:cNvCxnSpPr>
              <p:nvPr userDrawn="1"/>
            </p:nvCxnSpPr>
            <p:spPr>
              <a:xfrm flipH="1">
                <a:off x="431801" y="-122839"/>
                <a:ext cx="3482535"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CD7BC267-67E7-4F46-8C2A-B2420627EE12}"/>
                  </a:ext>
                </a:extLst>
              </p:cNvPr>
              <p:cNvCxnSpPr>
                <a:cxnSpLocks/>
                <a:stCxn id="39" idx="3"/>
                <a:endCxn id="44" idx="0"/>
              </p:cNvCxnSpPr>
              <p:nvPr userDrawn="1"/>
            </p:nvCxnSpPr>
            <p:spPr>
              <a:xfrm flipV="1">
                <a:off x="5229674" y="-122840"/>
                <a:ext cx="3482527"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49" name="Group 48">
            <a:extLst>
              <a:ext uri="{FF2B5EF4-FFF2-40B4-BE49-F238E27FC236}">
                <a16:creationId xmlns:a16="http://schemas.microsoft.com/office/drawing/2014/main" id="{F3D5050E-2421-F24E-A9D1-61866BEE547B}"/>
              </a:ext>
            </a:extLst>
          </p:cNvPr>
          <p:cNvGrpSpPr/>
          <p:nvPr userDrawn="1"/>
        </p:nvGrpSpPr>
        <p:grpSpPr>
          <a:xfrm>
            <a:off x="-266702" y="2429705"/>
            <a:ext cx="259365" cy="1998593"/>
            <a:chOff x="-256404" y="360363"/>
            <a:chExt cx="251461" cy="692152"/>
          </a:xfrm>
        </p:grpSpPr>
        <p:grpSp>
          <p:nvGrpSpPr>
            <p:cNvPr id="50" name="Group 49">
              <a:extLst>
                <a:ext uri="{FF2B5EF4-FFF2-40B4-BE49-F238E27FC236}">
                  <a16:creationId xmlns:a16="http://schemas.microsoft.com/office/drawing/2014/main" id="{FE150199-E995-014B-B101-58C86CCDEE45}"/>
                </a:ext>
              </a:extLst>
            </p:cNvPr>
            <p:cNvGrpSpPr/>
            <p:nvPr userDrawn="1"/>
          </p:nvGrpSpPr>
          <p:grpSpPr>
            <a:xfrm rot="16200000">
              <a:off x="-476749" y="580708"/>
              <a:ext cx="692152" cy="251461"/>
              <a:chOff x="431800" y="-235792"/>
              <a:chExt cx="4400551" cy="235792"/>
            </a:xfrm>
          </p:grpSpPr>
          <p:cxnSp>
            <p:nvCxnSpPr>
              <p:cNvPr id="52" name="Straight Connector 51">
                <a:extLst>
                  <a:ext uri="{FF2B5EF4-FFF2-40B4-BE49-F238E27FC236}">
                    <a16:creationId xmlns:a16="http://schemas.microsoft.com/office/drawing/2014/main" id="{680E7508-08AA-F541-8C01-7B276FA27A12}"/>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CD9EC4F8-B413-4E43-A8EC-5D59BC5EC1D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7" name="Rectangle 56">
                <a:extLst>
                  <a:ext uri="{FF2B5EF4-FFF2-40B4-BE49-F238E27FC236}">
                    <a16:creationId xmlns:a16="http://schemas.microsoft.com/office/drawing/2014/main" id="{96CCB060-2878-E349-80BC-29C7290FE74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51" name="TextBox 50">
              <a:extLst>
                <a:ext uri="{FF2B5EF4-FFF2-40B4-BE49-F238E27FC236}">
                  <a16:creationId xmlns:a16="http://schemas.microsoft.com/office/drawing/2014/main" id="{4092E4F9-A73D-914C-AAE5-52CDFCCFE848}"/>
                </a:ext>
              </a:extLst>
            </p:cNvPr>
            <p:cNvSpPr txBox="1"/>
            <p:nvPr userDrawn="1"/>
          </p:nvSpPr>
          <p:spPr>
            <a:xfrm rot="16200000">
              <a:off x="-244472" y="662666"/>
              <a:ext cx="227612"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Q&amp;A MESSAGE</a:t>
              </a:r>
            </a:p>
          </p:txBody>
        </p:sp>
      </p:grpSp>
    </p:spTree>
    <p:extLst>
      <p:ext uri="{BB962C8B-B14F-4D97-AF65-F5344CB8AC3E}">
        <p14:creationId xmlns:p14="http://schemas.microsoft.com/office/powerpoint/2010/main" val="3510023617"/>
      </p:ext>
    </p:extLst>
  </p:cSld>
  <p:clrMapOvr>
    <a:overrideClrMapping bg1="lt1" tx1="dk1" bg2="lt2" tx2="dk2" accent1="accent1" accent2="accent2" accent3="accent3" accent4="accent4" accent5="accent5" accent6="accent6" hlink="lt1" folHlink="lt1"/>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hank You (Photo)">
    <p:bg>
      <p:bgPr>
        <a:solidFill>
          <a:schemeClr val="bg1"/>
        </a:solidFill>
        <a:effectLst/>
      </p:bgPr>
    </p:bg>
    <p:spTree>
      <p:nvGrpSpPr>
        <p:cNvPr id="1" name=""/>
        <p:cNvGrpSpPr/>
        <p:nvPr/>
      </p:nvGrpSpPr>
      <p:grpSpPr>
        <a:xfrm>
          <a:off x="0" y="0"/>
          <a:ext cx="0" cy="0"/>
          <a:chOff x="0" y="0"/>
          <a:chExt cx="0" cy="0"/>
        </a:xfrm>
      </p:grpSpPr>
      <p:sp>
        <p:nvSpPr>
          <p:cNvPr id="67" name="Picture Placeholder 63">
            <a:extLst>
              <a:ext uri="{FF2B5EF4-FFF2-40B4-BE49-F238E27FC236}">
                <a16:creationId xmlns:a16="http://schemas.microsoft.com/office/drawing/2014/main" id="{3F8D3899-0F74-BD4D-A78F-712D2F43CE87}"/>
              </a:ext>
            </a:extLst>
          </p:cNvPr>
          <p:cNvSpPr>
            <a:spLocks noGrp="1"/>
          </p:cNvSpPr>
          <p:nvPr>
            <p:ph type="pic" sz="quarter" idx="13" hasCustomPrompt="1"/>
          </p:nvPr>
        </p:nvSpPr>
        <p:spPr>
          <a:xfrm>
            <a:off x="1" y="1"/>
            <a:ext cx="12192000" cy="6858000"/>
          </a:xfrm>
          <a:custGeom>
            <a:avLst/>
            <a:gdLst>
              <a:gd name="connsiteX0" fmla="*/ 0 w 9144000"/>
              <a:gd name="connsiteY0" fmla="*/ 0 h 6858000"/>
              <a:gd name="connsiteX1" fmla="*/ 9144000 w 9144000"/>
              <a:gd name="connsiteY1" fmla="*/ 0 h 6858000"/>
              <a:gd name="connsiteX2" fmla="*/ 9144000 w 9144000"/>
              <a:gd name="connsiteY2" fmla="*/ 6858000 h 6858000"/>
              <a:gd name="connsiteX3" fmla="*/ 0 w 9144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9144000" h="6858000">
                <a:moveTo>
                  <a:pt x="0" y="0"/>
                </a:moveTo>
                <a:lnTo>
                  <a:pt x="9144000" y="0"/>
                </a:lnTo>
                <a:lnTo>
                  <a:pt x="9144000" y="6858000"/>
                </a:lnTo>
                <a:lnTo>
                  <a:pt x="0" y="6858000"/>
                </a:lnTo>
                <a:close/>
              </a:path>
            </a:pathLst>
          </a:custGeom>
          <a:solidFill>
            <a:schemeClr val="accent5">
              <a:lumMod val="60000"/>
              <a:lumOff val="40000"/>
            </a:schemeClr>
          </a:solidFill>
          <a:ln>
            <a:solidFill>
              <a:srgbClr val="003865">
                <a:shade val="50000"/>
                <a:alpha val="0"/>
              </a:srgbClr>
            </a:solidFill>
          </a:ln>
        </p:spPr>
        <p:txBody>
          <a:bodyPr wrap="square" rIns="432000" anchor="ctr">
            <a:noAutofit/>
          </a:bodyPr>
          <a:lstStyle>
            <a:lvl1pPr marL="0" indent="0" algn="r">
              <a:spcBef>
                <a:spcPts val="0"/>
              </a:spcBef>
              <a:spcAft>
                <a:spcPts val="0"/>
              </a:spcAft>
              <a:buNone/>
              <a:defRPr b="0">
                <a:solidFill>
                  <a:schemeClr val="bg1"/>
                </a:solidFill>
              </a:defRPr>
            </a:lvl1pPr>
          </a:lstStyle>
          <a:p>
            <a:r>
              <a:rPr lang="en-US"/>
              <a:t>Drag image onto slide to add photo</a:t>
            </a:r>
          </a:p>
        </p:txBody>
      </p:sp>
      <p:sp>
        <p:nvSpPr>
          <p:cNvPr id="64" name="Text Placeholder 23">
            <a:extLst>
              <a:ext uri="{FF2B5EF4-FFF2-40B4-BE49-F238E27FC236}">
                <a16:creationId xmlns:a16="http://schemas.microsoft.com/office/drawing/2014/main" id="{28F0A9BD-2D77-9948-9FFD-8D0B547FF5F7}"/>
              </a:ext>
            </a:extLst>
          </p:cNvPr>
          <p:cNvSpPr>
            <a:spLocks noGrp="1"/>
          </p:cNvSpPr>
          <p:nvPr>
            <p:ph type="body" sz="quarter" idx="15" hasCustomPrompt="1"/>
          </p:nvPr>
        </p:nvSpPr>
        <p:spPr>
          <a:xfrm>
            <a:off x="0" y="0"/>
            <a:ext cx="9622697" cy="6858000"/>
          </a:xfrm>
          <a:custGeom>
            <a:avLst/>
            <a:gdLst>
              <a:gd name="connsiteX0" fmla="*/ 0 w 9622697"/>
              <a:gd name="connsiteY0" fmla="*/ 0 h 6858000"/>
              <a:gd name="connsiteX1" fmla="*/ 2365513 w 9622697"/>
              <a:gd name="connsiteY1" fmla="*/ 0 h 6858000"/>
              <a:gd name="connsiteX2" fmla="*/ 3061252 w 9622697"/>
              <a:gd name="connsiteY2" fmla="*/ 0 h 6858000"/>
              <a:gd name="connsiteX3" fmla="*/ 6350120 w 9622697"/>
              <a:gd name="connsiteY3" fmla="*/ 0 h 6858000"/>
              <a:gd name="connsiteX4" fmla="*/ 9622697 w 9622697"/>
              <a:gd name="connsiteY4" fmla="*/ 6858000 h 6858000"/>
              <a:gd name="connsiteX5" fmla="*/ 3061252 w 9622697"/>
              <a:gd name="connsiteY5" fmla="*/ 6858000 h 6858000"/>
              <a:gd name="connsiteX6" fmla="*/ 2365513 w 9622697"/>
              <a:gd name="connsiteY6" fmla="*/ 6858000 h 6858000"/>
              <a:gd name="connsiteX7" fmla="*/ 0 w 9622697"/>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622697" h="6858000">
                <a:moveTo>
                  <a:pt x="0" y="0"/>
                </a:moveTo>
                <a:lnTo>
                  <a:pt x="2365513" y="0"/>
                </a:lnTo>
                <a:lnTo>
                  <a:pt x="3061252" y="0"/>
                </a:lnTo>
                <a:lnTo>
                  <a:pt x="6350120" y="0"/>
                </a:lnTo>
                <a:lnTo>
                  <a:pt x="9622697" y="6858000"/>
                </a:lnTo>
                <a:lnTo>
                  <a:pt x="3061252" y="6858000"/>
                </a:lnTo>
                <a:lnTo>
                  <a:pt x="2365513" y="6858000"/>
                </a:lnTo>
                <a:lnTo>
                  <a:pt x="0" y="6858000"/>
                </a:lnTo>
                <a:close/>
              </a:path>
            </a:pathLst>
          </a:custGeom>
          <a:gradFill>
            <a:gsLst>
              <a:gs pos="13000">
                <a:schemeClr val="accent1"/>
              </a:gs>
              <a:gs pos="97000">
                <a:schemeClr val="accent1">
                  <a:alpha val="80000"/>
                </a:schemeClr>
              </a:gs>
            </a:gsLst>
            <a:lin ang="5400000" scaled="0"/>
          </a:gradFill>
          <a:ln>
            <a:solidFill>
              <a:srgbClr val="003865">
                <a:shade val="50000"/>
                <a:alpha val="0"/>
              </a:srgbClr>
            </a:solidFill>
          </a:ln>
        </p:spPr>
        <p:txBody>
          <a:bodyPr wrap="square" lIns="576000" tIns="3600000" rIns="2160000" bIns="648000" anchor="t">
            <a:noAutofit/>
          </a:bodyPr>
          <a:lstStyle>
            <a:lvl1pPr marL="4763" indent="0">
              <a:spcAft>
                <a:spcPts val="300"/>
              </a:spcAft>
              <a:buFontTx/>
              <a:buNone/>
              <a:tabLst/>
              <a:defRPr sz="1400" b="1">
                <a:solidFill>
                  <a:schemeClr val="bg1"/>
                </a:solidFill>
              </a:defRPr>
            </a:lvl1pPr>
            <a:lvl2pPr marL="4763" indent="0">
              <a:spcAft>
                <a:spcPts val="200"/>
              </a:spcAft>
              <a:buFontTx/>
              <a:buNone/>
              <a:tabLst/>
              <a:defRPr sz="1400">
                <a:solidFill>
                  <a:schemeClr val="bg1"/>
                </a:solidFill>
              </a:defRPr>
            </a:lvl2pPr>
            <a:lvl3pPr marL="4763" indent="0">
              <a:spcAft>
                <a:spcPts val="200"/>
              </a:spcAft>
              <a:buFontTx/>
              <a:buNone/>
              <a:tabLst/>
              <a:defRPr sz="1400">
                <a:solidFill>
                  <a:schemeClr val="bg1"/>
                </a:solidFill>
              </a:defRPr>
            </a:lvl3pPr>
            <a:lvl4pPr marL="4763" indent="0">
              <a:spcAft>
                <a:spcPts val="200"/>
              </a:spcAft>
              <a:buFontTx/>
              <a:buNone/>
              <a:tabLst/>
              <a:defRPr sz="1400">
                <a:solidFill>
                  <a:schemeClr val="bg1"/>
                </a:solidFill>
              </a:defRPr>
            </a:lvl4pPr>
            <a:lvl5pPr marL="4763" indent="0">
              <a:spcAft>
                <a:spcPts val="200"/>
              </a:spcAft>
              <a:buFontTx/>
              <a:buNone/>
              <a:tabLst/>
              <a:defRPr sz="1400">
                <a:solidFill>
                  <a:schemeClr val="bg1"/>
                </a:solidFill>
              </a:defRPr>
            </a:lvl5pPr>
            <a:lvl6pPr marL="4763" indent="0">
              <a:buFontTx/>
              <a:buNone/>
              <a:tabLst/>
              <a:defRPr>
                <a:solidFill>
                  <a:schemeClr val="bg1"/>
                </a:solidFill>
              </a:defRPr>
            </a:lvl6pPr>
            <a:lvl7pPr marL="4763" indent="0">
              <a:buFontTx/>
              <a:buNone/>
              <a:tabLst/>
              <a:defRPr>
                <a:solidFill>
                  <a:schemeClr val="bg1"/>
                </a:solidFill>
              </a:defRPr>
            </a:lvl7pPr>
            <a:lvl8pPr marL="4763" indent="0">
              <a:buFontTx/>
              <a:buNone/>
              <a:tabLst/>
              <a:defRPr>
                <a:solidFill>
                  <a:schemeClr val="bg1"/>
                </a:solidFill>
              </a:defRPr>
            </a:lvl8pPr>
            <a:lvl9pPr marL="4763" indent="0">
              <a:buFontTx/>
              <a:buNone/>
              <a:tabLst/>
              <a:defRPr>
                <a:solidFill>
                  <a:schemeClr val="bg1"/>
                </a:solidFill>
              </a:defRPr>
            </a:lvl9pPr>
          </a:lstStyle>
          <a:p>
            <a:pPr lvl="0"/>
            <a:r>
              <a:rPr lang="en-US"/>
              <a:t>Click to add contact information</a:t>
            </a:r>
          </a:p>
          <a:p>
            <a:pPr lvl="1"/>
            <a:r>
              <a:rPr lang="en-US"/>
              <a:t>Second level</a:t>
            </a:r>
          </a:p>
        </p:txBody>
      </p:sp>
      <p:sp>
        <p:nvSpPr>
          <p:cNvPr id="2" name="Title 1">
            <a:extLst>
              <a:ext uri="{FF2B5EF4-FFF2-40B4-BE49-F238E27FC236}">
                <a16:creationId xmlns:a16="http://schemas.microsoft.com/office/drawing/2014/main" id="{AE92DE0F-EE53-C14F-99E3-F9D9748A8383}"/>
              </a:ext>
            </a:extLst>
          </p:cNvPr>
          <p:cNvSpPr>
            <a:spLocks noGrp="1"/>
          </p:cNvSpPr>
          <p:nvPr>
            <p:ph type="title" hasCustomPrompt="1"/>
          </p:nvPr>
        </p:nvSpPr>
        <p:spPr>
          <a:xfrm>
            <a:off x="575734" y="2402732"/>
            <a:ext cx="6177993" cy="922907"/>
          </a:xfrm>
        </p:spPr>
        <p:txBody>
          <a:bodyPr/>
          <a:lstStyle>
            <a:lvl1pPr>
              <a:defRPr sz="3200">
                <a:solidFill>
                  <a:schemeClr val="bg2"/>
                </a:solidFill>
              </a:defRPr>
            </a:lvl1pPr>
          </a:lstStyle>
          <a:p>
            <a:r>
              <a:rPr lang="en-US"/>
              <a:t>Click to add</a:t>
            </a:r>
            <a:br>
              <a:rPr lang="en-US"/>
            </a:br>
            <a:r>
              <a:rPr lang="en-US"/>
              <a:t>thank-you message</a:t>
            </a:r>
          </a:p>
        </p:txBody>
      </p:sp>
      <p:grpSp>
        <p:nvGrpSpPr>
          <p:cNvPr id="4" name="Group 3">
            <a:extLst>
              <a:ext uri="{FF2B5EF4-FFF2-40B4-BE49-F238E27FC236}">
                <a16:creationId xmlns:a16="http://schemas.microsoft.com/office/drawing/2014/main" id="{FD15AB50-5827-644C-BD9F-19FAA6DE3D80}"/>
              </a:ext>
            </a:extLst>
          </p:cNvPr>
          <p:cNvGrpSpPr/>
          <p:nvPr userDrawn="1"/>
        </p:nvGrpSpPr>
        <p:grpSpPr>
          <a:xfrm>
            <a:off x="-266703" y="2477066"/>
            <a:ext cx="259366" cy="2510630"/>
            <a:chOff x="-266703" y="2477066"/>
            <a:chExt cx="259366" cy="2510630"/>
          </a:xfrm>
        </p:grpSpPr>
        <p:grpSp>
          <p:nvGrpSpPr>
            <p:cNvPr id="7" name="Group 6">
              <a:extLst>
                <a:ext uri="{FF2B5EF4-FFF2-40B4-BE49-F238E27FC236}">
                  <a16:creationId xmlns:a16="http://schemas.microsoft.com/office/drawing/2014/main" id="{B0A164B3-8FCE-4E4B-B360-04ECA3CD2AA8}"/>
                </a:ext>
              </a:extLst>
            </p:cNvPr>
            <p:cNvGrpSpPr/>
            <p:nvPr userDrawn="1"/>
          </p:nvGrpSpPr>
          <p:grpSpPr>
            <a:xfrm>
              <a:off x="-266703" y="2477066"/>
              <a:ext cx="259366" cy="787628"/>
              <a:chOff x="-256404" y="360363"/>
              <a:chExt cx="251461" cy="692152"/>
            </a:xfrm>
          </p:grpSpPr>
          <p:grpSp>
            <p:nvGrpSpPr>
              <p:cNvPr id="8" name="Group 7">
                <a:extLst>
                  <a:ext uri="{FF2B5EF4-FFF2-40B4-BE49-F238E27FC236}">
                    <a16:creationId xmlns:a16="http://schemas.microsoft.com/office/drawing/2014/main" id="{B41D2554-9517-BF41-8E4D-516D3FB68F51}"/>
                  </a:ext>
                </a:extLst>
              </p:cNvPr>
              <p:cNvGrpSpPr/>
              <p:nvPr userDrawn="1"/>
            </p:nvGrpSpPr>
            <p:grpSpPr>
              <a:xfrm rot="16200000">
                <a:off x="-476749" y="580708"/>
                <a:ext cx="692152" cy="251461"/>
                <a:chOff x="431800" y="-235792"/>
                <a:chExt cx="4400551" cy="235792"/>
              </a:xfrm>
            </p:grpSpPr>
            <p:cxnSp>
              <p:nvCxnSpPr>
                <p:cNvPr id="10" name="Straight Connector 9">
                  <a:extLst>
                    <a:ext uri="{FF2B5EF4-FFF2-40B4-BE49-F238E27FC236}">
                      <a16:creationId xmlns:a16="http://schemas.microsoft.com/office/drawing/2014/main" id="{663ADAD1-481A-7B4C-986E-CFA8555641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A3487CA-6D0B-C049-B9A4-75466E8DD3B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EB925DF6-3FFE-BD40-9EE2-29A73ECA1CE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9" name="TextBox 8">
                <a:extLst>
                  <a:ext uri="{FF2B5EF4-FFF2-40B4-BE49-F238E27FC236}">
                    <a16:creationId xmlns:a16="http://schemas.microsoft.com/office/drawing/2014/main" id="{6D5BF6DD-76B4-0145-A962-2C82A8F2CC6B}"/>
                  </a:ext>
                </a:extLst>
              </p:cNvPr>
              <p:cNvSpPr txBox="1"/>
              <p:nvPr userDrawn="1"/>
            </p:nvSpPr>
            <p:spPr>
              <a:xfrm rot="16200000">
                <a:off x="-359580" y="622270"/>
                <a:ext cx="457823" cy="161583"/>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HANK YOU</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50A982D0-E4B8-1041-813F-BDDC3436A88D}"/>
                </a:ext>
              </a:extLst>
            </p:cNvPr>
            <p:cNvGrpSpPr/>
            <p:nvPr userDrawn="1"/>
          </p:nvGrpSpPr>
          <p:grpSpPr>
            <a:xfrm>
              <a:off x="-266703" y="3622630"/>
              <a:ext cx="259366" cy="1365066"/>
              <a:chOff x="-256404" y="360363"/>
              <a:chExt cx="251461" cy="692152"/>
            </a:xfrm>
          </p:grpSpPr>
          <p:grpSp>
            <p:nvGrpSpPr>
              <p:cNvPr id="17" name="Group 16">
                <a:extLst>
                  <a:ext uri="{FF2B5EF4-FFF2-40B4-BE49-F238E27FC236}">
                    <a16:creationId xmlns:a16="http://schemas.microsoft.com/office/drawing/2014/main" id="{C83CFF79-5962-9D49-8E42-F2AF4C267204}"/>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A6F525C6-8B46-4140-AF00-48FB794ECBC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04655F-D15F-D843-AA38-CAA6FDF115A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43ACDE28-DF49-C14A-B556-C3FBEB96DDE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18" name="TextBox 17">
                <a:extLst>
                  <a:ext uri="{FF2B5EF4-FFF2-40B4-BE49-F238E27FC236}">
                    <a16:creationId xmlns:a16="http://schemas.microsoft.com/office/drawing/2014/main" id="{509205E5-0F35-EB40-8B2F-8E547892AACD}"/>
                  </a:ext>
                </a:extLst>
              </p:cNvPr>
              <p:cNvSpPr txBox="1"/>
              <p:nvPr userDrawn="1"/>
            </p:nvSpPr>
            <p:spPr>
              <a:xfrm rot="16200000">
                <a:off x="-300948" y="662666"/>
                <a:ext cx="340562"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CONTACT INFO</a:t>
                </a:r>
              </a:p>
            </p:txBody>
          </p:sp>
        </p:grpSp>
      </p:grpSp>
      <p:grpSp>
        <p:nvGrpSpPr>
          <p:cNvPr id="12" name="Group 11">
            <a:extLst>
              <a:ext uri="{FF2B5EF4-FFF2-40B4-BE49-F238E27FC236}">
                <a16:creationId xmlns:a16="http://schemas.microsoft.com/office/drawing/2014/main" id="{BA758FF0-EC9E-6B46-A4C9-01A3BF66C044}"/>
              </a:ext>
            </a:extLst>
          </p:cNvPr>
          <p:cNvGrpSpPr/>
          <p:nvPr userDrawn="1"/>
        </p:nvGrpSpPr>
        <p:grpSpPr>
          <a:xfrm>
            <a:off x="12532244" y="-1"/>
            <a:ext cx="2979899" cy="8008683"/>
            <a:chOff x="12532243" y="-1"/>
            <a:chExt cx="3948953" cy="8008683"/>
          </a:xfrm>
        </p:grpSpPr>
        <p:sp>
          <p:nvSpPr>
            <p:cNvPr id="24" name="Rectangle 23">
              <a:extLst>
                <a:ext uri="{FF2B5EF4-FFF2-40B4-BE49-F238E27FC236}">
                  <a16:creationId xmlns:a16="http://schemas.microsoft.com/office/drawing/2014/main" id="{8F61A072-3C5F-4846-BB8E-52BBAAD71B0D}"/>
                </a:ext>
              </a:extLst>
            </p:cNvPr>
            <p:cNvSpPr/>
            <p:nvPr userDrawn="1"/>
          </p:nvSpPr>
          <p:spPr>
            <a:xfrm>
              <a:off x="12532243" y="-1"/>
              <a:ext cx="3731535" cy="786089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73" name="Picture 72">
              <a:extLst>
                <a:ext uri="{FF2B5EF4-FFF2-40B4-BE49-F238E27FC236}">
                  <a16:creationId xmlns:a16="http://schemas.microsoft.com/office/drawing/2014/main" id="{9623AF5A-508B-0F44-9682-E5B1C5647AF4}"/>
                </a:ext>
              </a:extLst>
            </p:cNvPr>
            <p:cNvPicPr>
              <a:picLocks noChangeAspect="1"/>
            </p:cNvPicPr>
            <p:nvPr userDrawn="1"/>
          </p:nvPicPr>
          <p:blipFill rotWithShape="1">
            <a:blip r:embed="rId2"/>
            <a:srcRect r="44021" b="6017"/>
            <a:stretch/>
          </p:blipFill>
          <p:spPr>
            <a:xfrm>
              <a:off x="12744675" y="1323798"/>
              <a:ext cx="3510051" cy="532435"/>
            </a:xfrm>
            <a:prstGeom prst="rect">
              <a:avLst/>
            </a:prstGeom>
          </p:spPr>
        </p:pic>
        <p:sp>
          <p:nvSpPr>
            <p:cNvPr id="59" name="Rectangle 58">
              <a:extLst>
                <a:ext uri="{FF2B5EF4-FFF2-40B4-BE49-F238E27FC236}">
                  <a16:creationId xmlns:a16="http://schemas.microsoft.com/office/drawing/2014/main" id="{74FE977B-E645-754F-A6D9-0F8ACDA35EAF}"/>
                </a:ext>
              </a:extLst>
            </p:cNvPr>
            <p:cNvSpPr/>
            <p:nvPr userDrawn="1"/>
          </p:nvSpPr>
          <p:spPr>
            <a:xfrm>
              <a:off x="12721996" y="162442"/>
              <a:ext cx="37592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0" name="TextBox 59">
              <a:extLst>
                <a:ext uri="{FF2B5EF4-FFF2-40B4-BE49-F238E27FC236}">
                  <a16:creationId xmlns:a16="http://schemas.microsoft.com/office/drawing/2014/main" id="{BFC01FD0-DC6E-0747-B9A3-3D0A61805785}"/>
                </a:ext>
              </a:extLst>
            </p:cNvPr>
            <p:cNvSpPr txBox="1"/>
            <p:nvPr userDrawn="1"/>
          </p:nvSpPr>
          <p:spPr>
            <a:xfrm>
              <a:off x="13529413" y="306442"/>
              <a:ext cx="2839451"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61" name="Picture 60">
              <a:extLst>
                <a:ext uri="{FF2B5EF4-FFF2-40B4-BE49-F238E27FC236}">
                  <a16:creationId xmlns:a16="http://schemas.microsoft.com/office/drawing/2014/main" id="{1ADEDEE9-2E86-2D43-BC1C-F833B71D59CB}"/>
                </a:ext>
              </a:extLst>
            </p:cNvPr>
            <p:cNvPicPr>
              <a:picLocks noChangeAspect="1"/>
            </p:cNvPicPr>
            <p:nvPr userDrawn="1"/>
          </p:nvPicPr>
          <p:blipFill rotWithShape="1">
            <a:blip r:embed="rId3"/>
            <a:srcRect l="8882" t="5165" r="-1"/>
            <a:stretch/>
          </p:blipFill>
          <p:spPr>
            <a:xfrm>
              <a:off x="12926585" y="411251"/>
              <a:ext cx="432023" cy="289055"/>
            </a:xfrm>
            <a:prstGeom prst="roundRect">
              <a:avLst/>
            </a:prstGeom>
          </p:spPr>
        </p:pic>
        <p:grpSp>
          <p:nvGrpSpPr>
            <p:cNvPr id="22" name="Group 21">
              <a:extLst>
                <a:ext uri="{FF2B5EF4-FFF2-40B4-BE49-F238E27FC236}">
                  <a16:creationId xmlns:a16="http://schemas.microsoft.com/office/drawing/2014/main" id="{4F5FC086-2AFA-E34A-9BC9-834E9C2AD811}"/>
                </a:ext>
              </a:extLst>
            </p:cNvPr>
            <p:cNvGrpSpPr/>
            <p:nvPr userDrawn="1"/>
          </p:nvGrpSpPr>
          <p:grpSpPr>
            <a:xfrm>
              <a:off x="12695778" y="1994857"/>
              <a:ext cx="3673087" cy="6013825"/>
              <a:chOff x="9521833" y="2167456"/>
              <a:chExt cx="2754815" cy="6013825"/>
            </a:xfrm>
          </p:grpSpPr>
          <p:sp>
            <p:nvSpPr>
              <p:cNvPr id="27" name="TextBox 26">
                <a:extLst>
                  <a:ext uri="{FF2B5EF4-FFF2-40B4-BE49-F238E27FC236}">
                    <a16:creationId xmlns:a16="http://schemas.microsoft.com/office/drawing/2014/main" id="{DFE94FA6-7F73-404E-B7F6-E23829C5FAF7}"/>
                  </a:ext>
                </a:extLst>
              </p:cNvPr>
              <p:cNvSpPr txBox="1"/>
              <p:nvPr userDrawn="1"/>
            </p:nvSpPr>
            <p:spPr>
              <a:xfrm>
                <a:off x="9558507" y="2167456"/>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28" name="Straight Connector 27">
                <a:extLst>
                  <a:ext uri="{FF2B5EF4-FFF2-40B4-BE49-F238E27FC236}">
                    <a16:creationId xmlns:a16="http://schemas.microsoft.com/office/drawing/2014/main" id="{CFBCA6E4-9782-E348-A2BA-54F7934E4B21}"/>
                  </a:ext>
                </a:extLst>
              </p:cNvPr>
              <p:cNvCxnSpPr>
                <a:cxnSpLocks/>
              </p:cNvCxnSpPr>
              <p:nvPr userDrawn="1"/>
            </p:nvCxnSpPr>
            <p:spPr>
              <a:xfrm>
                <a:off x="9558507" y="2370073"/>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1BD7423-242E-5345-8960-AE7228257A9D}"/>
                  </a:ext>
                </a:extLst>
              </p:cNvPr>
              <p:cNvSpPr txBox="1"/>
              <p:nvPr userDrawn="1"/>
            </p:nvSpPr>
            <p:spPr>
              <a:xfrm>
                <a:off x="9686426" y="3228383"/>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a:t>
                </a:r>
                <a:r>
                  <a:rPr lang="en-US" sz="600" b="0"/>
                  <a:t>from file browser</a:t>
                </a:r>
              </a:p>
              <a:p>
                <a:pPr lvl="1">
                  <a:buNone/>
                </a:pPr>
                <a:r>
                  <a:rPr lang="en-US" sz="1050"/>
                  <a:t>Drag the image onto the slide.</a:t>
                </a:r>
              </a:p>
            </p:txBody>
          </p:sp>
          <p:sp>
            <p:nvSpPr>
              <p:cNvPr id="53" name="Rectangle 52">
                <a:extLst>
                  <a:ext uri="{FF2B5EF4-FFF2-40B4-BE49-F238E27FC236}">
                    <a16:creationId xmlns:a16="http://schemas.microsoft.com/office/drawing/2014/main" id="{13084C70-8D46-D64B-9F1E-ECB869353637}"/>
                  </a:ext>
                </a:extLst>
              </p:cNvPr>
              <p:cNvSpPr/>
              <p:nvPr userDrawn="1"/>
            </p:nvSpPr>
            <p:spPr>
              <a:xfrm>
                <a:off x="9541497" y="6769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4" name="TextBox 53">
                <a:extLst>
                  <a:ext uri="{FF2B5EF4-FFF2-40B4-BE49-F238E27FC236}">
                    <a16:creationId xmlns:a16="http://schemas.microsoft.com/office/drawing/2014/main" id="{501420C3-DFA0-9C4F-813C-BAFA8958E874}"/>
                  </a:ext>
                </a:extLst>
              </p:cNvPr>
              <p:cNvSpPr txBox="1"/>
              <p:nvPr userDrawn="1"/>
            </p:nvSpPr>
            <p:spPr>
              <a:xfrm>
                <a:off x="9907688" y="689876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55" name="Graphic 54">
                <a:extLst>
                  <a:ext uri="{FF2B5EF4-FFF2-40B4-BE49-F238E27FC236}">
                    <a16:creationId xmlns:a16="http://schemas.microsoft.com/office/drawing/2014/main" id="{CB867BF1-BBC5-8C4A-97CA-FD5D5D78260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6909049"/>
                <a:ext cx="155227" cy="155227"/>
              </a:xfrm>
              <a:prstGeom prst="rect">
                <a:avLst/>
              </a:prstGeom>
            </p:spPr>
          </p:pic>
          <p:sp>
            <p:nvSpPr>
              <p:cNvPr id="56" name="TextBox 55">
                <a:extLst>
                  <a:ext uri="{FF2B5EF4-FFF2-40B4-BE49-F238E27FC236}">
                    <a16:creationId xmlns:a16="http://schemas.microsoft.com/office/drawing/2014/main" id="{E62E6250-142A-854D-8FFE-79C80019AAB8}"/>
                  </a:ext>
                </a:extLst>
              </p:cNvPr>
              <p:cNvSpPr txBox="1"/>
              <p:nvPr userDrawn="1"/>
            </p:nvSpPr>
            <p:spPr>
              <a:xfrm>
                <a:off x="9716735" y="7478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7" name="TextBox 56">
                <a:extLst>
                  <a:ext uri="{FF2B5EF4-FFF2-40B4-BE49-F238E27FC236}">
                    <a16:creationId xmlns:a16="http://schemas.microsoft.com/office/drawing/2014/main" id="{08381C9B-F145-0B48-ADFA-FE8B8E0A8A82}"/>
                  </a:ext>
                </a:extLst>
              </p:cNvPr>
              <p:cNvSpPr txBox="1"/>
              <p:nvPr userDrawn="1"/>
            </p:nvSpPr>
            <p:spPr>
              <a:xfrm>
                <a:off x="9716735" y="7159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8" name="TextBox 57">
                <a:extLst>
                  <a:ext uri="{FF2B5EF4-FFF2-40B4-BE49-F238E27FC236}">
                    <a16:creationId xmlns:a16="http://schemas.microsoft.com/office/drawing/2014/main" id="{F22092C6-EF53-B243-83B3-2B8877623AFD}"/>
                  </a:ext>
                </a:extLst>
              </p:cNvPr>
              <p:cNvSpPr txBox="1"/>
              <p:nvPr userDrawn="1"/>
            </p:nvSpPr>
            <p:spPr>
              <a:xfrm>
                <a:off x="9716735" y="7928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sp>
            <p:nvSpPr>
              <p:cNvPr id="46" name="Rectangle 45">
                <a:extLst>
                  <a:ext uri="{FF2B5EF4-FFF2-40B4-BE49-F238E27FC236}">
                    <a16:creationId xmlns:a16="http://schemas.microsoft.com/office/drawing/2014/main" id="{26FED399-29B3-9447-940E-56B9040B4EF7}"/>
                  </a:ext>
                </a:extLst>
              </p:cNvPr>
              <p:cNvSpPr/>
              <p:nvPr userDrawn="1"/>
            </p:nvSpPr>
            <p:spPr>
              <a:xfrm>
                <a:off x="9541497" y="5413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7" name="TextBox 46">
                <a:extLst>
                  <a:ext uri="{FF2B5EF4-FFF2-40B4-BE49-F238E27FC236}">
                    <a16:creationId xmlns:a16="http://schemas.microsoft.com/office/drawing/2014/main" id="{15CE3E14-463F-4D4E-B0C6-D4F7A0935AFF}"/>
                  </a:ext>
                </a:extLst>
              </p:cNvPr>
              <p:cNvSpPr txBox="1"/>
              <p:nvPr userDrawn="1"/>
            </p:nvSpPr>
            <p:spPr>
              <a:xfrm>
                <a:off x="9907688" y="5542109"/>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48" name="Graphic 47">
                <a:extLst>
                  <a:ext uri="{FF2B5EF4-FFF2-40B4-BE49-F238E27FC236}">
                    <a16:creationId xmlns:a16="http://schemas.microsoft.com/office/drawing/2014/main" id="{BC8A9006-4EDB-7C4F-9624-E02C261E560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552392"/>
                <a:ext cx="155227" cy="155227"/>
              </a:xfrm>
              <a:prstGeom prst="rect">
                <a:avLst/>
              </a:prstGeom>
            </p:spPr>
          </p:pic>
          <p:sp>
            <p:nvSpPr>
              <p:cNvPr id="49" name="TextBox 48">
                <a:extLst>
                  <a:ext uri="{FF2B5EF4-FFF2-40B4-BE49-F238E27FC236}">
                    <a16:creationId xmlns:a16="http://schemas.microsoft.com/office/drawing/2014/main" id="{F28125A0-17EA-6B41-8117-DCA0C5236435}"/>
                  </a:ext>
                </a:extLst>
              </p:cNvPr>
              <p:cNvSpPr txBox="1"/>
              <p:nvPr userDrawn="1"/>
            </p:nvSpPr>
            <p:spPr>
              <a:xfrm>
                <a:off x="9701720" y="5806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50" name="Picture 49">
                <a:extLst>
                  <a:ext uri="{FF2B5EF4-FFF2-40B4-BE49-F238E27FC236}">
                    <a16:creationId xmlns:a16="http://schemas.microsoft.com/office/drawing/2014/main" id="{C5041B41-AD98-EE4B-8F39-82AFCFAEC610}"/>
                  </a:ext>
                </a:extLst>
              </p:cNvPr>
              <p:cNvPicPr>
                <a:picLocks noChangeAspect="1"/>
              </p:cNvPicPr>
              <p:nvPr userDrawn="1"/>
            </p:nvPicPr>
            <p:blipFill rotWithShape="1">
              <a:blip r:embed="rId6"/>
              <a:srcRect l="33684" t="12097" r="43371" b="20368"/>
              <a:stretch/>
            </p:blipFill>
            <p:spPr>
              <a:xfrm>
                <a:off x="11498723" y="5890726"/>
                <a:ext cx="136897" cy="213643"/>
              </a:xfrm>
              <a:prstGeom prst="rect">
                <a:avLst/>
              </a:prstGeom>
              <a:ln w="19050">
                <a:solidFill>
                  <a:schemeClr val="accent3">
                    <a:lumMod val="60000"/>
                    <a:lumOff val="40000"/>
                  </a:schemeClr>
                </a:solidFill>
              </a:ln>
            </p:spPr>
          </p:pic>
          <p:sp>
            <p:nvSpPr>
              <p:cNvPr id="43" name="TextBox 42">
                <a:extLst>
                  <a:ext uri="{FF2B5EF4-FFF2-40B4-BE49-F238E27FC236}">
                    <a16:creationId xmlns:a16="http://schemas.microsoft.com/office/drawing/2014/main" id="{C8DAA1F3-3919-A74B-B632-FF6C6D301C4C}"/>
                  </a:ext>
                </a:extLst>
              </p:cNvPr>
              <p:cNvSpPr txBox="1">
                <a:spLocks noChangeAspect="1"/>
              </p:cNvSpPr>
              <p:nvPr/>
            </p:nvSpPr>
            <p:spPr>
              <a:xfrm>
                <a:off x="9521833" y="2517603"/>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44" name="TextBox 43">
                <a:extLst>
                  <a:ext uri="{FF2B5EF4-FFF2-40B4-BE49-F238E27FC236}">
                    <a16:creationId xmlns:a16="http://schemas.microsoft.com/office/drawing/2014/main" id="{82652DDD-CB8F-E945-8AF3-2BB91733F597}"/>
                  </a:ext>
                </a:extLst>
              </p:cNvPr>
              <p:cNvSpPr txBox="1">
                <a:spLocks noChangeAspect="1"/>
              </p:cNvSpPr>
              <p:nvPr/>
            </p:nvSpPr>
            <p:spPr>
              <a:xfrm>
                <a:off x="9521833" y="301315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45" name="TextBox 44">
                <a:extLst>
                  <a:ext uri="{FF2B5EF4-FFF2-40B4-BE49-F238E27FC236}">
                    <a16:creationId xmlns:a16="http://schemas.microsoft.com/office/drawing/2014/main" id="{091C757D-B387-E847-9E94-2F6EEF57801C}"/>
                  </a:ext>
                </a:extLst>
              </p:cNvPr>
              <p:cNvSpPr txBox="1"/>
              <p:nvPr userDrawn="1"/>
            </p:nvSpPr>
            <p:spPr>
              <a:xfrm>
                <a:off x="9686426" y="2492576"/>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Select and download images from the Marketing Resource Database.</a:t>
                </a:r>
              </a:p>
              <a:p>
                <a:pPr lvl="0"/>
                <a:r>
                  <a:rPr lang="en-US" sz="1050"/>
                  <a:t>Add the image to the placeholder.</a:t>
                </a:r>
              </a:p>
            </p:txBody>
          </p:sp>
          <p:sp>
            <p:nvSpPr>
              <p:cNvPr id="35" name="TextBox 34">
                <a:extLst>
                  <a:ext uri="{FF2B5EF4-FFF2-40B4-BE49-F238E27FC236}">
                    <a16:creationId xmlns:a16="http://schemas.microsoft.com/office/drawing/2014/main" id="{CAFE63F6-9FBD-C64E-80C3-50B9F353BF5D}"/>
                  </a:ext>
                </a:extLst>
              </p:cNvPr>
              <p:cNvSpPr txBox="1"/>
              <p:nvPr userDrawn="1"/>
            </p:nvSpPr>
            <p:spPr>
              <a:xfrm>
                <a:off x="9674267" y="3511688"/>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36" name="TextBox 35">
                <a:extLst>
                  <a:ext uri="{FF2B5EF4-FFF2-40B4-BE49-F238E27FC236}">
                    <a16:creationId xmlns:a16="http://schemas.microsoft.com/office/drawing/2014/main" id="{AA7141EF-2646-B14F-ABCC-C67B27BD3A7C}"/>
                  </a:ext>
                </a:extLst>
              </p:cNvPr>
              <p:cNvSpPr txBox="1"/>
              <p:nvPr userDrawn="1"/>
            </p:nvSpPr>
            <p:spPr>
              <a:xfrm>
                <a:off x="9686426" y="3926945"/>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37" name="TextBox 36">
                <a:extLst>
                  <a:ext uri="{FF2B5EF4-FFF2-40B4-BE49-F238E27FC236}">
                    <a16:creationId xmlns:a16="http://schemas.microsoft.com/office/drawing/2014/main" id="{11D9FCFA-F40E-B24E-8540-B475629EECD1}"/>
                  </a:ext>
                </a:extLst>
              </p:cNvPr>
              <p:cNvSpPr txBox="1"/>
              <p:nvPr userDrawn="1"/>
            </p:nvSpPr>
            <p:spPr>
              <a:xfrm>
                <a:off x="9686426" y="4647035"/>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a:t>
                </a:r>
                <a:r>
                  <a:rPr lang="en-US" sz="600" b="0"/>
                  <a:t>Placeholder icon</a:t>
                </a:r>
              </a:p>
              <a:p>
                <a:pPr lvl="1">
                  <a:buNone/>
                </a:pPr>
                <a:r>
                  <a:rPr lang="en-US" sz="1050"/>
                  <a:t>Click the image icon inside the placeholder to browse for an image.</a:t>
                </a:r>
              </a:p>
            </p:txBody>
          </p:sp>
          <p:sp>
            <p:nvSpPr>
              <p:cNvPr id="38" name="TextBox 37">
                <a:extLst>
                  <a:ext uri="{FF2B5EF4-FFF2-40B4-BE49-F238E27FC236}">
                    <a16:creationId xmlns:a16="http://schemas.microsoft.com/office/drawing/2014/main" id="{7B36E0C2-0DDC-0E43-A8B5-AAD3722ABC98}"/>
                  </a:ext>
                </a:extLst>
              </p:cNvPr>
              <p:cNvSpPr txBox="1"/>
              <p:nvPr userDrawn="1"/>
            </p:nvSpPr>
            <p:spPr>
              <a:xfrm>
                <a:off x="9674267" y="5077598"/>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sp>
          <p:nvSpPr>
            <p:cNvPr id="41" name="TextBox 40">
              <a:extLst>
                <a:ext uri="{FF2B5EF4-FFF2-40B4-BE49-F238E27FC236}">
                  <a16:creationId xmlns:a16="http://schemas.microsoft.com/office/drawing/2014/main" id="{A5BBEC5F-5FC4-4543-B661-598C68695314}"/>
                </a:ext>
              </a:extLst>
            </p:cNvPr>
            <p:cNvSpPr txBox="1"/>
            <p:nvPr userDrawn="1"/>
          </p:nvSpPr>
          <p:spPr>
            <a:xfrm>
              <a:off x="12744676" y="1119892"/>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42" name="Straight Connector 41">
              <a:extLst>
                <a:ext uri="{FF2B5EF4-FFF2-40B4-BE49-F238E27FC236}">
                  <a16:creationId xmlns:a16="http://schemas.microsoft.com/office/drawing/2014/main" id="{28C6DE0C-61AB-CD48-9657-673BA80A6635}"/>
                </a:ext>
              </a:extLst>
            </p:cNvPr>
            <p:cNvCxnSpPr>
              <a:cxnSpLocks/>
            </p:cNvCxnSpPr>
            <p:nvPr userDrawn="1"/>
          </p:nvCxnSpPr>
          <p:spPr>
            <a:xfrm>
              <a:off x="12744676" y="1322508"/>
              <a:ext cx="3519104"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65" name="Text Placeholder 21">
            <a:extLst>
              <a:ext uri="{FF2B5EF4-FFF2-40B4-BE49-F238E27FC236}">
                <a16:creationId xmlns:a16="http://schemas.microsoft.com/office/drawing/2014/main" id="{41291117-3B8F-E84F-819C-E9D1B31461BA}"/>
              </a:ext>
            </a:extLst>
          </p:cNvPr>
          <p:cNvSpPr>
            <a:spLocks noGrp="1"/>
          </p:cNvSpPr>
          <p:nvPr userDrawn="1">
            <p:ph type="body" sz="quarter" idx="14" hasCustomPrompt="1"/>
          </p:nvPr>
        </p:nvSpPr>
        <p:spPr>
          <a:xfrm>
            <a:off x="9812449" y="6200776"/>
            <a:ext cx="1791763"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3" name="Date Placeholder 2">
            <a:extLst>
              <a:ext uri="{FF2B5EF4-FFF2-40B4-BE49-F238E27FC236}">
                <a16:creationId xmlns:a16="http://schemas.microsoft.com/office/drawing/2014/main" id="{1E2FA3C1-DFDE-954E-A045-DA2C23D87C79}"/>
              </a:ext>
            </a:extLst>
          </p:cNvPr>
          <p:cNvSpPr>
            <a:spLocks noGrp="1"/>
          </p:cNvSpPr>
          <p:nvPr userDrawn="1">
            <p:ph type="dt" sz="half" idx="16"/>
          </p:nvPr>
        </p:nvSpPr>
        <p:spPr/>
        <p:txBody>
          <a:bodyPr/>
          <a:lstStyle/>
          <a:p>
            <a:endParaRPr lang="en-US"/>
          </a:p>
        </p:txBody>
      </p:sp>
      <p:sp>
        <p:nvSpPr>
          <p:cNvPr id="5" name="Footer Placeholder 4">
            <a:extLst>
              <a:ext uri="{FF2B5EF4-FFF2-40B4-BE49-F238E27FC236}">
                <a16:creationId xmlns:a16="http://schemas.microsoft.com/office/drawing/2014/main" id="{8E3C21A6-2F34-CB41-9CB8-465C5A165E2E}"/>
              </a:ext>
            </a:extLst>
          </p:cNvPr>
          <p:cNvSpPr>
            <a:spLocks noGrp="1"/>
          </p:cNvSpPr>
          <p:nvPr userDrawn="1">
            <p:ph type="ftr" sz="quarter" idx="17"/>
          </p:nvPr>
        </p:nvSpPr>
        <p:spPr/>
        <p:txBody>
          <a:bodyPr/>
          <a:lstStyle/>
          <a:p>
            <a:endParaRPr lang="en-US"/>
          </a:p>
        </p:txBody>
      </p:sp>
      <p:sp>
        <p:nvSpPr>
          <p:cNvPr id="6" name="Slide Number Placeholder 5">
            <a:extLst>
              <a:ext uri="{FF2B5EF4-FFF2-40B4-BE49-F238E27FC236}">
                <a16:creationId xmlns:a16="http://schemas.microsoft.com/office/drawing/2014/main" id="{345A57F9-6F4F-954D-883C-298340BAC4E8}"/>
              </a:ext>
            </a:extLst>
          </p:cNvPr>
          <p:cNvSpPr>
            <a:spLocks noGrp="1"/>
          </p:cNvSpPr>
          <p:nvPr userDrawn="1">
            <p:ph type="sldNum" sz="quarter" idx="18"/>
          </p:nvPr>
        </p:nvSpPr>
        <p:spPr>
          <a:noFill/>
        </p:spPr>
        <p:txBody>
          <a:bodyPr/>
          <a:lstStyle>
            <a:lvl1pPr>
              <a:defRPr>
                <a:solidFill>
                  <a:schemeClr val="bg1"/>
                </a:solidFill>
              </a:defRPr>
            </a:lvl1pPr>
          </a:lstStyle>
          <a:p>
            <a:pPr marL="12700"/>
            <a:fld id="{078C017C-E1B9-8443-B047-B08AAA027B45}" type="slidenum">
              <a:rPr lang="en-US" smtClean="0"/>
              <a:pPr marL="12700"/>
              <a:t>‹#›</a:t>
            </a:fld>
            <a:endParaRPr lang="en-US"/>
          </a:p>
        </p:txBody>
      </p:sp>
      <p:grpSp>
        <p:nvGrpSpPr>
          <p:cNvPr id="77" name="Group 76">
            <a:extLst>
              <a:ext uri="{FF2B5EF4-FFF2-40B4-BE49-F238E27FC236}">
                <a16:creationId xmlns:a16="http://schemas.microsoft.com/office/drawing/2014/main" id="{BB7448AF-7E4C-3B4B-8EEC-CADF56A2032C}"/>
              </a:ext>
            </a:extLst>
          </p:cNvPr>
          <p:cNvGrpSpPr/>
          <p:nvPr userDrawn="1"/>
        </p:nvGrpSpPr>
        <p:grpSpPr>
          <a:xfrm>
            <a:off x="574987" y="-246933"/>
            <a:ext cx="11040535" cy="7347304"/>
            <a:chOff x="431240" y="-246933"/>
            <a:chExt cx="8280401" cy="7347304"/>
          </a:xfrm>
        </p:grpSpPr>
        <p:grpSp>
          <p:nvGrpSpPr>
            <p:cNvPr id="78" name="Group 77">
              <a:extLst>
                <a:ext uri="{FF2B5EF4-FFF2-40B4-BE49-F238E27FC236}">
                  <a16:creationId xmlns:a16="http://schemas.microsoft.com/office/drawing/2014/main" id="{672BAF4C-241C-FC45-8467-60B10AF7AB65}"/>
                </a:ext>
              </a:extLst>
            </p:cNvPr>
            <p:cNvGrpSpPr/>
            <p:nvPr userDrawn="1"/>
          </p:nvGrpSpPr>
          <p:grpSpPr>
            <a:xfrm>
              <a:off x="431242" y="6864579"/>
              <a:ext cx="8280398" cy="235792"/>
              <a:chOff x="431801" y="-235792"/>
              <a:chExt cx="4400550" cy="235792"/>
            </a:xfrm>
          </p:grpSpPr>
          <p:cxnSp>
            <p:nvCxnSpPr>
              <p:cNvPr id="87" name="Straight Connector 86">
                <a:extLst>
                  <a:ext uri="{FF2B5EF4-FFF2-40B4-BE49-F238E27FC236}">
                    <a16:creationId xmlns:a16="http://schemas.microsoft.com/office/drawing/2014/main" id="{590F8A25-E020-6846-8351-4AC93F1283B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5BB4FF16-C4BE-2F41-97E4-CA7412FE1A7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1FBF7B4D-D315-D841-998E-600E7FD39B85}"/>
                </a:ext>
              </a:extLst>
            </p:cNvPr>
            <p:cNvGrpSpPr/>
            <p:nvPr userDrawn="1"/>
          </p:nvGrpSpPr>
          <p:grpSpPr>
            <a:xfrm>
              <a:off x="431240" y="-246933"/>
              <a:ext cx="8280401" cy="235792"/>
              <a:chOff x="431800" y="-240735"/>
              <a:chExt cx="8280401" cy="235792"/>
            </a:xfrm>
          </p:grpSpPr>
          <p:grpSp>
            <p:nvGrpSpPr>
              <p:cNvPr id="80" name="Group 79">
                <a:extLst>
                  <a:ext uri="{FF2B5EF4-FFF2-40B4-BE49-F238E27FC236}">
                    <a16:creationId xmlns:a16="http://schemas.microsoft.com/office/drawing/2014/main" id="{262CB220-7BBD-9A40-8EFE-DBF481D41325}"/>
                  </a:ext>
                </a:extLst>
              </p:cNvPr>
              <p:cNvGrpSpPr/>
              <p:nvPr userDrawn="1"/>
            </p:nvGrpSpPr>
            <p:grpSpPr>
              <a:xfrm>
                <a:off x="431800" y="-240735"/>
                <a:ext cx="8280400" cy="235792"/>
                <a:chOff x="431800" y="-235792"/>
                <a:chExt cx="4400551" cy="235792"/>
              </a:xfrm>
            </p:grpSpPr>
            <p:cxnSp>
              <p:nvCxnSpPr>
                <p:cNvPr id="84" name="Straight Connector 83">
                  <a:extLst>
                    <a:ext uri="{FF2B5EF4-FFF2-40B4-BE49-F238E27FC236}">
                      <a16:creationId xmlns:a16="http://schemas.microsoft.com/office/drawing/2014/main" id="{4C0212DE-4F3A-064A-8852-84F9520CE40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54F88236-9314-6245-BA34-4C419A15253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208F0B2C-2ECF-FF4E-9454-5EE223675D0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81" name="TextBox 80">
                <a:extLst>
                  <a:ext uri="{FF2B5EF4-FFF2-40B4-BE49-F238E27FC236}">
                    <a16:creationId xmlns:a16="http://schemas.microsoft.com/office/drawing/2014/main" id="{52854B52-8256-764E-870F-8B12DFC75805}"/>
                  </a:ext>
                </a:extLst>
              </p:cNvPr>
              <p:cNvSpPr txBox="1"/>
              <p:nvPr userDrawn="1"/>
            </p:nvSpPr>
            <p:spPr>
              <a:xfrm>
                <a:off x="3914336" y="-176700"/>
                <a:ext cx="1315339"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82" name="Straight Arrow Connector 81">
                <a:extLst>
                  <a:ext uri="{FF2B5EF4-FFF2-40B4-BE49-F238E27FC236}">
                    <a16:creationId xmlns:a16="http://schemas.microsoft.com/office/drawing/2014/main" id="{EE3A4062-FF2D-804A-88FA-53139017D530}"/>
                  </a:ext>
                </a:extLst>
              </p:cNvPr>
              <p:cNvCxnSpPr>
                <a:cxnSpLocks/>
                <a:stCxn id="81" idx="1"/>
                <a:endCxn id="86" idx="2"/>
              </p:cNvCxnSpPr>
              <p:nvPr userDrawn="1"/>
            </p:nvCxnSpPr>
            <p:spPr>
              <a:xfrm flipH="1">
                <a:off x="431801" y="-122839"/>
                <a:ext cx="3482535"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89961C7F-EE2F-4844-874C-FABF729B3E38}"/>
                  </a:ext>
                </a:extLst>
              </p:cNvPr>
              <p:cNvCxnSpPr>
                <a:cxnSpLocks/>
                <a:stCxn id="81" idx="3"/>
                <a:endCxn id="86" idx="0"/>
              </p:cNvCxnSpPr>
              <p:nvPr userDrawn="1"/>
            </p:nvCxnSpPr>
            <p:spPr>
              <a:xfrm flipV="1">
                <a:off x="5229674" y="-122840"/>
                <a:ext cx="3482527"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93795943"/>
      </p:ext>
    </p:extLst>
  </p:cSld>
  <p:clrMapOvr>
    <a:overrideClrMapping bg1="lt1" tx1="dk1" bg2="lt2" tx2="dk2" accent1="accent1" accent2="accent2" accent3="accent3" accent4="accent4" accent5="accent5" accent6="accent6" hlink="lt1" folHlink="lt1"/>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hank You (Headshot)">
    <p:bg>
      <p:bgPr>
        <a:solidFill>
          <a:schemeClr val="bg1"/>
        </a:solidFill>
        <a:effectLst/>
      </p:bgPr>
    </p:bg>
    <p:spTree>
      <p:nvGrpSpPr>
        <p:cNvPr id="1" name=""/>
        <p:cNvGrpSpPr/>
        <p:nvPr/>
      </p:nvGrpSpPr>
      <p:grpSpPr>
        <a:xfrm>
          <a:off x="0" y="0"/>
          <a:ext cx="0" cy="0"/>
          <a:chOff x="0" y="0"/>
          <a:chExt cx="0" cy="0"/>
        </a:xfrm>
      </p:grpSpPr>
      <p:pic>
        <p:nvPicPr>
          <p:cNvPr id="91" name="Graphic 6">
            <a:extLst>
              <a:ext uri="{FF2B5EF4-FFF2-40B4-BE49-F238E27FC236}">
                <a16:creationId xmlns:a16="http://schemas.microsoft.com/office/drawing/2014/main" id="{6FCFDD25-E2D1-F94F-B37C-5F03764BBAC6}"/>
              </a:ext>
            </a:extLst>
          </p:cNvPr>
          <p:cNvPicPr>
            <a:picLocks noChangeAspect="1"/>
          </p:cNvPicPr>
          <p:nvPr userDrawn="1"/>
        </p:nvPicPr>
        <p:blipFill>
          <a:blip r:embed="rId2"/>
          <a:srcRect/>
          <a:stretch/>
        </p:blipFill>
        <p:spPr>
          <a:xfrm>
            <a:off x="9836850" y="6057369"/>
            <a:ext cx="2151409" cy="355304"/>
          </a:xfrm>
          <a:prstGeom prst="rect">
            <a:avLst/>
          </a:prstGeom>
        </p:spPr>
      </p:pic>
      <p:sp>
        <p:nvSpPr>
          <p:cNvPr id="20" name="Rectangle 19">
            <a:extLst>
              <a:ext uri="{FF2B5EF4-FFF2-40B4-BE49-F238E27FC236}">
                <a16:creationId xmlns:a16="http://schemas.microsoft.com/office/drawing/2014/main" id="{A733D6C8-2947-664C-94C0-9AD79C24D8BC}"/>
              </a:ext>
            </a:extLst>
          </p:cNvPr>
          <p:cNvSpPr/>
          <p:nvPr userDrawn="1"/>
        </p:nvSpPr>
        <p:spPr>
          <a:xfrm flipH="1">
            <a:off x="-1" y="2402809"/>
            <a:ext cx="12192000" cy="3294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1200"/>
          </a:p>
        </p:txBody>
      </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575734" y="1219067"/>
            <a:ext cx="11040533" cy="914400"/>
          </a:xfrm>
        </p:spPr>
        <p:txBody>
          <a:bodyPr/>
          <a:lstStyle>
            <a:lvl1pPr>
              <a:defRPr sz="3200"/>
            </a:lvl1pPr>
          </a:lstStyle>
          <a:p>
            <a:r>
              <a:rPr lang="en-US"/>
              <a:t>Click to add</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575733" y="2714222"/>
            <a:ext cx="5520267" cy="2671270"/>
          </a:xfrm>
          <a:prstGeom prst="rect">
            <a:avLst/>
          </a:prstGeom>
          <a:noFill/>
          <a:ln>
            <a:noFill/>
          </a:ln>
        </p:spPr>
        <p:txBody>
          <a:bodyPr wrap="square" lIns="0" tIns="0" rIns="0" bIns="0" anchor="ctr">
            <a:noAutofit/>
          </a:bodyPr>
          <a:lstStyle>
            <a:lvl1pPr marL="20638" indent="0">
              <a:spcAft>
                <a:spcPts val="300"/>
              </a:spcAft>
              <a:buFont typeface="Arial" panose="020B0604020202020204" pitchFamily="34" charset="0"/>
              <a:buNone/>
              <a:tabLst/>
              <a:defRPr sz="1400" b="1">
                <a:solidFill>
                  <a:schemeClr val="bg1"/>
                </a:solidFill>
              </a:defRPr>
            </a:lvl1pPr>
            <a:lvl2pPr marL="20638" indent="0">
              <a:spcAft>
                <a:spcPts val="200"/>
              </a:spcAft>
              <a:buFont typeface="Arial" panose="020B0604020202020204" pitchFamily="34" charset="0"/>
              <a:buNone/>
              <a:tabLst/>
              <a:defRPr sz="1400">
                <a:solidFill>
                  <a:schemeClr val="bg1"/>
                </a:solidFill>
              </a:defRPr>
            </a:lvl2pPr>
            <a:lvl3pPr marL="20638" indent="0">
              <a:spcAft>
                <a:spcPts val="200"/>
              </a:spcAft>
              <a:buFont typeface="Arial" panose="020B0604020202020204" pitchFamily="34" charset="0"/>
              <a:buNone/>
              <a:tabLst/>
              <a:defRPr sz="1400">
                <a:solidFill>
                  <a:schemeClr val="bg1"/>
                </a:solidFill>
              </a:defRPr>
            </a:lvl3pPr>
            <a:lvl4pPr marL="20638" indent="0">
              <a:spcAft>
                <a:spcPts val="200"/>
              </a:spcAft>
              <a:buFont typeface="Arial" panose="020B0604020202020204" pitchFamily="34" charset="0"/>
              <a:buNone/>
              <a:tabLst/>
              <a:defRPr sz="1400">
                <a:solidFill>
                  <a:schemeClr val="bg1"/>
                </a:solidFill>
              </a:defRPr>
            </a:lvl4pPr>
            <a:lvl5pPr marL="20638" indent="0">
              <a:spcAft>
                <a:spcPts val="200"/>
              </a:spcAft>
              <a:buFont typeface="Arial" panose="020B0604020202020204" pitchFamily="34" charset="0"/>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a:t>Click to add contact information</a:t>
            </a:r>
          </a:p>
          <a:p>
            <a:pPr lvl="1"/>
            <a:r>
              <a:rPr lang="en-US"/>
              <a:t>Second level</a:t>
            </a:r>
          </a:p>
        </p:txBody>
      </p:sp>
      <p:grpSp>
        <p:nvGrpSpPr>
          <p:cNvPr id="6" name="Group 5">
            <a:extLst>
              <a:ext uri="{FF2B5EF4-FFF2-40B4-BE49-F238E27FC236}">
                <a16:creationId xmlns:a16="http://schemas.microsoft.com/office/drawing/2014/main" id="{892DCF85-F9DF-6347-95FD-B6E5F416028F}"/>
              </a:ext>
            </a:extLst>
          </p:cNvPr>
          <p:cNvGrpSpPr/>
          <p:nvPr userDrawn="1"/>
        </p:nvGrpSpPr>
        <p:grpSpPr>
          <a:xfrm>
            <a:off x="-266703" y="1261817"/>
            <a:ext cx="259366" cy="3470573"/>
            <a:chOff x="-266703" y="1261817"/>
            <a:chExt cx="259366" cy="3470573"/>
          </a:xfrm>
        </p:grpSpPr>
        <p:grpSp>
          <p:nvGrpSpPr>
            <p:cNvPr id="50" name="Group 49">
              <a:extLst>
                <a:ext uri="{FF2B5EF4-FFF2-40B4-BE49-F238E27FC236}">
                  <a16:creationId xmlns:a16="http://schemas.microsoft.com/office/drawing/2014/main" id="{8154AF59-E4FF-3346-B926-57EDAB1FE062}"/>
                </a:ext>
              </a:extLst>
            </p:cNvPr>
            <p:cNvGrpSpPr/>
            <p:nvPr userDrawn="1"/>
          </p:nvGrpSpPr>
          <p:grpSpPr>
            <a:xfrm>
              <a:off x="-266703" y="1261817"/>
              <a:ext cx="259366" cy="787628"/>
              <a:chOff x="-256404" y="360363"/>
              <a:chExt cx="251461" cy="692152"/>
            </a:xfrm>
          </p:grpSpPr>
          <p:grpSp>
            <p:nvGrpSpPr>
              <p:cNvPr id="51" name="Group 50">
                <a:extLst>
                  <a:ext uri="{FF2B5EF4-FFF2-40B4-BE49-F238E27FC236}">
                    <a16:creationId xmlns:a16="http://schemas.microsoft.com/office/drawing/2014/main" id="{36AB50BF-4718-484C-B6EA-0C330459021B}"/>
                  </a:ext>
                </a:extLst>
              </p:cNvPr>
              <p:cNvGrpSpPr/>
              <p:nvPr userDrawn="1"/>
            </p:nvGrpSpPr>
            <p:grpSpPr>
              <a:xfrm rot="16200000">
                <a:off x="-476749" y="580708"/>
                <a:ext cx="692152" cy="251461"/>
                <a:chOff x="431800" y="-235792"/>
                <a:chExt cx="4400551" cy="235792"/>
              </a:xfrm>
            </p:grpSpPr>
            <p:cxnSp>
              <p:nvCxnSpPr>
                <p:cNvPr id="53" name="Straight Connector 52">
                  <a:extLst>
                    <a:ext uri="{FF2B5EF4-FFF2-40B4-BE49-F238E27FC236}">
                      <a16:creationId xmlns:a16="http://schemas.microsoft.com/office/drawing/2014/main" id="{A30C18D2-1D99-164F-A515-FE124A48FC0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10DDE84-4C05-1A4A-A2D8-AAE8FB3D342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0FEB97B8-81FD-4541-B92C-ADB8AD94CD4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52" name="TextBox 51">
                <a:extLst>
                  <a:ext uri="{FF2B5EF4-FFF2-40B4-BE49-F238E27FC236}">
                    <a16:creationId xmlns:a16="http://schemas.microsoft.com/office/drawing/2014/main" id="{5D9FF21D-3A71-2548-A8D3-8888EABDC88B}"/>
                  </a:ext>
                </a:extLst>
              </p:cNvPr>
              <p:cNvSpPr txBox="1"/>
              <p:nvPr userDrawn="1"/>
            </p:nvSpPr>
            <p:spPr>
              <a:xfrm rot="16200000">
                <a:off x="-359580" y="622270"/>
                <a:ext cx="457823" cy="161583"/>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HANK YOU</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MESSAGE</a:t>
                </a:r>
              </a:p>
            </p:txBody>
          </p:sp>
        </p:grpSp>
        <p:grpSp>
          <p:nvGrpSpPr>
            <p:cNvPr id="56" name="Group 55">
              <a:extLst>
                <a:ext uri="{FF2B5EF4-FFF2-40B4-BE49-F238E27FC236}">
                  <a16:creationId xmlns:a16="http://schemas.microsoft.com/office/drawing/2014/main" id="{85D3DB86-D979-BC43-82F9-D7DB16BFB915}"/>
                </a:ext>
              </a:extLst>
            </p:cNvPr>
            <p:cNvGrpSpPr/>
            <p:nvPr userDrawn="1"/>
          </p:nvGrpSpPr>
          <p:grpSpPr>
            <a:xfrm>
              <a:off x="-266703" y="3367324"/>
              <a:ext cx="259366" cy="1365066"/>
              <a:chOff x="-256404" y="360363"/>
              <a:chExt cx="251461" cy="692152"/>
            </a:xfrm>
          </p:grpSpPr>
          <p:grpSp>
            <p:nvGrpSpPr>
              <p:cNvPr id="57" name="Group 56">
                <a:extLst>
                  <a:ext uri="{FF2B5EF4-FFF2-40B4-BE49-F238E27FC236}">
                    <a16:creationId xmlns:a16="http://schemas.microsoft.com/office/drawing/2014/main" id="{BBE9AB7B-CC36-1C48-8850-B428D53FD54E}"/>
                  </a:ext>
                </a:extLst>
              </p:cNvPr>
              <p:cNvGrpSpPr/>
              <p:nvPr userDrawn="1"/>
            </p:nvGrpSpPr>
            <p:grpSpPr>
              <a:xfrm rot="16200000">
                <a:off x="-476749" y="580708"/>
                <a:ext cx="692152" cy="251461"/>
                <a:chOff x="431800" y="-235792"/>
                <a:chExt cx="4400551" cy="235792"/>
              </a:xfrm>
            </p:grpSpPr>
            <p:cxnSp>
              <p:nvCxnSpPr>
                <p:cNvPr id="59" name="Straight Connector 58">
                  <a:extLst>
                    <a:ext uri="{FF2B5EF4-FFF2-40B4-BE49-F238E27FC236}">
                      <a16:creationId xmlns:a16="http://schemas.microsoft.com/office/drawing/2014/main" id="{383BC659-DE1A-AD46-BABB-4216D5152A6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6C4EDB7-BE73-C648-8454-EDBF3A3BCEC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98F7CC41-3485-F345-AD6D-DA420283A29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58" name="TextBox 57">
                <a:extLst>
                  <a:ext uri="{FF2B5EF4-FFF2-40B4-BE49-F238E27FC236}">
                    <a16:creationId xmlns:a16="http://schemas.microsoft.com/office/drawing/2014/main" id="{8CDD96D5-24AE-C84E-9626-2669E4455CE7}"/>
                  </a:ext>
                </a:extLst>
              </p:cNvPr>
              <p:cNvSpPr txBox="1"/>
              <p:nvPr userDrawn="1"/>
            </p:nvSpPr>
            <p:spPr>
              <a:xfrm rot="16200000">
                <a:off x="-300948" y="662666"/>
                <a:ext cx="340562"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CONTACT INFO</a:t>
                </a:r>
              </a:p>
            </p:txBody>
          </p:sp>
        </p:grpSp>
      </p:grpSp>
      <p:grpSp>
        <p:nvGrpSpPr>
          <p:cNvPr id="2" name="Group 1">
            <a:extLst>
              <a:ext uri="{FF2B5EF4-FFF2-40B4-BE49-F238E27FC236}">
                <a16:creationId xmlns:a16="http://schemas.microsoft.com/office/drawing/2014/main" id="{B3E31308-5073-4344-9CE0-58B65E2EFAD8}"/>
              </a:ext>
            </a:extLst>
          </p:cNvPr>
          <p:cNvGrpSpPr/>
          <p:nvPr userDrawn="1"/>
        </p:nvGrpSpPr>
        <p:grpSpPr>
          <a:xfrm>
            <a:off x="12532245" y="-1"/>
            <a:ext cx="2979898" cy="9888233"/>
            <a:chOff x="9399182" y="-1"/>
            <a:chExt cx="2961715" cy="9888233"/>
          </a:xfrm>
        </p:grpSpPr>
        <p:sp>
          <p:nvSpPr>
            <p:cNvPr id="24" name="Rectangle 23">
              <a:extLst>
                <a:ext uri="{FF2B5EF4-FFF2-40B4-BE49-F238E27FC236}">
                  <a16:creationId xmlns:a16="http://schemas.microsoft.com/office/drawing/2014/main" id="{4E76269E-8C78-D343-B169-EBF41DC6C7A1}"/>
                </a:ext>
              </a:extLst>
            </p:cNvPr>
            <p:cNvSpPr/>
            <p:nvPr userDrawn="1"/>
          </p:nvSpPr>
          <p:spPr>
            <a:xfrm>
              <a:off x="9399182" y="-1"/>
              <a:ext cx="2798651" cy="974868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90" name="Picture 89">
              <a:extLst>
                <a:ext uri="{FF2B5EF4-FFF2-40B4-BE49-F238E27FC236}">
                  <a16:creationId xmlns:a16="http://schemas.microsoft.com/office/drawing/2014/main" id="{F246FA3C-064F-9848-8568-CFCFAD40560E}"/>
                </a:ext>
              </a:extLst>
            </p:cNvPr>
            <p:cNvPicPr>
              <a:picLocks noChangeAspect="1"/>
            </p:cNvPicPr>
            <p:nvPr userDrawn="1"/>
          </p:nvPicPr>
          <p:blipFill rotWithShape="1">
            <a:blip r:embed="rId3"/>
            <a:srcRect r="44021" b="6017"/>
            <a:stretch/>
          </p:blipFill>
          <p:spPr>
            <a:xfrm>
              <a:off x="9558506" y="1323797"/>
              <a:ext cx="2632538" cy="532435"/>
            </a:xfrm>
            <a:prstGeom prst="rect">
              <a:avLst/>
            </a:prstGeom>
          </p:spPr>
        </p:pic>
        <p:sp>
          <p:nvSpPr>
            <p:cNvPr id="25" name="TextBox 24">
              <a:extLst>
                <a:ext uri="{FF2B5EF4-FFF2-40B4-BE49-F238E27FC236}">
                  <a16:creationId xmlns:a16="http://schemas.microsoft.com/office/drawing/2014/main" id="{1671C85D-BA5D-4D49-929C-B172CAD4A8DC}"/>
                </a:ext>
              </a:extLst>
            </p:cNvPr>
            <p:cNvSpPr txBox="1"/>
            <p:nvPr userDrawn="1"/>
          </p:nvSpPr>
          <p:spPr>
            <a:xfrm>
              <a:off x="9558507" y="3874407"/>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26" name="Straight Connector 25">
              <a:extLst>
                <a:ext uri="{FF2B5EF4-FFF2-40B4-BE49-F238E27FC236}">
                  <a16:creationId xmlns:a16="http://schemas.microsoft.com/office/drawing/2014/main" id="{FF6343EF-AD02-7847-99E6-3F12C4DE8DD6}"/>
                </a:ext>
              </a:extLst>
            </p:cNvPr>
            <p:cNvCxnSpPr>
              <a:cxnSpLocks/>
            </p:cNvCxnSpPr>
            <p:nvPr userDrawn="1"/>
          </p:nvCxnSpPr>
          <p:spPr>
            <a:xfrm>
              <a:off x="9558507" y="407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89BD887-3769-7E4A-84E6-A89C01DFBF0B}"/>
                </a:ext>
              </a:extLst>
            </p:cNvPr>
            <p:cNvSpPr txBox="1"/>
            <p:nvPr userDrawn="1"/>
          </p:nvSpPr>
          <p:spPr>
            <a:xfrm>
              <a:off x="9686426" y="4935334"/>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a:t>
              </a:r>
              <a:r>
                <a:rPr lang="en-US" sz="600" b="0"/>
                <a:t>from file browser</a:t>
              </a:r>
            </a:p>
            <a:p>
              <a:pPr lvl="1">
                <a:buNone/>
              </a:pPr>
              <a:r>
                <a:rPr lang="en-US" sz="1050"/>
                <a:t>Drag the image onto the slide.</a:t>
              </a:r>
            </a:p>
          </p:txBody>
        </p:sp>
        <p:grpSp>
          <p:nvGrpSpPr>
            <p:cNvPr id="28" name="Group 27">
              <a:extLst>
                <a:ext uri="{FF2B5EF4-FFF2-40B4-BE49-F238E27FC236}">
                  <a16:creationId xmlns:a16="http://schemas.microsoft.com/office/drawing/2014/main" id="{3BB7DFA5-86A8-2241-81D4-51CD6B2BCFFE}"/>
                </a:ext>
              </a:extLst>
            </p:cNvPr>
            <p:cNvGrpSpPr/>
            <p:nvPr userDrawn="1"/>
          </p:nvGrpSpPr>
          <p:grpSpPr>
            <a:xfrm>
              <a:off x="9541497" y="162442"/>
              <a:ext cx="2819400" cy="814510"/>
              <a:chOff x="-3644733" y="165205"/>
              <a:chExt cx="2819400" cy="814510"/>
            </a:xfrm>
          </p:grpSpPr>
          <p:sp>
            <p:nvSpPr>
              <p:cNvPr id="68" name="Rectangle 67">
                <a:extLst>
                  <a:ext uri="{FF2B5EF4-FFF2-40B4-BE49-F238E27FC236}">
                    <a16:creationId xmlns:a16="http://schemas.microsoft.com/office/drawing/2014/main" id="{9FA83002-5E66-5C4C-9655-0BA18B87C2B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9" name="TextBox 68">
                <a:extLst>
                  <a:ext uri="{FF2B5EF4-FFF2-40B4-BE49-F238E27FC236}">
                    <a16:creationId xmlns:a16="http://schemas.microsoft.com/office/drawing/2014/main" id="{5E1F513F-7453-184B-BF9C-0FE3D213F37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70" name="Picture 69">
                <a:extLst>
                  <a:ext uri="{FF2B5EF4-FFF2-40B4-BE49-F238E27FC236}">
                    <a16:creationId xmlns:a16="http://schemas.microsoft.com/office/drawing/2014/main" id="{DA1384A2-99EA-8F47-831A-0F69FD1BD1E9}"/>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48" name="Group 47">
              <a:extLst>
                <a:ext uri="{FF2B5EF4-FFF2-40B4-BE49-F238E27FC236}">
                  <a16:creationId xmlns:a16="http://schemas.microsoft.com/office/drawing/2014/main" id="{936DB6E4-613B-B043-BEEC-D9B02A473D15}"/>
                </a:ext>
              </a:extLst>
            </p:cNvPr>
            <p:cNvGrpSpPr/>
            <p:nvPr userDrawn="1"/>
          </p:nvGrpSpPr>
          <p:grpSpPr>
            <a:xfrm>
              <a:off x="9541497" y="8476917"/>
              <a:ext cx="2735151" cy="1411315"/>
              <a:chOff x="9296567" y="4910411"/>
              <a:chExt cx="2735151" cy="1411315"/>
            </a:xfrm>
          </p:grpSpPr>
          <p:sp>
            <p:nvSpPr>
              <p:cNvPr id="62" name="Rectangle 61">
                <a:extLst>
                  <a:ext uri="{FF2B5EF4-FFF2-40B4-BE49-F238E27FC236}">
                    <a16:creationId xmlns:a16="http://schemas.microsoft.com/office/drawing/2014/main" id="{B4B99D08-66F1-204B-AE0E-AE40EE746E6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3" name="TextBox 62">
                <a:extLst>
                  <a:ext uri="{FF2B5EF4-FFF2-40B4-BE49-F238E27FC236}">
                    <a16:creationId xmlns:a16="http://schemas.microsoft.com/office/drawing/2014/main" id="{D89DB38A-645F-144A-95C6-B29245BB782C}"/>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64" name="Graphic 63">
                <a:extLst>
                  <a:ext uri="{FF2B5EF4-FFF2-40B4-BE49-F238E27FC236}">
                    <a16:creationId xmlns:a16="http://schemas.microsoft.com/office/drawing/2014/main" id="{5844EBB1-69EC-374A-973E-FDB923CB63D4}"/>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65" name="TextBox 64">
                <a:extLst>
                  <a:ext uri="{FF2B5EF4-FFF2-40B4-BE49-F238E27FC236}">
                    <a16:creationId xmlns:a16="http://schemas.microsoft.com/office/drawing/2014/main" id="{2A7D2CE2-0888-254D-8182-E8B9B984C27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6" name="TextBox 65">
                <a:extLst>
                  <a:ext uri="{FF2B5EF4-FFF2-40B4-BE49-F238E27FC236}">
                    <a16:creationId xmlns:a16="http://schemas.microsoft.com/office/drawing/2014/main" id="{4BEAE704-A4F2-8846-BBA0-A78F408CC4F6}"/>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7" name="TextBox 66">
                <a:extLst>
                  <a:ext uri="{FF2B5EF4-FFF2-40B4-BE49-F238E27FC236}">
                    <a16:creationId xmlns:a16="http://schemas.microsoft.com/office/drawing/2014/main" id="{E827C2E6-4B03-3E40-A5C3-2897F09BF8B9}"/>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30" name="Group 29">
              <a:extLst>
                <a:ext uri="{FF2B5EF4-FFF2-40B4-BE49-F238E27FC236}">
                  <a16:creationId xmlns:a16="http://schemas.microsoft.com/office/drawing/2014/main" id="{85BD4996-1151-B14E-92B4-B6EB0B20C0D1}"/>
                </a:ext>
              </a:extLst>
            </p:cNvPr>
            <p:cNvGrpSpPr/>
            <p:nvPr userDrawn="1"/>
          </p:nvGrpSpPr>
          <p:grpSpPr>
            <a:xfrm>
              <a:off x="9541497" y="7120261"/>
              <a:ext cx="2735151" cy="1280928"/>
              <a:chOff x="9286315" y="6976989"/>
              <a:chExt cx="2735151" cy="1280928"/>
            </a:xfrm>
          </p:grpSpPr>
          <p:sp>
            <p:nvSpPr>
              <p:cNvPr id="43" name="Rectangle 42">
                <a:extLst>
                  <a:ext uri="{FF2B5EF4-FFF2-40B4-BE49-F238E27FC236}">
                    <a16:creationId xmlns:a16="http://schemas.microsoft.com/office/drawing/2014/main" id="{500FE895-1720-AB4B-9E0F-91C2C382303D}"/>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4" name="TextBox 43">
                <a:extLst>
                  <a:ext uri="{FF2B5EF4-FFF2-40B4-BE49-F238E27FC236}">
                    <a16:creationId xmlns:a16="http://schemas.microsoft.com/office/drawing/2014/main" id="{1B155C23-A6FC-4149-BF55-6313E95865F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45" name="Graphic 44">
                <a:extLst>
                  <a:ext uri="{FF2B5EF4-FFF2-40B4-BE49-F238E27FC236}">
                    <a16:creationId xmlns:a16="http://schemas.microsoft.com/office/drawing/2014/main" id="{D666C49D-563C-9144-B854-B5D8FFA16E3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46" name="TextBox 45">
                <a:extLst>
                  <a:ext uri="{FF2B5EF4-FFF2-40B4-BE49-F238E27FC236}">
                    <a16:creationId xmlns:a16="http://schemas.microsoft.com/office/drawing/2014/main" id="{3CBE64FA-7748-1349-89EC-902B4A25BD0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47" name="Picture 46">
                <a:extLst>
                  <a:ext uri="{FF2B5EF4-FFF2-40B4-BE49-F238E27FC236}">
                    <a16:creationId xmlns:a16="http://schemas.microsoft.com/office/drawing/2014/main" id="{EBED6E0D-C534-0B4E-9ADA-CEEA5779E7B1}"/>
                  </a:ext>
                </a:extLst>
              </p:cNvPr>
              <p:cNvPicPr>
                <a:picLocks noChangeAspect="1"/>
              </p:cNvPicPr>
              <p:nvPr userDrawn="1"/>
            </p:nvPicPr>
            <p:blipFill rotWithShape="1">
              <a:blip r:embed="rId7"/>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1" name="Group 30">
              <a:extLst>
                <a:ext uri="{FF2B5EF4-FFF2-40B4-BE49-F238E27FC236}">
                  <a16:creationId xmlns:a16="http://schemas.microsoft.com/office/drawing/2014/main" id="{1ADEF5FC-92F8-0E47-9385-A4F9D9B30AF8}"/>
                </a:ext>
              </a:extLst>
            </p:cNvPr>
            <p:cNvGrpSpPr/>
            <p:nvPr userDrawn="1"/>
          </p:nvGrpSpPr>
          <p:grpSpPr>
            <a:xfrm>
              <a:off x="9521833" y="4199527"/>
              <a:ext cx="2617883" cy="651460"/>
              <a:chOff x="12352022" y="513115"/>
              <a:chExt cx="2617883" cy="651460"/>
            </a:xfrm>
          </p:grpSpPr>
          <p:sp>
            <p:nvSpPr>
              <p:cNvPr id="40" name="TextBox 39">
                <a:extLst>
                  <a:ext uri="{FF2B5EF4-FFF2-40B4-BE49-F238E27FC236}">
                    <a16:creationId xmlns:a16="http://schemas.microsoft.com/office/drawing/2014/main" id="{67B0499E-8D11-9D4A-A286-DEBDE9610976}"/>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41" name="TextBox 40">
                <a:extLst>
                  <a:ext uri="{FF2B5EF4-FFF2-40B4-BE49-F238E27FC236}">
                    <a16:creationId xmlns:a16="http://schemas.microsoft.com/office/drawing/2014/main" id="{D0D2B337-235A-7742-931F-C88DF26DF94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42" name="TextBox 41">
                <a:extLst>
                  <a:ext uri="{FF2B5EF4-FFF2-40B4-BE49-F238E27FC236}">
                    <a16:creationId xmlns:a16="http://schemas.microsoft.com/office/drawing/2014/main" id="{C57FC906-94A4-9340-B80B-5A4321C7FD9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Select and download images from the Marketing Resource Database.</a:t>
                </a:r>
              </a:p>
              <a:p>
                <a:pPr lvl="0"/>
                <a:r>
                  <a:rPr lang="en-US" sz="1050"/>
                  <a:t>Add the image to the placeholder.</a:t>
                </a:r>
              </a:p>
            </p:txBody>
          </p:sp>
        </p:grpSp>
        <p:sp>
          <p:nvSpPr>
            <p:cNvPr id="32" name="TextBox 31">
              <a:extLst>
                <a:ext uri="{FF2B5EF4-FFF2-40B4-BE49-F238E27FC236}">
                  <a16:creationId xmlns:a16="http://schemas.microsoft.com/office/drawing/2014/main" id="{33DD3CB3-E4D8-D945-AB52-C6152FB5CEEE}"/>
                </a:ext>
              </a:extLst>
            </p:cNvPr>
            <p:cNvSpPr txBox="1"/>
            <p:nvPr userDrawn="1"/>
          </p:nvSpPr>
          <p:spPr>
            <a:xfrm>
              <a:off x="9674267" y="5218639"/>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33" name="TextBox 32">
              <a:extLst>
                <a:ext uri="{FF2B5EF4-FFF2-40B4-BE49-F238E27FC236}">
                  <a16:creationId xmlns:a16="http://schemas.microsoft.com/office/drawing/2014/main" id="{F2294DF0-4D25-5543-B7E9-64BC32586F13}"/>
                </a:ext>
              </a:extLst>
            </p:cNvPr>
            <p:cNvSpPr txBox="1"/>
            <p:nvPr userDrawn="1"/>
          </p:nvSpPr>
          <p:spPr>
            <a:xfrm>
              <a:off x="9686426" y="5633896"/>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34" name="TextBox 33">
              <a:extLst>
                <a:ext uri="{FF2B5EF4-FFF2-40B4-BE49-F238E27FC236}">
                  <a16:creationId xmlns:a16="http://schemas.microsoft.com/office/drawing/2014/main" id="{E7593A18-4AA6-1740-8742-F41540517E1F}"/>
                </a:ext>
              </a:extLst>
            </p:cNvPr>
            <p:cNvSpPr txBox="1"/>
            <p:nvPr userDrawn="1"/>
          </p:nvSpPr>
          <p:spPr>
            <a:xfrm>
              <a:off x="9686426" y="6353986"/>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a:t>
              </a:r>
              <a:r>
                <a:rPr lang="en-US" sz="600" b="0"/>
                <a:t>Placeholder icon</a:t>
              </a:r>
            </a:p>
            <a:p>
              <a:pPr lvl="1">
                <a:buNone/>
              </a:pPr>
              <a:r>
                <a:rPr lang="en-US" sz="1050"/>
                <a:t>Click the image icon inside the placeholder to browse for an image.</a:t>
              </a:r>
            </a:p>
          </p:txBody>
        </p:sp>
        <p:sp>
          <p:nvSpPr>
            <p:cNvPr id="35" name="TextBox 34">
              <a:extLst>
                <a:ext uri="{FF2B5EF4-FFF2-40B4-BE49-F238E27FC236}">
                  <a16:creationId xmlns:a16="http://schemas.microsoft.com/office/drawing/2014/main" id="{956F856D-C4D3-334A-B1FE-BDBA5CA3B0E1}"/>
                </a:ext>
              </a:extLst>
            </p:cNvPr>
            <p:cNvSpPr txBox="1"/>
            <p:nvPr userDrawn="1"/>
          </p:nvSpPr>
          <p:spPr>
            <a:xfrm>
              <a:off x="9674267" y="6784549"/>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sp>
          <p:nvSpPr>
            <p:cNvPr id="38" name="TextBox 37">
              <a:extLst>
                <a:ext uri="{FF2B5EF4-FFF2-40B4-BE49-F238E27FC236}">
                  <a16:creationId xmlns:a16="http://schemas.microsoft.com/office/drawing/2014/main" id="{AB0AAF54-7965-B142-B874-EE47EADD6C0A}"/>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39" name="Straight Connector 38">
              <a:extLst>
                <a:ext uri="{FF2B5EF4-FFF2-40B4-BE49-F238E27FC236}">
                  <a16:creationId xmlns:a16="http://schemas.microsoft.com/office/drawing/2014/main" id="{9DED1D72-DEB5-E94A-A957-290E83552A0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B557C09-E337-D24A-941E-6A7414CBA1D8}"/>
                </a:ext>
              </a:extLst>
            </p:cNvPr>
            <p:cNvGrpSpPr/>
            <p:nvPr userDrawn="1"/>
          </p:nvGrpSpPr>
          <p:grpSpPr>
            <a:xfrm>
              <a:off x="9541497" y="1993090"/>
              <a:ext cx="2735151" cy="1739504"/>
              <a:chOff x="9541497" y="2125825"/>
              <a:chExt cx="2735151" cy="1739504"/>
            </a:xfrm>
          </p:grpSpPr>
          <p:sp>
            <p:nvSpPr>
              <p:cNvPr id="72" name="Rectangle 71">
                <a:extLst>
                  <a:ext uri="{FF2B5EF4-FFF2-40B4-BE49-F238E27FC236}">
                    <a16:creationId xmlns:a16="http://schemas.microsoft.com/office/drawing/2014/main" id="{3EFFB818-B95A-9A4F-AA82-9F4D5FF20275}"/>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3" name="TextBox 72">
                <a:extLst>
                  <a:ext uri="{FF2B5EF4-FFF2-40B4-BE49-F238E27FC236}">
                    <a16:creationId xmlns:a16="http://schemas.microsoft.com/office/drawing/2014/main" id="{DEC5F26B-4D18-5442-B88B-C1A3C02042FF}"/>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Undo Hyperlink</a:t>
                </a:r>
              </a:p>
            </p:txBody>
          </p:sp>
          <p:pic>
            <p:nvPicPr>
              <p:cNvPr id="74" name="Graphic 73">
                <a:extLst>
                  <a:ext uri="{FF2B5EF4-FFF2-40B4-BE49-F238E27FC236}">
                    <a16:creationId xmlns:a16="http://schemas.microsoft.com/office/drawing/2014/main" id="{474F1871-E7AA-694F-A055-112CE85079D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01720" y="2264907"/>
                <a:ext cx="155227" cy="155227"/>
              </a:xfrm>
              <a:prstGeom prst="rect">
                <a:avLst/>
              </a:prstGeom>
            </p:spPr>
          </p:pic>
          <p:sp>
            <p:nvSpPr>
              <p:cNvPr id="75" name="TextBox 74">
                <a:extLst>
                  <a:ext uri="{FF2B5EF4-FFF2-40B4-BE49-F238E27FC236}">
                    <a16:creationId xmlns:a16="http://schemas.microsoft.com/office/drawing/2014/main" id="{E5FA5F2C-CB33-3742-94F7-FCC2AF53A1E3}"/>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As soon as the hyperlink formatting appears, Undo once to remove the format.</a:t>
                </a:r>
              </a:p>
            </p:txBody>
          </p:sp>
          <p:sp>
            <p:nvSpPr>
              <p:cNvPr id="78" name="TextBox 77">
                <a:extLst>
                  <a:ext uri="{FF2B5EF4-FFF2-40B4-BE49-F238E27FC236}">
                    <a16:creationId xmlns:a16="http://schemas.microsoft.com/office/drawing/2014/main" id="{2E1A285B-D1A8-7542-B57C-1FB7F1DE582E}"/>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79" name="TextBox 78">
                <a:extLst>
                  <a:ext uri="{FF2B5EF4-FFF2-40B4-BE49-F238E27FC236}">
                    <a16:creationId xmlns:a16="http://schemas.microsoft.com/office/drawing/2014/main" id="{9A7FC49C-9563-8045-A659-511775C12BE2}"/>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solidFill>
                      <a:schemeClr val="bg1">
                        <a:lumMod val="65000"/>
                      </a:schemeClr>
                    </a:solidFill>
                  </a:rPr>
                  <a:t>You can use CTRL+Z or the menu button.</a:t>
                </a:r>
              </a:p>
            </p:txBody>
          </p:sp>
          <p:sp>
            <p:nvSpPr>
              <p:cNvPr id="80" name="TextBox 79">
                <a:extLst>
                  <a:ext uri="{FF2B5EF4-FFF2-40B4-BE49-F238E27FC236}">
                    <a16:creationId xmlns:a16="http://schemas.microsoft.com/office/drawing/2014/main" id="{CD793767-48F5-464F-88A1-9CCB91E4C405}"/>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To remove an pre-existing hyperlink,</a:t>
                </a:r>
                <a:br>
                  <a:rPr lang="en-US" sz="900" kern="1200">
                    <a:solidFill>
                      <a:schemeClr val="tx1">
                        <a:lumMod val="50000"/>
                        <a:lumOff val="50000"/>
                      </a:schemeClr>
                    </a:solidFill>
                    <a:latin typeface="Arial" charset="0"/>
                    <a:cs typeface="Arial" charset="0"/>
                  </a:rPr>
                </a:br>
                <a:r>
                  <a:rPr lang="en-US" sz="900" kern="1200">
                    <a:solidFill>
                      <a:schemeClr val="tx1">
                        <a:lumMod val="50000"/>
                        <a:lumOff val="50000"/>
                      </a:schemeClr>
                    </a:solidFill>
                    <a:latin typeface="Arial" charset="0"/>
                    <a:cs typeface="Arial" charset="0"/>
                  </a:rPr>
                  <a:t>right click on the hyperlink and choose “Remove Link” (                 )</a:t>
                </a:r>
              </a:p>
            </p:txBody>
          </p:sp>
          <p:pic>
            <p:nvPicPr>
              <p:cNvPr id="3" name="Picture 2">
                <a:extLst>
                  <a:ext uri="{FF2B5EF4-FFF2-40B4-BE49-F238E27FC236}">
                    <a16:creationId xmlns:a16="http://schemas.microsoft.com/office/drawing/2014/main" id="{101078BD-505E-0F4C-AD76-8DD34B7498CB}"/>
                  </a:ext>
                </a:extLst>
              </p:cNvPr>
              <p:cNvPicPr>
                <a:picLocks noChangeAspect="1"/>
              </p:cNvPicPr>
              <p:nvPr userDrawn="1"/>
            </p:nvPicPr>
            <p:blipFill rotWithShape="1">
              <a:blip r:embed="rId8"/>
              <a:srcRect l="4852" t="17138" r="10283" b="11792"/>
              <a:stretch/>
            </p:blipFill>
            <p:spPr>
              <a:xfrm>
                <a:off x="10676602" y="3604038"/>
                <a:ext cx="478277" cy="101726"/>
              </a:xfrm>
              <a:prstGeom prst="rect">
                <a:avLst/>
              </a:prstGeom>
              <a:ln>
                <a:solidFill>
                  <a:schemeClr val="accent3">
                    <a:lumMod val="60000"/>
                    <a:lumOff val="40000"/>
                  </a:schemeClr>
                </a:solidFill>
              </a:ln>
            </p:spPr>
          </p:pic>
        </p:grpSp>
      </p:grpSp>
      <p:grpSp>
        <p:nvGrpSpPr>
          <p:cNvPr id="71" name="Group 70">
            <a:extLst>
              <a:ext uri="{FF2B5EF4-FFF2-40B4-BE49-F238E27FC236}">
                <a16:creationId xmlns:a16="http://schemas.microsoft.com/office/drawing/2014/main" id="{7C71C768-6B06-514A-9B09-14236993DABA}"/>
              </a:ext>
            </a:extLst>
          </p:cNvPr>
          <p:cNvGrpSpPr/>
          <p:nvPr userDrawn="1"/>
        </p:nvGrpSpPr>
        <p:grpSpPr>
          <a:xfrm>
            <a:off x="574987" y="-246933"/>
            <a:ext cx="11040535" cy="7347304"/>
            <a:chOff x="431240" y="-246933"/>
            <a:chExt cx="8280401" cy="7347304"/>
          </a:xfrm>
        </p:grpSpPr>
        <p:grpSp>
          <p:nvGrpSpPr>
            <p:cNvPr id="76" name="Group 75">
              <a:extLst>
                <a:ext uri="{FF2B5EF4-FFF2-40B4-BE49-F238E27FC236}">
                  <a16:creationId xmlns:a16="http://schemas.microsoft.com/office/drawing/2014/main" id="{9B95636A-1056-924A-97B4-C3A6F8C3B1B4}"/>
                </a:ext>
              </a:extLst>
            </p:cNvPr>
            <p:cNvGrpSpPr/>
            <p:nvPr userDrawn="1"/>
          </p:nvGrpSpPr>
          <p:grpSpPr>
            <a:xfrm>
              <a:off x="431242" y="6864579"/>
              <a:ext cx="8280398" cy="235792"/>
              <a:chOff x="431801" y="-235792"/>
              <a:chExt cx="4400550" cy="235792"/>
            </a:xfrm>
          </p:grpSpPr>
          <p:cxnSp>
            <p:nvCxnSpPr>
              <p:cNvPr id="88" name="Straight Connector 87">
                <a:extLst>
                  <a:ext uri="{FF2B5EF4-FFF2-40B4-BE49-F238E27FC236}">
                    <a16:creationId xmlns:a16="http://schemas.microsoft.com/office/drawing/2014/main" id="{A3BD970C-9E24-EF4F-8A3A-73AB3554235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05D3E976-ACCC-3442-8667-B012B51D2E6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0A1A29BA-21FE-BF4F-A419-8BEDC8913E4C}"/>
                </a:ext>
              </a:extLst>
            </p:cNvPr>
            <p:cNvGrpSpPr/>
            <p:nvPr userDrawn="1"/>
          </p:nvGrpSpPr>
          <p:grpSpPr>
            <a:xfrm>
              <a:off x="431240" y="-246933"/>
              <a:ext cx="8280401" cy="235792"/>
              <a:chOff x="431800" y="-240735"/>
              <a:chExt cx="8280401" cy="235792"/>
            </a:xfrm>
          </p:grpSpPr>
          <p:grpSp>
            <p:nvGrpSpPr>
              <p:cNvPr id="81" name="Group 80">
                <a:extLst>
                  <a:ext uri="{FF2B5EF4-FFF2-40B4-BE49-F238E27FC236}">
                    <a16:creationId xmlns:a16="http://schemas.microsoft.com/office/drawing/2014/main" id="{07CF734D-3FF9-4E47-A5C5-1D33DD70F237}"/>
                  </a:ext>
                </a:extLst>
              </p:cNvPr>
              <p:cNvGrpSpPr/>
              <p:nvPr userDrawn="1"/>
            </p:nvGrpSpPr>
            <p:grpSpPr>
              <a:xfrm>
                <a:off x="431800" y="-240735"/>
                <a:ext cx="8280400" cy="235792"/>
                <a:chOff x="431800" y="-235792"/>
                <a:chExt cx="4400551" cy="235792"/>
              </a:xfrm>
            </p:grpSpPr>
            <p:cxnSp>
              <p:nvCxnSpPr>
                <p:cNvPr id="85" name="Straight Connector 84">
                  <a:extLst>
                    <a:ext uri="{FF2B5EF4-FFF2-40B4-BE49-F238E27FC236}">
                      <a16:creationId xmlns:a16="http://schemas.microsoft.com/office/drawing/2014/main" id="{A3D8645B-FB11-AF4F-A236-5EEAA664B35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3479ADB-FA23-394E-8391-00230A9B7BB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5CE960C4-BA95-7E46-819D-BD872CA8C5E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82" name="TextBox 81">
                <a:extLst>
                  <a:ext uri="{FF2B5EF4-FFF2-40B4-BE49-F238E27FC236}">
                    <a16:creationId xmlns:a16="http://schemas.microsoft.com/office/drawing/2014/main" id="{D1DED7A1-A6E1-1B4A-B40C-99489D2EB2D3}"/>
                  </a:ext>
                </a:extLst>
              </p:cNvPr>
              <p:cNvSpPr txBox="1"/>
              <p:nvPr userDrawn="1"/>
            </p:nvSpPr>
            <p:spPr>
              <a:xfrm>
                <a:off x="3914336" y="-176700"/>
                <a:ext cx="1315339"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83" name="Straight Arrow Connector 82">
                <a:extLst>
                  <a:ext uri="{FF2B5EF4-FFF2-40B4-BE49-F238E27FC236}">
                    <a16:creationId xmlns:a16="http://schemas.microsoft.com/office/drawing/2014/main" id="{EA4680D5-EBE2-9445-9E04-4B3E32771EF3}"/>
                  </a:ext>
                </a:extLst>
              </p:cNvPr>
              <p:cNvCxnSpPr>
                <a:cxnSpLocks/>
                <a:stCxn id="82" idx="1"/>
                <a:endCxn id="87" idx="2"/>
              </p:cNvCxnSpPr>
              <p:nvPr userDrawn="1"/>
            </p:nvCxnSpPr>
            <p:spPr>
              <a:xfrm flipH="1">
                <a:off x="431801" y="-122839"/>
                <a:ext cx="3482535"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1C4946BD-BA2D-B243-9830-431EA0108821}"/>
                  </a:ext>
                </a:extLst>
              </p:cNvPr>
              <p:cNvCxnSpPr>
                <a:cxnSpLocks/>
                <a:stCxn id="82" idx="3"/>
                <a:endCxn id="87" idx="0"/>
              </p:cNvCxnSpPr>
              <p:nvPr userDrawn="1"/>
            </p:nvCxnSpPr>
            <p:spPr>
              <a:xfrm flipV="1">
                <a:off x="5229674" y="-122840"/>
                <a:ext cx="3482527"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
        <p:nvSpPr>
          <p:cNvPr id="93" name="Freeform 92">
            <a:extLst>
              <a:ext uri="{FF2B5EF4-FFF2-40B4-BE49-F238E27FC236}">
                <a16:creationId xmlns:a16="http://schemas.microsoft.com/office/drawing/2014/main" id="{6CEFC915-2A9B-EA4D-8694-7C43B4B0FE5E}"/>
              </a:ext>
            </a:extLst>
          </p:cNvPr>
          <p:cNvSpPr/>
          <p:nvPr userDrawn="1"/>
        </p:nvSpPr>
        <p:spPr>
          <a:xfrm flipH="1">
            <a:off x="3" y="6025102"/>
            <a:ext cx="9829508" cy="431903"/>
          </a:xfrm>
          <a:custGeom>
            <a:avLst/>
            <a:gdLst>
              <a:gd name="connsiteX0" fmla="*/ 7372131 w 7372131"/>
              <a:gd name="connsiteY0" fmla="*/ 0 h 323927"/>
              <a:gd name="connsiteX1" fmla="*/ 7352841 w 7372131"/>
              <a:gd name="connsiteY1" fmla="*/ 0 h 323927"/>
              <a:gd name="connsiteX2" fmla="*/ 795061 w 7372131"/>
              <a:gd name="connsiteY2" fmla="*/ 0 h 323927"/>
              <a:gd name="connsiteX3" fmla="*/ 775771 w 7372131"/>
              <a:gd name="connsiteY3" fmla="*/ 0 h 323927"/>
              <a:gd name="connsiteX4" fmla="*/ 775771 w 7372131"/>
              <a:gd name="connsiteY4" fmla="*/ 7 h 323927"/>
              <a:gd name="connsiteX5" fmla="*/ 479526 w 7372131"/>
              <a:gd name="connsiteY5" fmla="*/ 7 h 323927"/>
              <a:gd name="connsiteX6" fmla="*/ 460236 w 7372131"/>
              <a:gd name="connsiteY6" fmla="*/ 7 h 323927"/>
              <a:gd name="connsiteX7" fmla="*/ 173008 w 7372131"/>
              <a:gd name="connsiteY7" fmla="*/ 7 h 323927"/>
              <a:gd name="connsiteX8" fmla="*/ 153718 w 7372131"/>
              <a:gd name="connsiteY8" fmla="*/ 7 h 323927"/>
              <a:gd name="connsiteX9" fmla="*/ 4 w 7372131"/>
              <a:gd name="connsiteY9" fmla="*/ 323921 h 323927"/>
              <a:gd name="connsiteX10" fmla="*/ 0 w 7372131"/>
              <a:gd name="connsiteY10" fmla="*/ 323927 h 323927"/>
              <a:gd name="connsiteX11" fmla="*/ 1 w 7372131"/>
              <a:gd name="connsiteY11" fmla="*/ 323927 h 323927"/>
              <a:gd name="connsiteX12" fmla="*/ 19290 w 7372131"/>
              <a:gd name="connsiteY12" fmla="*/ 323927 h 323927"/>
              <a:gd name="connsiteX13" fmla="*/ 19291 w 7372131"/>
              <a:gd name="connsiteY13" fmla="*/ 323927 h 323927"/>
              <a:gd name="connsiteX14" fmla="*/ 306520 w 7372131"/>
              <a:gd name="connsiteY14" fmla="*/ 323927 h 323927"/>
              <a:gd name="connsiteX15" fmla="*/ 325810 w 7372131"/>
              <a:gd name="connsiteY15" fmla="*/ 323927 h 323927"/>
              <a:gd name="connsiteX16" fmla="*/ 404476 w 7372131"/>
              <a:gd name="connsiteY16" fmla="*/ 323927 h 323927"/>
              <a:gd name="connsiteX17" fmla="*/ 423766 w 7372131"/>
              <a:gd name="connsiteY17" fmla="*/ 323927 h 323927"/>
              <a:gd name="connsiteX18" fmla="*/ 4832481 w 7372131"/>
              <a:gd name="connsiteY18" fmla="*/ 323927 h 323927"/>
              <a:gd name="connsiteX19" fmla="*/ 4851771 w 7372131"/>
              <a:gd name="connsiteY19" fmla="*/ 323927 h 323927"/>
              <a:gd name="connsiteX20" fmla="*/ 5139000 w 7372131"/>
              <a:gd name="connsiteY20" fmla="*/ 323927 h 323927"/>
              <a:gd name="connsiteX21" fmla="*/ 5158290 w 7372131"/>
              <a:gd name="connsiteY21" fmla="*/ 323927 h 323927"/>
              <a:gd name="connsiteX22" fmla="*/ 6376846 w 7372131"/>
              <a:gd name="connsiteY22" fmla="*/ 323927 h 323927"/>
              <a:gd name="connsiteX23" fmla="*/ 6396136 w 7372131"/>
              <a:gd name="connsiteY23" fmla="*/ 323927 h 323927"/>
              <a:gd name="connsiteX24" fmla="*/ 6781322 w 7372131"/>
              <a:gd name="connsiteY24" fmla="*/ 323927 h 323927"/>
              <a:gd name="connsiteX25" fmla="*/ 6800612 w 7372131"/>
              <a:gd name="connsiteY25" fmla="*/ 323927 h 323927"/>
              <a:gd name="connsiteX26" fmla="*/ 6800612 w 7372131"/>
              <a:gd name="connsiteY26" fmla="*/ 323920 h 323927"/>
              <a:gd name="connsiteX27" fmla="*/ 7352841 w 7372131"/>
              <a:gd name="connsiteY27" fmla="*/ 323920 h 323927"/>
              <a:gd name="connsiteX28" fmla="*/ 7372131 w 7372131"/>
              <a:gd name="connsiteY28" fmla="*/ 323920 h 323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372131" h="323927">
                <a:moveTo>
                  <a:pt x="7372131" y="0"/>
                </a:moveTo>
                <a:lnTo>
                  <a:pt x="7352841" y="0"/>
                </a:lnTo>
                <a:lnTo>
                  <a:pt x="795061" y="0"/>
                </a:lnTo>
                <a:lnTo>
                  <a:pt x="775771" y="0"/>
                </a:lnTo>
                <a:lnTo>
                  <a:pt x="775771" y="7"/>
                </a:lnTo>
                <a:lnTo>
                  <a:pt x="479526" y="7"/>
                </a:lnTo>
                <a:lnTo>
                  <a:pt x="460236" y="7"/>
                </a:lnTo>
                <a:lnTo>
                  <a:pt x="173008" y="7"/>
                </a:lnTo>
                <a:lnTo>
                  <a:pt x="153718" y="7"/>
                </a:lnTo>
                <a:lnTo>
                  <a:pt x="4" y="323921"/>
                </a:lnTo>
                <a:lnTo>
                  <a:pt x="0" y="323927"/>
                </a:lnTo>
                <a:lnTo>
                  <a:pt x="1" y="323927"/>
                </a:lnTo>
                <a:lnTo>
                  <a:pt x="19290" y="323927"/>
                </a:lnTo>
                <a:lnTo>
                  <a:pt x="19291" y="323927"/>
                </a:lnTo>
                <a:lnTo>
                  <a:pt x="306520" y="323927"/>
                </a:lnTo>
                <a:lnTo>
                  <a:pt x="325810" y="323927"/>
                </a:lnTo>
                <a:lnTo>
                  <a:pt x="404476" y="323927"/>
                </a:lnTo>
                <a:lnTo>
                  <a:pt x="423766" y="323927"/>
                </a:lnTo>
                <a:lnTo>
                  <a:pt x="4832481" y="323927"/>
                </a:lnTo>
                <a:lnTo>
                  <a:pt x="4851771" y="323927"/>
                </a:lnTo>
                <a:lnTo>
                  <a:pt x="5139000" y="323927"/>
                </a:lnTo>
                <a:lnTo>
                  <a:pt x="5158290" y="323927"/>
                </a:lnTo>
                <a:lnTo>
                  <a:pt x="6376846" y="323927"/>
                </a:lnTo>
                <a:lnTo>
                  <a:pt x="6396136" y="323927"/>
                </a:lnTo>
                <a:lnTo>
                  <a:pt x="6781322" y="323927"/>
                </a:lnTo>
                <a:lnTo>
                  <a:pt x="6800612" y="323927"/>
                </a:lnTo>
                <a:lnTo>
                  <a:pt x="6800612" y="323920"/>
                </a:lnTo>
                <a:lnTo>
                  <a:pt x="7352841" y="323920"/>
                </a:lnTo>
                <a:lnTo>
                  <a:pt x="7372131" y="323920"/>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a:p>
        </p:txBody>
      </p:sp>
      <p:sp>
        <p:nvSpPr>
          <p:cNvPr id="95" name="Picture Placeholder 20">
            <a:extLst>
              <a:ext uri="{FF2B5EF4-FFF2-40B4-BE49-F238E27FC236}">
                <a16:creationId xmlns:a16="http://schemas.microsoft.com/office/drawing/2014/main" id="{B9977FBD-4300-0F48-B029-33D1EBD61FB7}"/>
              </a:ext>
            </a:extLst>
          </p:cNvPr>
          <p:cNvSpPr>
            <a:spLocks noGrp="1"/>
          </p:cNvSpPr>
          <p:nvPr>
            <p:ph type="pic" sz="quarter" idx="16" hasCustomPrompt="1"/>
          </p:nvPr>
        </p:nvSpPr>
        <p:spPr>
          <a:xfrm>
            <a:off x="7903972" y="2402809"/>
            <a:ext cx="4288028" cy="3294098"/>
          </a:xfrm>
          <a:custGeom>
            <a:avLst/>
            <a:gdLst>
              <a:gd name="connsiteX0" fmla="*/ 0 w 4288028"/>
              <a:gd name="connsiteY0" fmla="*/ 0 h 3294098"/>
              <a:gd name="connsiteX1" fmla="*/ 4288028 w 4288028"/>
              <a:gd name="connsiteY1" fmla="*/ 0 h 3294098"/>
              <a:gd name="connsiteX2" fmla="*/ 4288028 w 4288028"/>
              <a:gd name="connsiteY2" fmla="*/ 3294098 h 3294098"/>
              <a:gd name="connsiteX3" fmla="*/ 1563214 w 4288028"/>
              <a:gd name="connsiteY3" fmla="*/ 3294098 h 3294098"/>
            </a:gdLst>
            <a:ahLst/>
            <a:cxnLst>
              <a:cxn ang="0">
                <a:pos x="connsiteX0" y="connsiteY0"/>
              </a:cxn>
              <a:cxn ang="0">
                <a:pos x="connsiteX1" y="connsiteY1"/>
              </a:cxn>
              <a:cxn ang="0">
                <a:pos x="connsiteX2" y="connsiteY2"/>
              </a:cxn>
              <a:cxn ang="0">
                <a:pos x="connsiteX3" y="connsiteY3"/>
              </a:cxn>
            </a:cxnLst>
            <a:rect l="l" t="t" r="r" b="b"/>
            <a:pathLst>
              <a:path w="4288028" h="3294098">
                <a:moveTo>
                  <a:pt x="0" y="0"/>
                </a:moveTo>
                <a:lnTo>
                  <a:pt x="4288028" y="0"/>
                </a:lnTo>
                <a:lnTo>
                  <a:pt x="4288028" y="3294098"/>
                </a:lnTo>
                <a:lnTo>
                  <a:pt x="1563214" y="3294098"/>
                </a:lnTo>
                <a:close/>
              </a:path>
            </a:pathLst>
          </a:custGeom>
          <a:solidFill>
            <a:srgbClr val="FFD566"/>
          </a:solidFill>
        </p:spPr>
        <p:txBody>
          <a:bodyPr wrap="square" rIns="432000" anchor="ctr">
            <a:noAutofit/>
          </a:bodyPr>
          <a:lstStyle>
            <a:lvl1pPr marL="0" indent="0" algn="r">
              <a:buNone/>
              <a:defRPr b="0">
                <a:solidFill>
                  <a:schemeClr val="bg1"/>
                </a:solidFill>
              </a:defRPr>
            </a:lvl1pPr>
          </a:lstStyle>
          <a:p>
            <a:r>
              <a:rPr lang="en-US"/>
              <a:t>Click icon to add photo or headshot</a:t>
            </a:r>
          </a:p>
        </p:txBody>
      </p:sp>
    </p:spTree>
    <p:extLst>
      <p:ext uri="{BB962C8B-B14F-4D97-AF65-F5344CB8AC3E}">
        <p14:creationId xmlns:p14="http://schemas.microsoft.com/office/powerpoint/2010/main" val="2952025671"/>
      </p:ext>
    </p:extLst>
  </p:cSld>
  <p:clrMapOvr>
    <a:overrideClrMapping bg1="lt1" tx1="dk1" bg2="lt2" tx2="dk2" accent1="accent1" accent2="accent2" accent3="accent3" accent4="accent4" accent5="accent5" accent6="accent6" hlink="lt1" folHlink="lt1"/>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hank You (2 Headshots)">
    <p:bg>
      <p:bgPr>
        <a:solidFill>
          <a:schemeClr val="bg1"/>
        </a:solidFill>
        <a:effectLst/>
      </p:bgPr>
    </p:bg>
    <p:spTree>
      <p:nvGrpSpPr>
        <p:cNvPr id="1" name=""/>
        <p:cNvGrpSpPr/>
        <p:nvPr/>
      </p:nvGrpSpPr>
      <p:grpSpPr>
        <a:xfrm>
          <a:off x="0" y="0"/>
          <a:ext cx="0" cy="0"/>
          <a:chOff x="0" y="0"/>
          <a:chExt cx="0" cy="0"/>
        </a:xfrm>
      </p:grpSpPr>
      <p:pic>
        <p:nvPicPr>
          <p:cNvPr id="72" name="Graphic 6">
            <a:extLst>
              <a:ext uri="{FF2B5EF4-FFF2-40B4-BE49-F238E27FC236}">
                <a16:creationId xmlns:a16="http://schemas.microsoft.com/office/drawing/2014/main" id="{A9AF4FC5-C1B8-CB45-9936-E6690C5C8533}"/>
              </a:ext>
            </a:extLst>
          </p:cNvPr>
          <p:cNvPicPr>
            <a:picLocks noChangeAspect="1"/>
          </p:cNvPicPr>
          <p:nvPr userDrawn="1"/>
        </p:nvPicPr>
        <p:blipFill>
          <a:blip r:embed="rId2"/>
          <a:srcRect/>
          <a:stretch/>
        </p:blipFill>
        <p:spPr>
          <a:xfrm>
            <a:off x="9836850" y="6057369"/>
            <a:ext cx="2151409" cy="355304"/>
          </a:xfrm>
          <a:prstGeom prst="rect">
            <a:avLst/>
          </a:prstGeom>
        </p:spPr>
      </p:pic>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575734" y="2402732"/>
            <a:ext cx="11040533" cy="922907"/>
          </a:xfrm>
        </p:spPr>
        <p:txBody>
          <a:bodyPr/>
          <a:lstStyle>
            <a:lvl1pPr>
              <a:defRPr sz="3200"/>
            </a:lvl1pPr>
          </a:lstStyle>
          <a:p>
            <a:r>
              <a:rPr lang="en-US"/>
              <a:t>Click to add </a:t>
            </a:r>
            <a:br>
              <a:rPr lang="en-US"/>
            </a:br>
            <a:r>
              <a:rPr lang="en-US"/>
              <a:t>thank-you message</a:t>
            </a:r>
          </a:p>
        </p:txBody>
      </p:sp>
      <p:grpSp>
        <p:nvGrpSpPr>
          <p:cNvPr id="6" name="Group 5">
            <a:extLst>
              <a:ext uri="{FF2B5EF4-FFF2-40B4-BE49-F238E27FC236}">
                <a16:creationId xmlns:a16="http://schemas.microsoft.com/office/drawing/2014/main" id="{8D1E4CB5-AA85-684E-AF17-29E1CA106E35}"/>
              </a:ext>
            </a:extLst>
          </p:cNvPr>
          <p:cNvGrpSpPr/>
          <p:nvPr userDrawn="1"/>
        </p:nvGrpSpPr>
        <p:grpSpPr>
          <a:xfrm>
            <a:off x="-266705" y="2477066"/>
            <a:ext cx="259368" cy="2652377"/>
            <a:chOff x="-266705" y="2477066"/>
            <a:chExt cx="259368" cy="2652377"/>
          </a:xfrm>
        </p:grpSpPr>
        <p:grpSp>
          <p:nvGrpSpPr>
            <p:cNvPr id="7" name="Group 6">
              <a:extLst>
                <a:ext uri="{FF2B5EF4-FFF2-40B4-BE49-F238E27FC236}">
                  <a16:creationId xmlns:a16="http://schemas.microsoft.com/office/drawing/2014/main" id="{329E5FF7-98BC-884F-840D-5E423F4AF849}"/>
                </a:ext>
              </a:extLst>
            </p:cNvPr>
            <p:cNvGrpSpPr/>
            <p:nvPr userDrawn="1"/>
          </p:nvGrpSpPr>
          <p:grpSpPr>
            <a:xfrm>
              <a:off x="-266705" y="2477066"/>
              <a:ext cx="259368"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59580" y="622270"/>
                <a:ext cx="457823" cy="161583"/>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HANK YOU</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D8244616-2BA8-434E-A138-B2D5956D9EE1}"/>
                </a:ext>
              </a:extLst>
            </p:cNvPr>
            <p:cNvGrpSpPr/>
            <p:nvPr userDrawn="1"/>
          </p:nvGrpSpPr>
          <p:grpSpPr>
            <a:xfrm>
              <a:off x="-266705" y="3622630"/>
              <a:ext cx="259368" cy="1506813"/>
              <a:chOff x="-256404" y="360363"/>
              <a:chExt cx="251461" cy="692152"/>
            </a:xfrm>
          </p:grpSpPr>
          <p:grpSp>
            <p:nvGrpSpPr>
              <p:cNvPr id="17" name="Group 16">
                <a:extLst>
                  <a:ext uri="{FF2B5EF4-FFF2-40B4-BE49-F238E27FC236}">
                    <a16:creationId xmlns:a16="http://schemas.microsoft.com/office/drawing/2014/main" id="{709CBFCC-B5CB-D24E-8728-2AAEE959FF6E}"/>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977E976A-5E64-D14B-BA4C-4F26EF696B7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0263B3-BEFA-F84D-A346-488994B5061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D5E94FD-3E4F-7A4D-8F85-338D20425FB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18" name="TextBox 17">
                <a:extLst>
                  <a:ext uri="{FF2B5EF4-FFF2-40B4-BE49-F238E27FC236}">
                    <a16:creationId xmlns:a16="http://schemas.microsoft.com/office/drawing/2014/main" id="{1C137DA0-E7A0-8348-964C-0094E9A21AD9}"/>
                  </a:ext>
                </a:extLst>
              </p:cNvPr>
              <p:cNvSpPr txBox="1"/>
              <p:nvPr userDrawn="1"/>
            </p:nvSpPr>
            <p:spPr>
              <a:xfrm rot="16200000">
                <a:off x="-284929" y="662666"/>
                <a:ext cx="308525"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CONTACT INFO</a:t>
                </a:r>
              </a:p>
            </p:txBody>
          </p:sp>
        </p:grpSp>
      </p:grpSp>
      <p:grpSp>
        <p:nvGrpSpPr>
          <p:cNvPr id="2" name="Group 1">
            <a:extLst>
              <a:ext uri="{FF2B5EF4-FFF2-40B4-BE49-F238E27FC236}">
                <a16:creationId xmlns:a16="http://schemas.microsoft.com/office/drawing/2014/main" id="{C8C5271A-0BDF-8A4B-A174-563C1037B2D5}"/>
              </a:ext>
            </a:extLst>
          </p:cNvPr>
          <p:cNvGrpSpPr/>
          <p:nvPr userDrawn="1"/>
        </p:nvGrpSpPr>
        <p:grpSpPr>
          <a:xfrm>
            <a:off x="12532244" y="-1"/>
            <a:ext cx="2979899" cy="8383282"/>
            <a:chOff x="9399182" y="-1"/>
            <a:chExt cx="2961715" cy="8383282"/>
          </a:xfrm>
        </p:grpSpPr>
        <p:sp>
          <p:nvSpPr>
            <p:cNvPr id="25" name="Rectangle 24">
              <a:extLst>
                <a:ext uri="{FF2B5EF4-FFF2-40B4-BE49-F238E27FC236}">
                  <a16:creationId xmlns:a16="http://schemas.microsoft.com/office/drawing/2014/main" id="{545B4392-38F5-6C41-A941-E1CDFEF149BA}"/>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81" name="Picture 80">
              <a:extLst>
                <a:ext uri="{FF2B5EF4-FFF2-40B4-BE49-F238E27FC236}">
                  <a16:creationId xmlns:a16="http://schemas.microsoft.com/office/drawing/2014/main" id="{9505F31A-B1BD-6B43-93A4-B74F320C4E6C}"/>
                </a:ext>
              </a:extLst>
            </p:cNvPr>
            <p:cNvPicPr>
              <a:picLocks noChangeAspect="1"/>
            </p:cNvPicPr>
            <p:nvPr userDrawn="1"/>
          </p:nvPicPr>
          <p:blipFill rotWithShape="1">
            <a:blip r:embed="rId3"/>
            <a:srcRect r="44907"/>
            <a:stretch/>
          </p:blipFill>
          <p:spPr>
            <a:xfrm>
              <a:off x="9558505" y="1326787"/>
              <a:ext cx="2639326" cy="517021"/>
            </a:xfrm>
            <a:prstGeom prst="rect">
              <a:avLst/>
            </a:prstGeom>
          </p:spPr>
        </p:pic>
        <p:sp>
          <p:nvSpPr>
            <p:cNvPr id="26" name="TextBox 25">
              <a:extLst>
                <a:ext uri="{FF2B5EF4-FFF2-40B4-BE49-F238E27FC236}">
                  <a16:creationId xmlns:a16="http://schemas.microsoft.com/office/drawing/2014/main" id="{5258D4B1-E9C2-FB40-A4A9-66BEE0EF3965}"/>
                </a:ext>
              </a:extLst>
            </p:cNvPr>
            <p:cNvSpPr txBox="1"/>
            <p:nvPr userDrawn="1"/>
          </p:nvSpPr>
          <p:spPr>
            <a:xfrm>
              <a:off x="9558507" y="3863269"/>
              <a:ext cx="161943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IPS FOR ADDING HEADSHOTS</a:t>
              </a:r>
            </a:p>
          </p:txBody>
        </p:sp>
        <p:cxnSp>
          <p:nvCxnSpPr>
            <p:cNvPr id="27" name="Straight Connector 26">
              <a:extLst>
                <a:ext uri="{FF2B5EF4-FFF2-40B4-BE49-F238E27FC236}">
                  <a16:creationId xmlns:a16="http://schemas.microsoft.com/office/drawing/2014/main" id="{661008D7-F48E-CB4E-99B2-9CD9ECF9FBD6}"/>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EEB03B23-ECF8-7E4C-9DD0-D5EB04C22CCD}"/>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7" name="TextBox 66">
              <a:extLst>
                <a:ext uri="{FF2B5EF4-FFF2-40B4-BE49-F238E27FC236}">
                  <a16:creationId xmlns:a16="http://schemas.microsoft.com/office/drawing/2014/main" id="{D36E3FB2-9D3F-F345-8ABF-49772659DC3C}"/>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68" name="Picture 67">
              <a:extLst>
                <a:ext uri="{FF2B5EF4-FFF2-40B4-BE49-F238E27FC236}">
                  <a16:creationId xmlns:a16="http://schemas.microsoft.com/office/drawing/2014/main" id="{A2E380DD-5DBC-7B40-941B-9B833C5A4891}"/>
                </a:ext>
              </a:extLst>
            </p:cNvPr>
            <p:cNvPicPr>
              <a:picLocks noChangeAspect="1"/>
            </p:cNvPicPr>
            <p:nvPr userDrawn="1"/>
          </p:nvPicPr>
          <p:blipFill rotWithShape="1">
            <a:blip r:embed="rId4"/>
            <a:srcRect l="8882" t="5165" r="-1"/>
            <a:stretch/>
          </p:blipFill>
          <p:spPr>
            <a:xfrm>
              <a:off x="9694938" y="411250"/>
              <a:ext cx="324017" cy="289055"/>
            </a:xfrm>
            <a:prstGeom prst="roundRect">
              <a:avLst/>
            </a:prstGeom>
          </p:spPr>
        </p:pic>
        <p:sp>
          <p:nvSpPr>
            <p:cNvPr id="60" name="Rectangle 59">
              <a:extLst>
                <a:ext uri="{FF2B5EF4-FFF2-40B4-BE49-F238E27FC236}">
                  <a16:creationId xmlns:a16="http://schemas.microsoft.com/office/drawing/2014/main" id="{F9D5BAED-BA0A-B647-B7F6-5D6021FACCCF}"/>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1" name="TextBox 60">
              <a:extLst>
                <a:ext uri="{FF2B5EF4-FFF2-40B4-BE49-F238E27FC236}">
                  <a16:creationId xmlns:a16="http://schemas.microsoft.com/office/drawing/2014/main" id="{0526BF7F-3849-4849-8E5B-701D9AA18384}"/>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62" name="Graphic 61">
              <a:extLst>
                <a:ext uri="{FF2B5EF4-FFF2-40B4-BE49-F238E27FC236}">
                  <a16:creationId xmlns:a16="http://schemas.microsoft.com/office/drawing/2014/main" id="{A349D8B4-550A-014D-9076-DDDB3624A37A}"/>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01720" y="7111049"/>
              <a:ext cx="155227" cy="155227"/>
            </a:xfrm>
            <a:prstGeom prst="rect">
              <a:avLst/>
            </a:prstGeom>
          </p:spPr>
        </p:pic>
        <p:sp>
          <p:nvSpPr>
            <p:cNvPr id="63" name="TextBox 62">
              <a:extLst>
                <a:ext uri="{FF2B5EF4-FFF2-40B4-BE49-F238E27FC236}">
                  <a16:creationId xmlns:a16="http://schemas.microsoft.com/office/drawing/2014/main" id="{EE86AFA1-0C01-1D45-B393-A7B36DC10AE4}"/>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4" name="TextBox 63">
              <a:extLst>
                <a:ext uri="{FF2B5EF4-FFF2-40B4-BE49-F238E27FC236}">
                  <a16:creationId xmlns:a16="http://schemas.microsoft.com/office/drawing/2014/main" id="{B69B0D5D-8E81-F645-BCC8-64447E84902A}"/>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5" name="TextBox 64">
              <a:extLst>
                <a:ext uri="{FF2B5EF4-FFF2-40B4-BE49-F238E27FC236}">
                  <a16:creationId xmlns:a16="http://schemas.microsoft.com/office/drawing/2014/main" id="{EFADA951-D7D8-B14D-82B0-66F3604EF11D}"/>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sp>
          <p:nvSpPr>
            <p:cNvPr id="53" name="Rectangle 52">
              <a:extLst>
                <a:ext uri="{FF2B5EF4-FFF2-40B4-BE49-F238E27FC236}">
                  <a16:creationId xmlns:a16="http://schemas.microsoft.com/office/drawing/2014/main" id="{1C6A9EE0-3F9B-9141-804D-7B7B3100D2F8}"/>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4" name="TextBox 53">
              <a:extLst>
                <a:ext uri="{FF2B5EF4-FFF2-40B4-BE49-F238E27FC236}">
                  <a16:creationId xmlns:a16="http://schemas.microsoft.com/office/drawing/2014/main" id="{F6EBC34F-18CE-E54E-9812-7C5701913234}"/>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55" name="Graphic 54">
              <a:extLst>
                <a:ext uri="{FF2B5EF4-FFF2-40B4-BE49-F238E27FC236}">
                  <a16:creationId xmlns:a16="http://schemas.microsoft.com/office/drawing/2014/main" id="{911FC2BF-E4F0-7447-8543-FE7B8063A27B}"/>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01720" y="5754392"/>
              <a:ext cx="155227" cy="155227"/>
            </a:xfrm>
            <a:prstGeom prst="rect">
              <a:avLst/>
            </a:prstGeom>
          </p:spPr>
        </p:pic>
        <p:sp>
          <p:nvSpPr>
            <p:cNvPr id="56" name="TextBox 55">
              <a:extLst>
                <a:ext uri="{FF2B5EF4-FFF2-40B4-BE49-F238E27FC236}">
                  <a16:creationId xmlns:a16="http://schemas.microsoft.com/office/drawing/2014/main" id="{7A713D6E-1306-BD46-9022-2EEA5CF4E52C}"/>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57" name="Picture 56">
              <a:extLst>
                <a:ext uri="{FF2B5EF4-FFF2-40B4-BE49-F238E27FC236}">
                  <a16:creationId xmlns:a16="http://schemas.microsoft.com/office/drawing/2014/main" id="{D30E2C41-A0A4-C34F-BD05-3F5C3C56ACC3}"/>
                </a:ext>
              </a:extLst>
            </p:cNvPr>
            <p:cNvPicPr>
              <a:picLocks noChangeAspect="1"/>
            </p:cNvPicPr>
            <p:nvPr userDrawn="1"/>
          </p:nvPicPr>
          <p:blipFill rotWithShape="1">
            <a:blip r:embed="rId7"/>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50" name="TextBox 49">
              <a:extLst>
                <a:ext uri="{FF2B5EF4-FFF2-40B4-BE49-F238E27FC236}">
                  <a16:creationId xmlns:a16="http://schemas.microsoft.com/office/drawing/2014/main" id="{6FE6E364-A45B-B842-AD58-20FEF7E057A3}"/>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51" name="TextBox 50">
              <a:extLst>
                <a:ext uri="{FF2B5EF4-FFF2-40B4-BE49-F238E27FC236}">
                  <a16:creationId xmlns:a16="http://schemas.microsoft.com/office/drawing/2014/main" id="{9B2852C9-AD22-FD42-B207-3FA60EC80EE1}"/>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52" name="TextBox 51">
              <a:extLst>
                <a:ext uri="{FF2B5EF4-FFF2-40B4-BE49-F238E27FC236}">
                  <a16:creationId xmlns:a16="http://schemas.microsoft.com/office/drawing/2014/main" id="{2B3D3979-13E7-BE49-84DE-225A4B2C314C}"/>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Add the photos to the placeholders.</a:t>
              </a:r>
            </a:p>
          </p:txBody>
        </p:sp>
        <p:sp>
          <p:nvSpPr>
            <p:cNvPr id="69" name="TextBox 68">
              <a:extLst>
                <a:ext uri="{FF2B5EF4-FFF2-40B4-BE49-F238E27FC236}">
                  <a16:creationId xmlns:a16="http://schemas.microsoft.com/office/drawing/2014/main" id="{D96C0231-DDB2-674E-BA33-8934B6975490}"/>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Crop the headshots so that they match:</a:t>
              </a:r>
            </a:p>
            <a:p>
              <a:pPr lvl="1"/>
              <a:r>
                <a:rPr lang="en-US" sz="90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sz="900"/>
                <a:t>The entire head is visible</a:t>
              </a:r>
            </a:p>
            <a:p>
              <a:pPr lvl="1"/>
              <a:r>
                <a:rPr lang="en-US" sz="900"/>
                <a:t>Shoulders are visible</a:t>
              </a:r>
            </a:p>
          </p:txBody>
        </p:sp>
        <p:sp>
          <p:nvSpPr>
            <p:cNvPr id="40" name="Rectangle 39">
              <a:extLst>
                <a:ext uri="{FF2B5EF4-FFF2-40B4-BE49-F238E27FC236}">
                  <a16:creationId xmlns:a16="http://schemas.microsoft.com/office/drawing/2014/main" id="{34261B0B-0443-2947-86D5-57D446CA022B}"/>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1" name="TextBox 40">
              <a:extLst>
                <a:ext uri="{FF2B5EF4-FFF2-40B4-BE49-F238E27FC236}">
                  <a16:creationId xmlns:a16="http://schemas.microsoft.com/office/drawing/2014/main" id="{99B54DFE-A2F3-C645-9D97-EECBE782E039}"/>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Undo Hyperlink</a:t>
              </a:r>
            </a:p>
          </p:txBody>
        </p:sp>
        <p:pic>
          <p:nvPicPr>
            <p:cNvPr id="42" name="Graphic 41">
              <a:extLst>
                <a:ext uri="{FF2B5EF4-FFF2-40B4-BE49-F238E27FC236}">
                  <a16:creationId xmlns:a16="http://schemas.microsoft.com/office/drawing/2014/main" id="{78A98A1A-F2C6-8B4A-B922-D0F44DD6FD1F}"/>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01720" y="2121034"/>
              <a:ext cx="155227" cy="155227"/>
            </a:xfrm>
            <a:prstGeom prst="rect">
              <a:avLst/>
            </a:prstGeom>
          </p:spPr>
        </p:pic>
        <p:sp>
          <p:nvSpPr>
            <p:cNvPr id="43" name="TextBox 42">
              <a:extLst>
                <a:ext uri="{FF2B5EF4-FFF2-40B4-BE49-F238E27FC236}">
                  <a16:creationId xmlns:a16="http://schemas.microsoft.com/office/drawing/2014/main" id="{C1821284-7515-6645-AD56-2112AB09410E}"/>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As soon as the hyperlink formatting appears, Undo once to remove the format.</a:t>
              </a:r>
            </a:p>
          </p:txBody>
        </p:sp>
        <p:sp>
          <p:nvSpPr>
            <p:cNvPr id="44" name="TextBox 43">
              <a:extLst>
                <a:ext uri="{FF2B5EF4-FFF2-40B4-BE49-F238E27FC236}">
                  <a16:creationId xmlns:a16="http://schemas.microsoft.com/office/drawing/2014/main" id="{73339CCA-9476-8145-AA5E-4BF66FED48CC}"/>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45" name="TextBox 44">
              <a:extLst>
                <a:ext uri="{FF2B5EF4-FFF2-40B4-BE49-F238E27FC236}">
                  <a16:creationId xmlns:a16="http://schemas.microsoft.com/office/drawing/2014/main" id="{D59F6E3B-D6C3-5046-821A-B0958EABAE66}"/>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solidFill>
                    <a:schemeClr val="bg1">
                      <a:lumMod val="65000"/>
                    </a:schemeClr>
                  </a:solidFill>
                </a:rPr>
                <a:t>You can use CTRL+Z or the menu button.</a:t>
              </a:r>
            </a:p>
          </p:txBody>
        </p:sp>
        <p:sp>
          <p:nvSpPr>
            <p:cNvPr id="46" name="TextBox 45">
              <a:extLst>
                <a:ext uri="{FF2B5EF4-FFF2-40B4-BE49-F238E27FC236}">
                  <a16:creationId xmlns:a16="http://schemas.microsoft.com/office/drawing/2014/main" id="{BB5D2460-8792-4C47-8772-D09B0975E99A}"/>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To remove an pre-existing hyperlink, </a:t>
              </a:r>
              <a:br>
                <a:rPr lang="en-US" sz="900" kern="1200">
                  <a:solidFill>
                    <a:schemeClr val="tx1">
                      <a:lumMod val="50000"/>
                      <a:lumOff val="50000"/>
                    </a:schemeClr>
                  </a:solidFill>
                  <a:latin typeface="Arial" charset="0"/>
                  <a:cs typeface="Arial" charset="0"/>
                </a:rPr>
              </a:br>
              <a:r>
                <a:rPr lang="en-US" sz="900" kern="1200">
                  <a:solidFill>
                    <a:schemeClr val="tx1">
                      <a:lumMod val="50000"/>
                      <a:lumOff val="50000"/>
                    </a:schemeClr>
                  </a:solidFill>
                  <a:latin typeface="Arial" charset="0"/>
                  <a:cs typeface="Arial" charset="0"/>
                </a:rPr>
                <a:t>right click on the hyperlink and choose “Remove Link” (                 )</a:t>
              </a:r>
            </a:p>
          </p:txBody>
        </p:sp>
        <p:pic>
          <p:nvPicPr>
            <p:cNvPr id="47" name="Picture 46">
              <a:extLst>
                <a:ext uri="{FF2B5EF4-FFF2-40B4-BE49-F238E27FC236}">
                  <a16:creationId xmlns:a16="http://schemas.microsoft.com/office/drawing/2014/main" id="{2024B849-BE34-3D47-836E-F64027EBFFBD}"/>
                </a:ext>
              </a:extLst>
            </p:cNvPr>
            <p:cNvPicPr>
              <a:picLocks noChangeAspect="1"/>
            </p:cNvPicPr>
            <p:nvPr userDrawn="1"/>
          </p:nvPicPr>
          <p:blipFill rotWithShape="1">
            <a:blip r:embed="rId8"/>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5" name="Picture 4">
              <a:extLst>
                <a:ext uri="{FF2B5EF4-FFF2-40B4-BE49-F238E27FC236}">
                  <a16:creationId xmlns:a16="http://schemas.microsoft.com/office/drawing/2014/main" id="{52FE0A6A-07E7-D846-9A21-107CEEAD3B6F}"/>
                </a:ext>
              </a:extLst>
            </p:cNvPr>
            <p:cNvPicPr>
              <a:picLocks noChangeAspect="1"/>
            </p:cNvPicPr>
            <p:nvPr userDrawn="1"/>
          </p:nvPicPr>
          <p:blipFill>
            <a:blip r:embed="rId9"/>
            <a:stretch>
              <a:fillRect/>
            </a:stretch>
          </p:blipFill>
          <p:spPr>
            <a:xfrm>
              <a:off x="11251841" y="4562988"/>
              <a:ext cx="849028" cy="849028"/>
            </a:xfrm>
            <a:prstGeom prst="rect">
              <a:avLst/>
            </a:prstGeom>
          </p:spPr>
        </p:pic>
        <p:sp>
          <p:nvSpPr>
            <p:cNvPr id="48" name="TextBox 47">
              <a:extLst>
                <a:ext uri="{FF2B5EF4-FFF2-40B4-BE49-F238E27FC236}">
                  <a16:creationId xmlns:a16="http://schemas.microsoft.com/office/drawing/2014/main" id="{4348059E-F311-3E49-929C-68406361B611}"/>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49" name="Straight Connector 48">
              <a:extLst>
                <a:ext uri="{FF2B5EF4-FFF2-40B4-BE49-F238E27FC236}">
                  <a16:creationId xmlns:a16="http://schemas.microsoft.com/office/drawing/2014/main" id="{6D32AA4D-A813-B740-8E61-D74D604CEE5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9230EF6E-C845-D64E-BC72-F37EFCE9B7D8}"/>
              </a:ext>
            </a:extLst>
          </p:cNvPr>
          <p:cNvGrpSpPr/>
          <p:nvPr userDrawn="1"/>
        </p:nvGrpSpPr>
        <p:grpSpPr>
          <a:xfrm>
            <a:off x="574987" y="-246933"/>
            <a:ext cx="11040535" cy="7347304"/>
            <a:chOff x="431240" y="-246933"/>
            <a:chExt cx="8280401" cy="7347304"/>
          </a:xfrm>
        </p:grpSpPr>
        <p:grpSp>
          <p:nvGrpSpPr>
            <p:cNvPr id="85" name="Group 84">
              <a:extLst>
                <a:ext uri="{FF2B5EF4-FFF2-40B4-BE49-F238E27FC236}">
                  <a16:creationId xmlns:a16="http://schemas.microsoft.com/office/drawing/2014/main" id="{7B5DBABC-D043-5F48-AA9E-590EFDB7EE71}"/>
                </a:ext>
              </a:extLst>
            </p:cNvPr>
            <p:cNvGrpSpPr/>
            <p:nvPr userDrawn="1"/>
          </p:nvGrpSpPr>
          <p:grpSpPr>
            <a:xfrm>
              <a:off x="431242" y="6864579"/>
              <a:ext cx="8280398" cy="235792"/>
              <a:chOff x="431801" y="-235792"/>
              <a:chExt cx="4400550" cy="235792"/>
            </a:xfrm>
          </p:grpSpPr>
          <p:cxnSp>
            <p:nvCxnSpPr>
              <p:cNvPr id="94" name="Straight Connector 93">
                <a:extLst>
                  <a:ext uri="{FF2B5EF4-FFF2-40B4-BE49-F238E27FC236}">
                    <a16:creationId xmlns:a16="http://schemas.microsoft.com/office/drawing/2014/main" id="{A5D4D379-3F76-B448-9498-84AB6A27E01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DEF8E035-72A9-FE47-AC59-8D6A909E08E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6" name="Group 85">
              <a:extLst>
                <a:ext uri="{FF2B5EF4-FFF2-40B4-BE49-F238E27FC236}">
                  <a16:creationId xmlns:a16="http://schemas.microsoft.com/office/drawing/2014/main" id="{3486BB88-F072-2D44-AF2B-06DF2812AAA9}"/>
                </a:ext>
              </a:extLst>
            </p:cNvPr>
            <p:cNvGrpSpPr/>
            <p:nvPr userDrawn="1"/>
          </p:nvGrpSpPr>
          <p:grpSpPr>
            <a:xfrm>
              <a:off x="431240" y="-246933"/>
              <a:ext cx="8280401" cy="235792"/>
              <a:chOff x="431800" y="-240735"/>
              <a:chExt cx="8280401" cy="235792"/>
            </a:xfrm>
          </p:grpSpPr>
          <p:grpSp>
            <p:nvGrpSpPr>
              <p:cNvPr id="87" name="Group 86">
                <a:extLst>
                  <a:ext uri="{FF2B5EF4-FFF2-40B4-BE49-F238E27FC236}">
                    <a16:creationId xmlns:a16="http://schemas.microsoft.com/office/drawing/2014/main" id="{51F1AA18-8D70-B74C-9039-62189A303501}"/>
                  </a:ext>
                </a:extLst>
              </p:cNvPr>
              <p:cNvGrpSpPr/>
              <p:nvPr userDrawn="1"/>
            </p:nvGrpSpPr>
            <p:grpSpPr>
              <a:xfrm>
                <a:off x="431800" y="-240735"/>
                <a:ext cx="8280400" cy="235792"/>
                <a:chOff x="431800" y="-235792"/>
                <a:chExt cx="4400551" cy="235792"/>
              </a:xfrm>
            </p:grpSpPr>
            <p:cxnSp>
              <p:nvCxnSpPr>
                <p:cNvPr id="91" name="Straight Connector 90">
                  <a:extLst>
                    <a:ext uri="{FF2B5EF4-FFF2-40B4-BE49-F238E27FC236}">
                      <a16:creationId xmlns:a16="http://schemas.microsoft.com/office/drawing/2014/main" id="{55FEC584-665C-7545-84C6-2D2E1D2C018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C5C3A87-06AD-2C4F-9DC4-6000A647C55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281582EA-F393-1147-828A-D50AB16A990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88" name="TextBox 87">
                <a:extLst>
                  <a:ext uri="{FF2B5EF4-FFF2-40B4-BE49-F238E27FC236}">
                    <a16:creationId xmlns:a16="http://schemas.microsoft.com/office/drawing/2014/main" id="{BACC31F5-D05D-4A41-B49F-42A54E4620F2}"/>
                  </a:ext>
                </a:extLst>
              </p:cNvPr>
              <p:cNvSpPr txBox="1"/>
              <p:nvPr userDrawn="1"/>
            </p:nvSpPr>
            <p:spPr>
              <a:xfrm>
                <a:off x="3914336" y="-176700"/>
                <a:ext cx="1315339"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89" name="Straight Arrow Connector 88">
                <a:extLst>
                  <a:ext uri="{FF2B5EF4-FFF2-40B4-BE49-F238E27FC236}">
                    <a16:creationId xmlns:a16="http://schemas.microsoft.com/office/drawing/2014/main" id="{405C5C4B-BD92-D543-9EAC-B93AFF2A9CB7}"/>
                  </a:ext>
                </a:extLst>
              </p:cNvPr>
              <p:cNvCxnSpPr>
                <a:cxnSpLocks/>
                <a:stCxn id="88" idx="1"/>
                <a:endCxn id="93" idx="2"/>
              </p:cNvCxnSpPr>
              <p:nvPr userDrawn="1"/>
            </p:nvCxnSpPr>
            <p:spPr>
              <a:xfrm flipH="1">
                <a:off x="431801" y="-122839"/>
                <a:ext cx="3482535"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CA96D44-28E2-B847-9649-7F42CD53BA49}"/>
                  </a:ext>
                </a:extLst>
              </p:cNvPr>
              <p:cNvCxnSpPr>
                <a:cxnSpLocks/>
                <a:stCxn id="88" idx="3"/>
                <a:endCxn id="93" idx="0"/>
              </p:cNvCxnSpPr>
              <p:nvPr userDrawn="1"/>
            </p:nvCxnSpPr>
            <p:spPr>
              <a:xfrm flipV="1">
                <a:off x="5229674" y="-122840"/>
                <a:ext cx="3482527"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
        <p:nvSpPr>
          <p:cNvPr id="70" name="Freeform 69">
            <a:extLst>
              <a:ext uri="{FF2B5EF4-FFF2-40B4-BE49-F238E27FC236}">
                <a16:creationId xmlns:a16="http://schemas.microsoft.com/office/drawing/2014/main" id="{530E7718-0C0B-C840-B599-052B68A056CD}"/>
              </a:ext>
            </a:extLst>
          </p:cNvPr>
          <p:cNvSpPr/>
          <p:nvPr userDrawn="1"/>
        </p:nvSpPr>
        <p:spPr>
          <a:xfrm flipH="1">
            <a:off x="3" y="6025102"/>
            <a:ext cx="9829508" cy="431903"/>
          </a:xfrm>
          <a:custGeom>
            <a:avLst/>
            <a:gdLst>
              <a:gd name="connsiteX0" fmla="*/ 7372131 w 7372131"/>
              <a:gd name="connsiteY0" fmla="*/ 0 h 323927"/>
              <a:gd name="connsiteX1" fmla="*/ 7352841 w 7372131"/>
              <a:gd name="connsiteY1" fmla="*/ 0 h 323927"/>
              <a:gd name="connsiteX2" fmla="*/ 795061 w 7372131"/>
              <a:gd name="connsiteY2" fmla="*/ 0 h 323927"/>
              <a:gd name="connsiteX3" fmla="*/ 775771 w 7372131"/>
              <a:gd name="connsiteY3" fmla="*/ 0 h 323927"/>
              <a:gd name="connsiteX4" fmla="*/ 775771 w 7372131"/>
              <a:gd name="connsiteY4" fmla="*/ 7 h 323927"/>
              <a:gd name="connsiteX5" fmla="*/ 479526 w 7372131"/>
              <a:gd name="connsiteY5" fmla="*/ 7 h 323927"/>
              <a:gd name="connsiteX6" fmla="*/ 460236 w 7372131"/>
              <a:gd name="connsiteY6" fmla="*/ 7 h 323927"/>
              <a:gd name="connsiteX7" fmla="*/ 173008 w 7372131"/>
              <a:gd name="connsiteY7" fmla="*/ 7 h 323927"/>
              <a:gd name="connsiteX8" fmla="*/ 153718 w 7372131"/>
              <a:gd name="connsiteY8" fmla="*/ 7 h 323927"/>
              <a:gd name="connsiteX9" fmla="*/ 4 w 7372131"/>
              <a:gd name="connsiteY9" fmla="*/ 323921 h 323927"/>
              <a:gd name="connsiteX10" fmla="*/ 0 w 7372131"/>
              <a:gd name="connsiteY10" fmla="*/ 323927 h 323927"/>
              <a:gd name="connsiteX11" fmla="*/ 1 w 7372131"/>
              <a:gd name="connsiteY11" fmla="*/ 323927 h 323927"/>
              <a:gd name="connsiteX12" fmla="*/ 19290 w 7372131"/>
              <a:gd name="connsiteY12" fmla="*/ 323927 h 323927"/>
              <a:gd name="connsiteX13" fmla="*/ 19291 w 7372131"/>
              <a:gd name="connsiteY13" fmla="*/ 323927 h 323927"/>
              <a:gd name="connsiteX14" fmla="*/ 306520 w 7372131"/>
              <a:gd name="connsiteY14" fmla="*/ 323927 h 323927"/>
              <a:gd name="connsiteX15" fmla="*/ 325810 w 7372131"/>
              <a:gd name="connsiteY15" fmla="*/ 323927 h 323927"/>
              <a:gd name="connsiteX16" fmla="*/ 404476 w 7372131"/>
              <a:gd name="connsiteY16" fmla="*/ 323927 h 323927"/>
              <a:gd name="connsiteX17" fmla="*/ 423766 w 7372131"/>
              <a:gd name="connsiteY17" fmla="*/ 323927 h 323927"/>
              <a:gd name="connsiteX18" fmla="*/ 4832481 w 7372131"/>
              <a:gd name="connsiteY18" fmla="*/ 323927 h 323927"/>
              <a:gd name="connsiteX19" fmla="*/ 4851771 w 7372131"/>
              <a:gd name="connsiteY19" fmla="*/ 323927 h 323927"/>
              <a:gd name="connsiteX20" fmla="*/ 5139000 w 7372131"/>
              <a:gd name="connsiteY20" fmla="*/ 323927 h 323927"/>
              <a:gd name="connsiteX21" fmla="*/ 5158290 w 7372131"/>
              <a:gd name="connsiteY21" fmla="*/ 323927 h 323927"/>
              <a:gd name="connsiteX22" fmla="*/ 6376846 w 7372131"/>
              <a:gd name="connsiteY22" fmla="*/ 323927 h 323927"/>
              <a:gd name="connsiteX23" fmla="*/ 6396136 w 7372131"/>
              <a:gd name="connsiteY23" fmla="*/ 323927 h 323927"/>
              <a:gd name="connsiteX24" fmla="*/ 6781322 w 7372131"/>
              <a:gd name="connsiteY24" fmla="*/ 323927 h 323927"/>
              <a:gd name="connsiteX25" fmla="*/ 6800612 w 7372131"/>
              <a:gd name="connsiteY25" fmla="*/ 323927 h 323927"/>
              <a:gd name="connsiteX26" fmla="*/ 6800612 w 7372131"/>
              <a:gd name="connsiteY26" fmla="*/ 323920 h 323927"/>
              <a:gd name="connsiteX27" fmla="*/ 7352841 w 7372131"/>
              <a:gd name="connsiteY27" fmla="*/ 323920 h 323927"/>
              <a:gd name="connsiteX28" fmla="*/ 7372131 w 7372131"/>
              <a:gd name="connsiteY28" fmla="*/ 323920 h 323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372131" h="323927">
                <a:moveTo>
                  <a:pt x="7372131" y="0"/>
                </a:moveTo>
                <a:lnTo>
                  <a:pt x="7352841" y="0"/>
                </a:lnTo>
                <a:lnTo>
                  <a:pt x="795061" y="0"/>
                </a:lnTo>
                <a:lnTo>
                  <a:pt x="775771" y="0"/>
                </a:lnTo>
                <a:lnTo>
                  <a:pt x="775771" y="7"/>
                </a:lnTo>
                <a:lnTo>
                  <a:pt x="479526" y="7"/>
                </a:lnTo>
                <a:lnTo>
                  <a:pt x="460236" y="7"/>
                </a:lnTo>
                <a:lnTo>
                  <a:pt x="173008" y="7"/>
                </a:lnTo>
                <a:lnTo>
                  <a:pt x="153718" y="7"/>
                </a:lnTo>
                <a:lnTo>
                  <a:pt x="4" y="323921"/>
                </a:lnTo>
                <a:lnTo>
                  <a:pt x="0" y="323927"/>
                </a:lnTo>
                <a:lnTo>
                  <a:pt x="1" y="323927"/>
                </a:lnTo>
                <a:lnTo>
                  <a:pt x="19290" y="323927"/>
                </a:lnTo>
                <a:lnTo>
                  <a:pt x="19291" y="323927"/>
                </a:lnTo>
                <a:lnTo>
                  <a:pt x="306520" y="323927"/>
                </a:lnTo>
                <a:lnTo>
                  <a:pt x="325810" y="323927"/>
                </a:lnTo>
                <a:lnTo>
                  <a:pt x="404476" y="323927"/>
                </a:lnTo>
                <a:lnTo>
                  <a:pt x="423766" y="323927"/>
                </a:lnTo>
                <a:lnTo>
                  <a:pt x="4832481" y="323927"/>
                </a:lnTo>
                <a:lnTo>
                  <a:pt x="4851771" y="323927"/>
                </a:lnTo>
                <a:lnTo>
                  <a:pt x="5139000" y="323927"/>
                </a:lnTo>
                <a:lnTo>
                  <a:pt x="5158290" y="323927"/>
                </a:lnTo>
                <a:lnTo>
                  <a:pt x="6376846" y="323927"/>
                </a:lnTo>
                <a:lnTo>
                  <a:pt x="6396136" y="323927"/>
                </a:lnTo>
                <a:lnTo>
                  <a:pt x="6781322" y="323927"/>
                </a:lnTo>
                <a:lnTo>
                  <a:pt x="6800612" y="323927"/>
                </a:lnTo>
                <a:lnTo>
                  <a:pt x="6800612" y="323920"/>
                </a:lnTo>
                <a:lnTo>
                  <a:pt x="7352841" y="323920"/>
                </a:lnTo>
                <a:lnTo>
                  <a:pt x="7372131" y="323920"/>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a:p>
        </p:txBody>
      </p:sp>
      <p:sp>
        <p:nvSpPr>
          <p:cNvPr id="76" name="Text Placeholder 7">
            <a:extLst>
              <a:ext uri="{FF2B5EF4-FFF2-40B4-BE49-F238E27FC236}">
                <a16:creationId xmlns:a16="http://schemas.microsoft.com/office/drawing/2014/main" id="{06E45134-D063-8F41-B443-63B9B0805064}"/>
              </a:ext>
            </a:extLst>
          </p:cNvPr>
          <p:cNvSpPr>
            <a:spLocks noGrp="1"/>
          </p:cNvSpPr>
          <p:nvPr>
            <p:ph type="body" sz="quarter" idx="15" hasCustomPrompt="1"/>
          </p:nvPr>
        </p:nvSpPr>
        <p:spPr>
          <a:xfrm>
            <a:off x="2372626" y="3604149"/>
            <a:ext cx="3557712"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77" name="Text Placeholder 7">
            <a:extLst>
              <a:ext uri="{FF2B5EF4-FFF2-40B4-BE49-F238E27FC236}">
                <a16:creationId xmlns:a16="http://schemas.microsoft.com/office/drawing/2014/main" id="{8FDF128A-CD27-324B-B8F2-B6A7F11418CF}"/>
              </a:ext>
            </a:extLst>
          </p:cNvPr>
          <p:cNvSpPr>
            <a:spLocks noGrp="1"/>
          </p:cNvSpPr>
          <p:nvPr>
            <p:ph type="body" sz="quarter" idx="17" hasCustomPrompt="1"/>
          </p:nvPr>
        </p:nvSpPr>
        <p:spPr>
          <a:xfrm>
            <a:off x="8057809" y="3604149"/>
            <a:ext cx="3557712"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78" name="Picture Placeholder 2">
            <a:extLst>
              <a:ext uri="{FF2B5EF4-FFF2-40B4-BE49-F238E27FC236}">
                <a16:creationId xmlns:a16="http://schemas.microsoft.com/office/drawing/2014/main" id="{F1861812-82C9-7A43-B1A0-B33668EDB6E0}"/>
              </a:ext>
            </a:extLst>
          </p:cNvPr>
          <p:cNvSpPr>
            <a:spLocks noGrp="1"/>
          </p:cNvSpPr>
          <p:nvPr>
            <p:ph type="pic" sz="quarter" idx="16" hasCustomPrompt="1"/>
          </p:nvPr>
        </p:nvSpPr>
        <p:spPr>
          <a:xfrm>
            <a:off x="574987" y="3603625"/>
            <a:ext cx="1544400" cy="1543050"/>
          </a:xfrm>
          <a:prstGeom prst="rect">
            <a:avLst/>
          </a:prstGeom>
          <a:solidFill>
            <a:srgbClr val="FFD566"/>
          </a:solidFill>
        </p:spPr>
        <p:txBody>
          <a:bodyPr anchor="ctr"/>
          <a:lstStyle>
            <a:lvl1pPr algn="ctr">
              <a:defRPr b="0">
                <a:solidFill>
                  <a:schemeClr val="bg1"/>
                </a:solidFill>
              </a:defRPr>
            </a:lvl1pPr>
          </a:lstStyle>
          <a:p>
            <a:r>
              <a:rPr lang="en-US"/>
              <a:t>Click icon to add headshot</a:t>
            </a:r>
          </a:p>
        </p:txBody>
      </p:sp>
      <p:sp>
        <p:nvSpPr>
          <p:cNvPr id="79" name="Picture Placeholder 2">
            <a:extLst>
              <a:ext uri="{FF2B5EF4-FFF2-40B4-BE49-F238E27FC236}">
                <a16:creationId xmlns:a16="http://schemas.microsoft.com/office/drawing/2014/main" id="{20B90978-7A94-B949-9A16-B2E0C266F8C5}"/>
              </a:ext>
            </a:extLst>
          </p:cNvPr>
          <p:cNvSpPr>
            <a:spLocks noGrp="1"/>
          </p:cNvSpPr>
          <p:nvPr>
            <p:ph type="pic" sz="quarter" idx="18" hasCustomPrompt="1"/>
          </p:nvPr>
        </p:nvSpPr>
        <p:spPr>
          <a:xfrm>
            <a:off x="6260170" y="3603625"/>
            <a:ext cx="1544400" cy="1543050"/>
          </a:xfrm>
          <a:prstGeom prst="rect">
            <a:avLst/>
          </a:prstGeom>
          <a:solidFill>
            <a:srgbClr val="FFD566"/>
          </a:solidFill>
        </p:spPr>
        <p:txBody>
          <a:bodyPr anchor="ctr"/>
          <a:lstStyle>
            <a:lvl1pPr algn="ctr">
              <a:defRPr b="0">
                <a:solidFill>
                  <a:schemeClr val="bg1"/>
                </a:solidFill>
              </a:defRPr>
            </a:lvl1pPr>
          </a:lstStyle>
          <a:p>
            <a:r>
              <a:rPr lang="en-US"/>
              <a:t>Click icon to add headshot</a:t>
            </a:r>
          </a:p>
        </p:txBody>
      </p:sp>
    </p:spTree>
    <p:extLst>
      <p:ext uri="{BB962C8B-B14F-4D97-AF65-F5344CB8AC3E}">
        <p14:creationId xmlns:p14="http://schemas.microsoft.com/office/powerpoint/2010/main" val="228212048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am Members (6 Headshots)">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32" name="Date Placeholder 31">
            <a:extLst>
              <a:ext uri="{FF2B5EF4-FFF2-40B4-BE49-F238E27FC236}">
                <a16:creationId xmlns:a16="http://schemas.microsoft.com/office/drawing/2014/main" id="{063A222F-451A-4B49-AAE6-41BBAA48AC75}"/>
              </a:ext>
            </a:extLst>
          </p:cNvPr>
          <p:cNvSpPr>
            <a:spLocks noGrp="1"/>
          </p:cNvSpPr>
          <p:nvPr>
            <p:ph type="dt" sz="half" idx="105"/>
          </p:nvPr>
        </p:nvSpPr>
        <p:spPr/>
        <p:txBody>
          <a:bodyPr/>
          <a:lstStyle/>
          <a:p>
            <a:endParaRPr lang="en-US"/>
          </a:p>
        </p:txBody>
      </p:sp>
      <p:sp>
        <p:nvSpPr>
          <p:cNvPr id="33" name="Footer Placeholder 32">
            <a:extLst>
              <a:ext uri="{FF2B5EF4-FFF2-40B4-BE49-F238E27FC236}">
                <a16:creationId xmlns:a16="http://schemas.microsoft.com/office/drawing/2014/main" id="{7182972C-B32C-5242-9660-1F857E08362B}"/>
              </a:ext>
            </a:extLst>
          </p:cNvPr>
          <p:cNvSpPr>
            <a:spLocks noGrp="1"/>
          </p:cNvSpPr>
          <p:nvPr>
            <p:ph type="ftr" sz="quarter" idx="106"/>
          </p:nvPr>
        </p:nvSpPr>
        <p:spPr/>
        <p:txBody>
          <a:bodyPr/>
          <a:lstStyle/>
          <a:p>
            <a:endParaRPr lang="en-US"/>
          </a:p>
        </p:txBody>
      </p:sp>
      <p:sp>
        <p:nvSpPr>
          <p:cNvPr id="39" name="Slide Number Placeholder 38">
            <a:extLst>
              <a:ext uri="{FF2B5EF4-FFF2-40B4-BE49-F238E27FC236}">
                <a16:creationId xmlns:a16="http://schemas.microsoft.com/office/drawing/2014/main" id="{702F905D-B5C6-604B-A8D6-931CBE08DB32}"/>
              </a:ext>
            </a:extLst>
          </p:cNvPr>
          <p:cNvSpPr>
            <a:spLocks noGrp="1"/>
          </p:cNvSpPr>
          <p:nvPr>
            <p:ph type="sldNum" sz="quarter" idx="107"/>
          </p:nvPr>
        </p:nvSpPr>
        <p:spPr/>
        <p:txBody>
          <a:bodyPr/>
          <a:lstStyle/>
          <a:p>
            <a:pPr marL="12700"/>
            <a:fld id="{078C017C-E1B9-8443-B047-B08AAA027B45}" type="slidenum">
              <a:rPr lang="en-US" smtClean="0"/>
              <a:pPr marL="12700"/>
              <a:t>‹#›</a:t>
            </a:fld>
            <a:endParaRPr lang="en-US"/>
          </a:p>
        </p:txBody>
      </p:sp>
      <p:sp>
        <p:nvSpPr>
          <p:cNvPr id="51"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2372626" y="1233489"/>
            <a:ext cx="3558459"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2" name="Picture Placeholder 2">
            <a:extLst>
              <a:ext uri="{FF2B5EF4-FFF2-40B4-BE49-F238E27FC236}">
                <a16:creationId xmlns:a16="http://schemas.microsoft.com/office/drawing/2014/main" id="{3953A8BD-C2FA-AE49-99CC-15B59CE56A15}"/>
              </a:ext>
            </a:extLst>
          </p:cNvPr>
          <p:cNvSpPr>
            <a:spLocks noGrp="1"/>
          </p:cNvSpPr>
          <p:nvPr>
            <p:ph type="pic" sz="quarter" idx="16" hasCustomPrompt="1"/>
          </p:nvPr>
        </p:nvSpPr>
        <p:spPr>
          <a:xfrm>
            <a:off x="575733" y="1232965"/>
            <a:ext cx="1544400" cy="1543050"/>
          </a:xfrm>
          <a:prstGeom prst="rect">
            <a:avLst/>
          </a:prstGeom>
          <a:solidFill>
            <a:srgbClr val="FFD566"/>
          </a:solidFill>
        </p:spPr>
        <p:txBody>
          <a:bodyPr anchor="ctr"/>
          <a:lstStyle>
            <a:lvl1pPr algn="ctr">
              <a:defRPr b="0">
                <a:solidFill>
                  <a:schemeClr val="bg1"/>
                </a:solidFill>
              </a:defRPr>
            </a:lvl1pPr>
          </a:lstStyle>
          <a:p>
            <a:r>
              <a:rPr lang="en-US"/>
              <a:t>Click icon to add headshot</a:t>
            </a:r>
          </a:p>
        </p:txBody>
      </p:sp>
      <p:sp>
        <p:nvSpPr>
          <p:cNvPr id="53" name="Text Placeholder 7">
            <a:extLst>
              <a:ext uri="{FF2B5EF4-FFF2-40B4-BE49-F238E27FC236}">
                <a16:creationId xmlns:a16="http://schemas.microsoft.com/office/drawing/2014/main" id="{1B6BB86B-8CCA-614F-97F8-932E6DC1B83C}"/>
              </a:ext>
            </a:extLst>
          </p:cNvPr>
          <p:cNvSpPr>
            <a:spLocks noGrp="1"/>
          </p:cNvSpPr>
          <p:nvPr>
            <p:ph type="body" sz="quarter" idx="17" hasCustomPrompt="1"/>
          </p:nvPr>
        </p:nvSpPr>
        <p:spPr>
          <a:xfrm>
            <a:off x="8057809" y="1233489"/>
            <a:ext cx="3558459"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4" name="Picture Placeholder 2">
            <a:extLst>
              <a:ext uri="{FF2B5EF4-FFF2-40B4-BE49-F238E27FC236}">
                <a16:creationId xmlns:a16="http://schemas.microsoft.com/office/drawing/2014/main" id="{E582B670-FA91-C849-BD22-A066A6FE9B53}"/>
              </a:ext>
            </a:extLst>
          </p:cNvPr>
          <p:cNvSpPr>
            <a:spLocks noGrp="1"/>
          </p:cNvSpPr>
          <p:nvPr>
            <p:ph type="pic" sz="quarter" idx="18" hasCustomPrompt="1"/>
          </p:nvPr>
        </p:nvSpPr>
        <p:spPr>
          <a:xfrm>
            <a:off x="6260916" y="1232965"/>
            <a:ext cx="1544400" cy="1543050"/>
          </a:xfrm>
          <a:prstGeom prst="rect">
            <a:avLst/>
          </a:prstGeom>
          <a:solidFill>
            <a:srgbClr val="FFD566"/>
          </a:solidFill>
        </p:spPr>
        <p:txBody>
          <a:bodyPr anchor="ctr"/>
          <a:lstStyle>
            <a:lvl1pPr algn="ctr">
              <a:defRPr b="0">
                <a:solidFill>
                  <a:schemeClr val="bg1"/>
                </a:solidFill>
              </a:defRPr>
            </a:lvl1pPr>
          </a:lstStyle>
          <a:p>
            <a:r>
              <a:rPr lang="en-US"/>
              <a:t>Click icon to add headshot</a:t>
            </a:r>
          </a:p>
        </p:txBody>
      </p:sp>
      <p:sp>
        <p:nvSpPr>
          <p:cNvPr id="55" name="Text Placeholder 7">
            <a:extLst>
              <a:ext uri="{FF2B5EF4-FFF2-40B4-BE49-F238E27FC236}">
                <a16:creationId xmlns:a16="http://schemas.microsoft.com/office/drawing/2014/main" id="{022CA3D9-DBCD-8543-9EF3-77B6B03F5142}"/>
              </a:ext>
            </a:extLst>
          </p:cNvPr>
          <p:cNvSpPr>
            <a:spLocks noGrp="1"/>
          </p:cNvSpPr>
          <p:nvPr>
            <p:ph type="body" sz="quarter" idx="1001" hasCustomPrompt="1"/>
          </p:nvPr>
        </p:nvSpPr>
        <p:spPr>
          <a:xfrm>
            <a:off x="2372626" y="4607602"/>
            <a:ext cx="3558459"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6" name="Picture Placeholder 2">
            <a:extLst>
              <a:ext uri="{FF2B5EF4-FFF2-40B4-BE49-F238E27FC236}">
                <a16:creationId xmlns:a16="http://schemas.microsoft.com/office/drawing/2014/main" id="{3953A8BD-C2FA-AE49-99CC-15B59CE56A15}"/>
              </a:ext>
            </a:extLst>
          </p:cNvPr>
          <p:cNvSpPr>
            <a:spLocks noGrp="1"/>
          </p:cNvSpPr>
          <p:nvPr>
            <p:ph type="pic" sz="quarter" idx="1002" hasCustomPrompt="1"/>
          </p:nvPr>
        </p:nvSpPr>
        <p:spPr>
          <a:xfrm>
            <a:off x="575733" y="4607078"/>
            <a:ext cx="1544400" cy="1543050"/>
          </a:xfrm>
          <a:prstGeom prst="rect">
            <a:avLst/>
          </a:prstGeom>
          <a:solidFill>
            <a:srgbClr val="FFD566"/>
          </a:solidFill>
        </p:spPr>
        <p:txBody>
          <a:bodyPr anchor="ctr"/>
          <a:lstStyle>
            <a:lvl1pPr algn="ctr">
              <a:defRPr b="0">
                <a:solidFill>
                  <a:schemeClr val="bg1"/>
                </a:solidFill>
              </a:defRPr>
            </a:lvl1pPr>
          </a:lstStyle>
          <a:p>
            <a:r>
              <a:rPr lang="en-US"/>
              <a:t>Click icon to add headshot</a:t>
            </a:r>
          </a:p>
        </p:txBody>
      </p:sp>
      <p:sp>
        <p:nvSpPr>
          <p:cNvPr id="57" name="Text Placeholder 7">
            <a:extLst>
              <a:ext uri="{FF2B5EF4-FFF2-40B4-BE49-F238E27FC236}">
                <a16:creationId xmlns:a16="http://schemas.microsoft.com/office/drawing/2014/main" id="{1B6BB86B-8CCA-614F-97F8-932E6DC1B83C}"/>
              </a:ext>
            </a:extLst>
          </p:cNvPr>
          <p:cNvSpPr>
            <a:spLocks noGrp="1"/>
          </p:cNvSpPr>
          <p:nvPr>
            <p:ph type="body" sz="quarter" idx="1003" hasCustomPrompt="1"/>
          </p:nvPr>
        </p:nvSpPr>
        <p:spPr>
          <a:xfrm>
            <a:off x="8057809" y="4607602"/>
            <a:ext cx="3558459"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58" name="Picture Placeholder 2">
            <a:extLst>
              <a:ext uri="{FF2B5EF4-FFF2-40B4-BE49-F238E27FC236}">
                <a16:creationId xmlns:a16="http://schemas.microsoft.com/office/drawing/2014/main" id="{E582B670-FA91-C849-BD22-A066A6FE9B53}"/>
              </a:ext>
            </a:extLst>
          </p:cNvPr>
          <p:cNvSpPr>
            <a:spLocks noGrp="1"/>
          </p:cNvSpPr>
          <p:nvPr>
            <p:ph type="pic" sz="quarter" idx="1004" hasCustomPrompt="1"/>
          </p:nvPr>
        </p:nvSpPr>
        <p:spPr>
          <a:xfrm>
            <a:off x="6260916" y="4607078"/>
            <a:ext cx="1544400" cy="1543050"/>
          </a:xfrm>
          <a:prstGeom prst="rect">
            <a:avLst/>
          </a:prstGeom>
          <a:solidFill>
            <a:srgbClr val="FFD566"/>
          </a:solidFill>
        </p:spPr>
        <p:txBody>
          <a:bodyPr anchor="ctr"/>
          <a:lstStyle>
            <a:lvl1pPr algn="ctr">
              <a:defRPr b="0">
                <a:solidFill>
                  <a:schemeClr val="bg1"/>
                </a:solidFill>
              </a:defRPr>
            </a:lvl1pPr>
          </a:lstStyle>
          <a:p>
            <a:r>
              <a:rPr lang="en-US"/>
              <a:t>Click icon to add headshot</a:t>
            </a:r>
          </a:p>
        </p:txBody>
      </p:sp>
      <p:sp>
        <p:nvSpPr>
          <p:cNvPr id="59" name="Text Placeholder 7">
            <a:extLst>
              <a:ext uri="{FF2B5EF4-FFF2-40B4-BE49-F238E27FC236}">
                <a16:creationId xmlns:a16="http://schemas.microsoft.com/office/drawing/2014/main" id="{022CA3D9-DBCD-8543-9EF3-77B6B03F5142}"/>
              </a:ext>
            </a:extLst>
          </p:cNvPr>
          <p:cNvSpPr>
            <a:spLocks noGrp="1"/>
          </p:cNvSpPr>
          <p:nvPr>
            <p:ph type="body" sz="quarter" idx="1005" hasCustomPrompt="1"/>
          </p:nvPr>
        </p:nvSpPr>
        <p:spPr>
          <a:xfrm>
            <a:off x="2372626" y="2913206"/>
            <a:ext cx="3558459"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60" name="Picture Placeholder 2">
            <a:extLst>
              <a:ext uri="{FF2B5EF4-FFF2-40B4-BE49-F238E27FC236}">
                <a16:creationId xmlns:a16="http://schemas.microsoft.com/office/drawing/2014/main" id="{3953A8BD-C2FA-AE49-99CC-15B59CE56A15}"/>
              </a:ext>
            </a:extLst>
          </p:cNvPr>
          <p:cNvSpPr>
            <a:spLocks noGrp="1"/>
          </p:cNvSpPr>
          <p:nvPr>
            <p:ph type="pic" sz="quarter" idx="1006" hasCustomPrompt="1"/>
          </p:nvPr>
        </p:nvSpPr>
        <p:spPr>
          <a:xfrm>
            <a:off x="575733" y="2912683"/>
            <a:ext cx="1544400" cy="1543050"/>
          </a:xfrm>
          <a:prstGeom prst="rect">
            <a:avLst/>
          </a:prstGeom>
          <a:solidFill>
            <a:srgbClr val="FFD566"/>
          </a:solidFill>
        </p:spPr>
        <p:txBody>
          <a:bodyPr anchor="ctr"/>
          <a:lstStyle>
            <a:lvl1pPr algn="ctr">
              <a:defRPr b="0">
                <a:solidFill>
                  <a:schemeClr val="bg1"/>
                </a:solidFill>
              </a:defRPr>
            </a:lvl1pPr>
          </a:lstStyle>
          <a:p>
            <a:r>
              <a:rPr lang="en-US"/>
              <a:t>Click icon to add headshot</a:t>
            </a:r>
          </a:p>
        </p:txBody>
      </p:sp>
      <p:sp>
        <p:nvSpPr>
          <p:cNvPr id="61" name="Text Placeholder 7">
            <a:extLst>
              <a:ext uri="{FF2B5EF4-FFF2-40B4-BE49-F238E27FC236}">
                <a16:creationId xmlns:a16="http://schemas.microsoft.com/office/drawing/2014/main" id="{1B6BB86B-8CCA-614F-97F8-932E6DC1B83C}"/>
              </a:ext>
            </a:extLst>
          </p:cNvPr>
          <p:cNvSpPr>
            <a:spLocks noGrp="1"/>
          </p:cNvSpPr>
          <p:nvPr>
            <p:ph type="body" sz="quarter" idx="1007" hasCustomPrompt="1"/>
          </p:nvPr>
        </p:nvSpPr>
        <p:spPr>
          <a:xfrm>
            <a:off x="8057809" y="2913206"/>
            <a:ext cx="3558459"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sp>
        <p:nvSpPr>
          <p:cNvPr id="62" name="Picture Placeholder 2">
            <a:extLst>
              <a:ext uri="{FF2B5EF4-FFF2-40B4-BE49-F238E27FC236}">
                <a16:creationId xmlns:a16="http://schemas.microsoft.com/office/drawing/2014/main" id="{E582B670-FA91-C849-BD22-A066A6FE9B53}"/>
              </a:ext>
            </a:extLst>
          </p:cNvPr>
          <p:cNvSpPr>
            <a:spLocks noGrp="1"/>
          </p:cNvSpPr>
          <p:nvPr>
            <p:ph type="pic" sz="quarter" idx="1008" hasCustomPrompt="1"/>
          </p:nvPr>
        </p:nvSpPr>
        <p:spPr>
          <a:xfrm>
            <a:off x="6260916" y="2912683"/>
            <a:ext cx="1544400" cy="1543050"/>
          </a:xfrm>
          <a:prstGeom prst="rect">
            <a:avLst/>
          </a:prstGeom>
          <a:solidFill>
            <a:srgbClr val="FFD566"/>
          </a:solidFill>
        </p:spPr>
        <p:txBody>
          <a:bodyPr anchor="ctr"/>
          <a:lstStyle>
            <a:lvl1pPr algn="ctr">
              <a:defRPr b="0">
                <a:solidFill>
                  <a:schemeClr val="bg1"/>
                </a:solidFill>
              </a:defRPr>
            </a:lvl1pPr>
          </a:lstStyle>
          <a:p>
            <a:r>
              <a:rPr lang="en-US"/>
              <a:t>Click icon to add headshot</a:t>
            </a:r>
          </a:p>
        </p:txBody>
      </p:sp>
      <p:grpSp>
        <p:nvGrpSpPr>
          <p:cNvPr id="106" name="Group 105">
            <a:extLst>
              <a:ext uri="{FF2B5EF4-FFF2-40B4-BE49-F238E27FC236}">
                <a16:creationId xmlns:a16="http://schemas.microsoft.com/office/drawing/2014/main" id="{4ECF9AB1-08BB-B14C-A6D7-A6A4AFFB2FAF}"/>
              </a:ext>
            </a:extLst>
          </p:cNvPr>
          <p:cNvGrpSpPr/>
          <p:nvPr userDrawn="1"/>
        </p:nvGrpSpPr>
        <p:grpSpPr>
          <a:xfrm>
            <a:off x="12532244" y="-1"/>
            <a:ext cx="2979899" cy="8383282"/>
            <a:chOff x="9399182" y="-1"/>
            <a:chExt cx="2961715" cy="8383282"/>
          </a:xfrm>
        </p:grpSpPr>
        <p:sp>
          <p:nvSpPr>
            <p:cNvPr id="107" name="Rectangle 106">
              <a:extLst>
                <a:ext uri="{FF2B5EF4-FFF2-40B4-BE49-F238E27FC236}">
                  <a16:creationId xmlns:a16="http://schemas.microsoft.com/office/drawing/2014/main" id="{8AE7D369-A8B8-6644-8A13-962BEDB3B1DF}"/>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108" name="Picture 107">
              <a:extLst>
                <a:ext uri="{FF2B5EF4-FFF2-40B4-BE49-F238E27FC236}">
                  <a16:creationId xmlns:a16="http://schemas.microsoft.com/office/drawing/2014/main" id="{E9B7CFF8-F7C7-4143-96E9-70EDAAFEFCA3}"/>
                </a:ext>
              </a:extLst>
            </p:cNvPr>
            <p:cNvPicPr>
              <a:picLocks noChangeAspect="1"/>
            </p:cNvPicPr>
            <p:nvPr userDrawn="1"/>
          </p:nvPicPr>
          <p:blipFill rotWithShape="1">
            <a:blip r:embed="rId2"/>
            <a:srcRect r="44907"/>
            <a:stretch/>
          </p:blipFill>
          <p:spPr>
            <a:xfrm>
              <a:off x="9558505" y="1326787"/>
              <a:ext cx="2639326" cy="517021"/>
            </a:xfrm>
            <a:prstGeom prst="rect">
              <a:avLst/>
            </a:prstGeom>
          </p:spPr>
        </p:pic>
        <p:sp>
          <p:nvSpPr>
            <p:cNvPr id="109" name="TextBox 108">
              <a:extLst>
                <a:ext uri="{FF2B5EF4-FFF2-40B4-BE49-F238E27FC236}">
                  <a16:creationId xmlns:a16="http://schemas.microsoft.com/office/drawing/2014/main" id="{2A7FBC57-8F79-3B4A-8A15-FC178D39BEE4}"/>
                </a:ext>
              </a:extLst>
            </p:cNvPr>
            <p:cNvSpPr txBox="1"/>
            <p:nvPr userDrawn="1"/>
          </p:nvSpPr>
          <p:spPr>
            <a:xfrm>
              <a:off x="9558507" y="3863269"/>
              <a:ext cx="161943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IPS FOR ADDING HEADSHOTS</a:t>
              </a:r>
            </a:p>
          </p:txBody>
        </p:sp>
        <p:cxnSp>
          <p:nvCxnSpPr>
            <p:cNvPr id="110" name="Straight Connector 109">
              <a:extLst>
                <a:ext uri="{FF2B5EF4-FFF2-40B4-BE49-F238E27FC236}">
                  <a16:creationId xmlns:a16="http://schemas.microsoft.com/office/drawing/2014/main" id="{03C2EA3E-CCF7-6445-897E-AB31D2E86A99}"/>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1" name="Rectangle 110">
              <a:extLst>
                <a:ext uri="{FF2B5EF4-FFF2-40B4-BE49-F238E27FC236}">
                  <a16:creationId xmlns:a16="http://schemas.microsoft.com/office/drawing/2014/main" id="{33784496-8C59-2644-B40F-FF8F152D23A8}"/>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12" name="TextBox 111">
              <a:extLst>
                <a:ext uri="{FF2B5EF4-FFF2-40B4-BE49-F238E27FC236}">
                  <a16:creationId xmlns:a16="http://schemas.microsoft.com/office/drawing/2014/main" id="{B3A4D1CC-C999-0146-BDD1-808161D6FEE8}"/>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113" name="Picture 112">
              <a:extLst>
                <a:ext uri="{FF2B5EF4-FFF2-40B4-BE49-F238E27FC236}">
                  <a16:creationId xmlns:a16="http://schemas.microsoft.com/office/drawing/2014/main" id="{612D42BD-87F1-9B42-8DD3-DBC034E544CB}"/>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14" name="Rectangle 113">
              <a:extLst>
                <a:ext uri="{FF2B5EF4-FFF2-40B4-BE49-F238E27FC236}">
                  <a16:creationId xmlns:a16="http://schemas.microsoft.com/office/drawing/2014/main" id="{0D9DC4BF-51D4-2641-8ABD-BFCBB693BF7D}"/>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15" name="TextBox 114">
              <a:extLst>
                <a:ext uri="{FF2B5EF4-FFF2-40B4-BE49-F238E27FC236}">
                  <a16:creationId xmlns:a16="http://schemas.microsoft.com/office/drawing/2014/main" id="{4F7B1433-0D30-B04E-895A-6D47EE9D52E5}"/>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116" name="Graphic 115">
              <a:extLst>
                <a:ext uri="{FF2B5EF4-FFF2-40B4-BE49-F238E27FC236}">
                  <a16:creationId xmlns:a16="http://schemas.microsoft.com/office/drawing/2014/main" id="{6711C809-7FC4-3745-89B3-5259F4EEAEB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111049"/>
              <a:ext cx="155227" cy="155227"/>
            </a:xfrm>
            <a:prstGeom prst="rect">
              <a:avLst/>
            </a:prstGeom>
          </p:spPr>
        </p:pic>
        <p:sp>
          <p:nvSpPr>
            <p:cNvPr id="117" name="TextBox 116">
              <a:extLst>
                <a:ext uri="{FF2B5EF4-FFF2-40B4-BE49-F238E27FC236}">
                  <a16:creationId xmlns:a16="http://schemas.microsoft.com/office/drawing/2014/main" id="{0B66AD5F-A6EC-FF45-89BE-179C719E8801}"/>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18" name="TextBox 117">
              <a:extLst>
                <a:ext uri="{FF2B5EF4-FFF2-40B4-BE49-F238E27FC236}">
                  <a16:creationId xmlns:a16="http://schemas.microsoft.com/office/drawing/2014/main" id="{012C17F0-D4CF-D744-BFAD-F2E0CF0C938A}"/>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19" name="TextBox 118">
              <a:extLst>
                <a:ext uri="{FF2B5EF4-FFF2-40B4-BE49-F238E27FC236}">
                  <a16:creationId xmlns:a16="http://schemas.microsoft.com/office/drawing/2014/main" id="{92E81966-7A25-2B44-A756-0C0F460528E6}"/>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sp>
          <p:nvSpPr>
            <p:cNvPr id="120" name="Rectangle 119">
              <a:extLst>
                <a:ext uri="{FF2B5EF4-FFF2-40B4-BE49-F238E27FC236}">
                  <a16:creationId xmlns:a16="http://schemas.microsoft.com/office/drawing/2014/main" id="{252FE1F0-3B7D-D243-835F-4F9605393D19}"/>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21" name="TextBox 120">
              <a:extLst>
                <a:ext uri="{FF2B5EF4-FFF2-40B4-BE49-F238E27FC236}">
                  <a16:creationId xmlns:a16="http://schemas.microsoft.com/office/drawing/2014/main" id="{E3817172-DCEC-B041-920E-D15802C06BC1}"/>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122" name="Graphic 121">
              <a:extLst>
                <a:ext uri="{FF2B5EF4-FFF2-40B4-BE49-F238E27FC236}">
                  <a16:creationId xmlns:a16="http://schemas.microsoft.com/office/drawing/2014/main" id="{3427626D-F725-C242-876B-D6145B4DBEF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754392"/>
              <a:ext cx="155227" cy="155227"/>
            </a:xfrm>
            <a:prstGeom prst="rect">
              <a:avLst/>
            </a:prstGeom>
          </p:spPr>
        </p:pic>
        <p:sp>
          <p:nvSpPr>
            <p:cNvPr id="123" name="TextBox 122">
              <a:extLst>
                <a:ext uri="{FF2B5EF4-FFF2-40B4-BE49-F238E27FC236}">
                  <a16:creationId xmlns:a16="http://schemas.microsoft.com/office/drawing/2014/main" id="{FA0F282B-2AF6-DB4E-A485-1368490B5D35}"/>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124" name="Picture 123">
              <a:extLst>
                <a:ext uri="{FF2B5EF4-FFF2-40B4-BE49-F238E27FC236}">
                  <a16:creationId xmlns:a16="http://schemas.microsoft.com/office/drawing/2014/main" id="{B8014482-C3AB-5840-BB09-053498228D98}"/>
                </a:ext>
              </a:extLst>
            </p:cNvPr>
            <p:cNvPicPr>
              <a:picLocks noChangeAspect="1"/>
            </p:cNvPicPr>
            <p:nvPr userDrawn="1"/>
          </p:nvPicPr>
          <p:blipFill rotWithShape="1">
            <a:blip r:embed="rId6"/>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125" name="TextBox 124">
              <a:extLst>
                <a:ext uri="{FF2B5EF4-FFF2-40B4-BE49-F238E27FC236}">
                  <a16:creationId xmlns:a16="http://schemas.microsoft.com/office/drawing/2014/main" id="{F05E85B4-5C4C-F843-AE99-F4ECEF8E088A}"/>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26" name="TextBox 125">
              <a:extLst>
                <a:ext uri="{FF2B5EF4-FFF2-40B4-BE49-F238E27FC236}">
                  <a16:creationId xmlns:a16="http://schemas.microsoft.com/office/drawing/2014/main" id="{1FCE15CD-AA28-F34B-B283-505B28144123}"/>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27" name="TextBox 126">
              <a:extLst>
                <a:ext uri="{FF2B5EF4-FFF2-40B4-BE49-F238E27FC236}">
                  <a16:creationId xmlns:a16="http://schemas.microsoft.com/office/drawing/2014/main" id="{9E734EA3-3E87-684C-ACF4-AB1A4476E461}"/>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Add the photos to the placeholders.</a:t>
              </a:r>
            </a:p>
          </p:txBody>
        </p:sp>
        <p:sp>
          <p:nvSpPr>
            <p:cNvPr id="128" name="TextBox 127">
              <a:extLst>
                <a:ext uri="{FF2B5EF4-FFF2-40B4-BE49-F238E27FC236}">
                  <a16:creationId xmlns:a16="http://schemas.microsoft.com/office/drawing/2014/main" id="{061A73B8-1D9F-384F-AB3F-4AF85E7955E8}"/>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Crop the headshots so that they match:</a:t>
              </a:r>
            </a:p>
            <a:p>
              <a:pPr lvl="1"/>
              <a:r>
                <a:rPr lang="en-US" sz="90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sz="900"/>
                <a:t>The entire head is visible</a:t>
              </a:r>
            </a:p>
            <a:p>
              <a:pPr lvl="1"/>
              <a:r>
                <a:rPr lang="en-US" sz="900"/>
                <a:t>Shoulders are visible</a:t>
              </a:r>
            </a:p>
          </p:txBody>
        </p:sp>
        <p:sp>
          <p:nvSpPr>
            <p:cNvPr id="129" name="Rectangle 128">
              <a:extLst>
                <a:ext uri="{FF2B5EF4-FFF2-40B4-BE49-F238E27FC236}">
                  <a16:creationId xmlns:a16="http://schemas.microsoft.com/office/drawing/2014/main" id="{85D8E091-4AE6-114D-83AD-0683C443C9EC}"/>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0" name="TextBox 129">
              <a:extLst>
                <a:ext uri="{FF2B5EF4-FFF2-40B4-BE49-F238E27FC236}">
                  <a16:creationId xmlns:a16="http://schemas.microsoft.com/office/drawing/2014/main" id="{307F6D53-2713-8A42-9813-D1957920B733}"/>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Undo Hyperlink</a:t>
              </a:r>
            </a:p>
          </p:txBody>
        </p:sp>
        <p:pic>
          <p:nvPicPr>
            <p:cNvPr id="131" name="Graphic 130">
              <a:extLst>
                <a:ext uri="{FF2B5EF4-FFF2-40B4-BE49-F238E27FC236}">
                  <a16:creationId xmlns:a16="http://schemas.microsoft.com/office/drawing/2014/main" id="{E3FB92D8-1831-1C4D-8D1A-94D66DEA945C}"/>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121034"/>
              <a:ext cx="155227" cy="155227"/>
            </a:xfrm>
            <a:prstGeom prst="rect">
              <a:avLst/>
            </a:prstGeom>
          </p:spPr>
        </p:pic>
        <p:sp>
          <p:nvSpPr>
            <p:cNvPr id="132" name="TextBox 131">
              <a:extLst>
                <a:ext uri="{FF2B5EF4-FFF2-40B4-BE49-F238E27FC236}">
                  <a16:creationId xmlns:a16="http://schemas.microsoft.com/office/drawing/2014/main" id="{CCFDF226-8DAF-794D-AD68-ADE6840144F5}"/>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As soon as the hyperlink formatting appears, Undo once to remove the format.</a:t>
              </a:r>
            </a:p>
          </p:txBody>
        </p:sp>
        <p:sp>
          <p:nvSpPr>
            <p:cNvPr id="133" name="TextBox 132">
              <a:extLst>
                <a:ext uri="{FF2B5EF4-FFF2-40B4-BE49-F238E27FC236}">
                  <a16:creationId xmlns:a16="http://schemas.microsoft.com/office/drawing/2014/main" id="{1A51460D-91AB-C347-BA08-7D9437B5CBCF}"/>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134" name="TextBox 133">
              <a:extLst>
                <a:ext uri="{FF2B5EF4-FFF2-40B4-BE49-F238E27FC236}">
                  <a16:creationId xmlns:a16="http://schemas.microsoft.com/office/drawing/2014/main" id="{96F31774-AE3F-2E47-8A59-1C02642436AC}"/>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solidFill>
                    <a:schemeClr val="bg1">
                      <a:lumMod val="65000"/>
                    </a:schemeClr>
                  </a:solidFill>
                </a:rPr>
                <a:t>You can use CTRL+Z or the menu button.</a:t>
              </a:r>
            </a:p>
          </p:txBody>
        </p:sp>
        <p:sp>
          <p:nvSpPr>
            <p:cNvPr id="135" name="TextBox 134">
              <a:extLst>
                <a:ext uri="{FF2B5EF4-FFF2-40B4-BE49-F238E27FC236}">
                  <a16:creationId xmlns:a16="http://schemas.microsoft.com/office/drawing/2014/main" id="{594451B1-9EC0-8845-8A11-A78F37FDA942}"/>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To remove an pre-existing hyperlink, </a:t>
              </a:r>
              <a:br>
                <a:rPr lang="en-US" sz="900" kern="1200">
                  <a:solidFill>
                    <a:schemeClr val="tx1">
                      <a:lumMod val="50000"/>
                      <a:lumOff val="50000"/>
                    </a:schemeClr>
                  </a:solidFill>
                  <a:latin typeface="Arial" charset="0"/>
                  <a:cs typeface="Arial" charset="0"/>
                </a:rPr>
              </a:br>
              <a:r>
                <a:rPr lang="en-US" sz="900" kern="1200">
                  <a:solidFill>
                    <a:schemeClr val="tx1">
                      <a:lumMod val="50000"/>
                      <a:lumOff val="50000"/>
                    </a:schemeClr>
                  </a:solidFill>
                  <a:latin typeface="Arial" charset="0"/>
                  <a:cs typeface="Arial" charset="0"/>
                </a:rPr>
                <a:t>right click on the hyperlink and choose “Remove Link” (                 )</a:t>
              </a:r>
            </a:p>
          </p:txBody>
        </p:sp>
        <p:pic>
          <p:nvPicPr>
            <p:cNvPr id="136" name="Picture 135">
              <a:extLst>
                <a:ext uri="{FF2B5EF4-FFF2-40B4-BE49-F238E27FC236}">
                  <a16:creationId xmlns:a16="http://schemas.microsoft.com/office/drawing/2014/main" id="{B864F57E-092F-034C-93BB-5439646505C2}"/>
                </a:ext>
              </a:extLst>
            </p:cNvPr>
            <p:cNvPicPr>
              <a:picLocks noChangeAspect="1"/>
            </p:cNvPicPr>
            <p:nvPr userDrawn="1"/>
          </p:nvPicPr>
          <p:blipFill rotWithShape="1">
            <a:blip r:embed="rId7"/>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137" name="Picture 136">
              <a:extLst>
                <a:ext uri="{FF2B5EF4-FFF2-40B4-BE49-F238E27FC236}">
                  <a16:creationId xmlns:a16="http://schemas.microsoft.com/office/drawing/2014/main" id="{5777D9BF-E18F-4549-BFFD-EF98A7DF8BB7}"/>
                </a:ext>
              </a:extLst>
            </p:cNvPr>
            <p:cNvPicPr>
              <a:picLocks noChangeAspect="1"/>
            </p:cNvPicPr>
            <p:nvPr userDrawn="1"/>
          </p:nvPicPr>
          <p:blipFill>
            <a:blip r:embed="rId8"/>
            <a:stretch>
              <a:fillRect/>
            </a:stretch>
          </p:blipFill>
          <p:spPr>
            <a:xfrm>
              <a:off x="11251841" y="4562988"/>
              <a:ext cx="849028" cy="849028"/>
            </a:xfrm>
            <a:prstGeom prst="rect">
              <a:avLst/>
            </a:prstGeom>
          </p:spPr>
        </p:pic>
        <p:sp>
          <p:nvSpPr>
            <p:cNvPr id="138" name="TextBox 137">
              <a:extLst>
                <a:ext uri="{FF2B5EF4-FFF2-40B4-BE49-F238E27FC236}">
                  <a16:creationId xmlns:a16="http://schemas.microsoft.com/office/drawing/2014/main" id="{D86BFBFD-5957-3644-8650-9A69D5CBFF40}"/>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139" name="Straight Connector 138">
              <a:extLst>
                <a:ext uri="{FF2B5EF4-FFF2-40B4-BE49-F238E27FC236}">
                  <a16:creationId xmlns:a16="http://schemas.microsoft.com/office/drawing/2014/main" id="{F259361B-7959-F84A-A697-69CF97A42B9A}"/>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3218427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hank You (Plain)">
    <p:bg>
      <p:bgPr>
        <a:solidFill>
          <a:schemeClr val="bg1"/>
        </a:solidFill>
        <a:effectLst/>
      </p:bgPr>
    </p:bg>
    <p:spTree>
      <p:nvGrpSpPr>
        <p:cNvPr id="1" name=""/>
        <p:cNvGrpSpPr/>
        <p:nvPr/>
      </p:nvGrpSpPr>
      <p:grpSpPr>
        <a:xfrm>
          <a:off x="0" y="0"/>
          <a:ext cx="0" cy="0"/>
          <a:chOff x="0" y="0"/>
          <a:chExt cx="0" cy="0"/>
        </a:xfrm>
      </p:grpSpPr>
      <p:pic>
        <p:nvPicPr>
          <p:cNvPr id="77" name="Graphic 6">
            <a:extLst>
              <a:ext uri="{FF2B5EF4-FFF2-40B4-BE49-F238E27FC236}">
                <a16:creationId xmlns:a16="http://schemas.microsoft.com/office/drawing/2014/main" id="{55213D97-64B5-424F-966A-3E1C8818DFDC}"/>
              </a:ext>
            </a:extLst>
          </p:cNvPr>
          <p:cNvPicPr>
            <a:picLocks noChangeAspect="1"/>
          </p:cNvPicPr>
          <p:nvPr userDrawn="1"/>
        </p:nvPicPr>
        <p:blipFill>
          <a:blip r:embed="rId2"/>
          <a:srcRect/>
          <a:stretch/>
        </p:blipFill>
        <p:spPr>
          <a:xfrm>
            <a:off x="9836850" y="6057369"/>
            <a:ext cx="2151409" cy="355304"/>
          </a:xfrm>
          <a:prstGeom prst="rect">
            <a:avLst/>
          </a:prstGeom>
        </p:spPr>
      </p:pic>
      <p:grpSp>
        <p:nvGrpSpPr>
          <p:cNvPr id="3" name="Group 2">
            <a:extLst>
              <a:ext uri="{FF2B5EF4-FFF2-40B4-BE49-F238E27FC236}">
                <a16:creationId xmlns:a16="http://schemas.microsoft.com/office/drawing/2014/main" id="{FE32CCA1-CED9-294A-A470-F78E958FA780}"/>
              </a:ext>
            </a:extLst>
          </p:cNvPr>
          <p:cNvGrpSpPr/>
          <p:nvPr userDrawn="1"/>
        </p:nvGrpSpPr>
        <p:grpSpPr>
          <a:xfrm>
            <a:off x="12532244" y="-1"/>
            <a:ext cx="2979899" cy="6858002"/>
            <a:chOff x="9399182" y="-1"/>
            <a:chExt cx="2961715" cy="6858002"/>
          </a:xfrm>
        </p:grpSpPr>
        <p:sp>
          <p:nvSpPr>
            <p:cNvPr id="19" name="Rectangle 18">
              <a:extLst>
                <a:ext uri="{FF2B5EF4-FFF2-40B4-BE49-F238E27FC236}">
                  <a16:creationId xmlns:a16="http://schemas.microsoft.com/office/drawing/2014/main" id="{B6D6B989-9284-9D44-BE14-8A6C89EF3E32}"/>
                </a:ext>
              </a:extLst>
            </p:cNvPr>
            <p:cNvSpPr/>
            <p:nvPr userDrawn="1"/>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58" name="Picture 57">
              <a:extLst>
                <a:ext uri="{FF2B5EF4-FFF2-40B4-BE49-F238E27FC236}">
                  <a16:creationId xmlns:a16="http://schemas.microsoft.com/office/drawing/2014/main" id="{16F5F437-7152-D647-BE19-CA5CFF0C6F8A}"/>
                </a:ext>
              </a:extLst>
            </p:cNvPr>
            <p:cNvPicPr>
              <a:picLocks noChangeAspect="1"/>
            </p:cNvPicPr>
            <p:nvPr userDrawn="1"/>
          </p:nvPicPr>
          <p:blipFill rotWithShape="1">
            <a:blip r:embed="rId3"/>
            <a:srcRect r="44907"/>
            <a:stretch/>
          </p:blipFill>
          <p:spPr>
            <a:xfrm>
              <a:off x="9558505" y="1326787"/>
              <a:ext cx="2639326" cy="517021"/>
            </a:xfrm>
            <a:prstGeom prst="rect">
              <a:avLst/>
            </a:prstGeom>
          </p:spPr>
        </p:pic>
        <p:grpSp>
          <p:nvGrpSpPr>
            <p:cNvPr id="28" name="Group 27">
              <a:extLst>
                <a:ext uri="{FF2B5EF4-FFF2-40B4-BE49-F238E27FC236}">
                  <a16:creationId xmlns:a16="http://schemas.microsoft.com/office/drawing/2014/main" id="{0AC109CA-765B-F445-89D7-F9A56CF3160E}"/>
                </a:ext>
              </a:extLst>
            </p:cNvPr>
            <p:cNvGrpSpPr/>
            <p:nvPr userDrawn="1"/>
          </p:nvGrpSpPr>
          <p:grpSpPr>
            <a:xfrm>
              <a:off x="9541497" y="162442"/>
              <a:ext cx="2819400" cy="814510"/>
              <a:chOff x="-3644733" y="165205"/>
              <a:chExt cx="2819400" cy="814510"/>
            </a:xfrm>
          </p:grpSpPr>
          <p:sp>
            <p:nvSpPr>
              <p:cNvPr id="63" name="Rectangle 62">
                <a:extLst>
                  <a:ext uri="{FF2B5EF4-FFF2-40B4-BE49-F238E27FC236}">
                    <a16:creationId xmlns:a16="http://schemas.microsoft.com/office/drawing/2014/main" id="{49BBD5DE-FD33-6944-B905-2592D7F1C5E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4" name="TextBox 63">
                <a:extLst>
                  <a:ext uri="{FF2B5EF4-FFF2-40B4-BE49-F238E27FC236}">
                    <a16:creationId xmlns:a16="http://schemas.microsoft.com/office/drawing/2014/main" id="{E610496C-239D-1644-8DAD-0730905DFAD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65" name="Picture 64">
                <a:extLst>
                  <a:ext uri="{FF2B5EF4-FFF2-40B4-BE49-F238E27FC236}">
                    <a16:creationId xmlns:a16="http://schemas.microsoft.com/office/drawing/2014/main" id="{A8368BC6-66AD-7E4A-919D-4EE710C4C09E}"/>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32" name="Group 31">
              <a:extLst>
                <a:ext uri="{FF2B5EF4-FFF2-40B4-BE49-F238E27FC236}">
                  <a16:creationId xmlns:a16="http://schemas.microsoft.com/office/drawing/2014/main" id="{C7000E6E-6E99-204E-BA7D-E4CA1E9BD536}"/>
                </a:ext>
              </a:extLst>
            </p:cNvPr>
            <p:cNvGrpSpPr/>
            <p:nvPr userDrawn="1"/>
          </p:nvGrpSpPr>
          <p:grpSpPr>
            <a:xfrm>
              <a:off x="9541497" y="2001128"/>
              <a:ext cx="2735151" cy="1739504"/>
              <a:chOff x="9541497" y="2125825"/>
              <a:chExt cx="2735151" cy="1739504"/>
            </a:xfrm>
          </p:grpSpPr>
          <p:sp>
            <p:nvSpPr>
              <p:cNvPr id="38" name="Rectangle 37">
                <a:extLst>
                  <a:ext uri="{FF2B5EF4-FFF2-40B4-BE49-F238E27FC236}">
                    <a16:creationId xmlns:a16="http://schemas.microsoft.com/office/drawing/2014/main" id="{D5C7E2DD-B9AA-7542-BB1C-4EDF4B2874A6}"/>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9" name="TextBox 38">
                <a:extLst>
                  <a:ext uri="{FF2B5EF4-FFF2-40B4-BE49-F238E27FC236}">
                    <a16:creationId xmlns:a16="http://schemas.microsoft.com/office/drawing/2014/main" id="{A835F353-E20F-7145-A34F-6F386E09121D}"/>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Undo Hyperlink</a:t>
                </a:r>
              </a:p>
            </p:txBody>
          </p:sp>
          <p:pic>
            <p:nvPicPr>
              <p:cNvPr id="40" name="Graphic 39">
                <a:extLst>
                  <a:ext uri="{FF2B5EF4-FFF2-40B4-BE49-F238E27FC236}">
                    <a16:creationId xmlns:a16="http://schemas.microsoft.com/office/drawing/2014/main" id="{ACEEC605-AF63-5242-8C8C-3968205B3140}"/>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701720" y="2264907"/>
                <a:ext cx="155227" cy="155227"/>
              </a:xfrm>
              <a:prstGeom prst="rect">
                <a:avLst/>
              </a:prstGeom>
            </p:spPr>
          </p:pic>
          <p:sp>
            <p:nvSpPr>
              <p:cNvPr id="41" name="TextBox 40">
                <a:extLst>
                  <a:ext uri="{FF2B5EF4-FFF2-40B4-BE49-F238E27FC236}">
                    <a16:creationId xmlns:a16="http://schemas.microsoft.com/office/drawing/2014/main" id="{A7DCE96D-FB91-1648-BC3A-ADACF2DFD6A2}"/>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As soon as the hyperlink formatting appears, Undo once to remove the format.</a:t>
                </a:r>
              </a:p>
            </p:txBody>
          </p:sp>
          <p:sp>
            <p:nvSpPr>
              <p:cNvPr id="42" name="TextBox 41">
                <a:extLst>
                  <a:ext uri="{FF2B5EF4-FFF2-40B4-BE49-F238E27FC236}">
                    <a16:creationId xmlns:a16="http://schemas.microsoft.com/office/drawing/2014/main" id="{2B0A90B8-B226-E44B-94F1-478141C501EF}"/>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43" name="TextBox 42">
                <a:extLst>
                  <a:ext uri="{FF2B5EF4-FFF2-40B4-BE49-F238E27FC236}">
                    <a16:creationId xmlns:a16="http://schemas.microsoft.com/office/drawing/2014/main" id="{F319E11B-79DC-9145-9D0C-0A5D3FA1DCA8}"/>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solidFill>
                      <a:schemeClr val="bg1">
                        <a:lumMod val="65000"/>
                      </a:schemeClr>
                    </a:solidFill>
                  </a:rPr>
                  <a:t>You can use CTRL+Z or the menu button.</a:t>
                </a:r>
              </a:p>
            </p:txBody>
          </p:sp>
          <p:sp>
            <p:nvSpPr>
              <p:cNvPr id="44" name="TextBox 43">
                <a:extLst>
                  <a:ext uri="{FF2B5EF4-FFF2-40B4-BE49-F238E27FC236}">
                    <a16:creationId xmlns:a16="http://schemas.microsoft.com/office/drawing/2014/main" id="{5A40DD8A-8575-3A45-BCC4-A27FBEB7E728}"/>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To remove an pre-existing hyperlink, </a:t>
                </a:r>
                <a:br>
                  <a:rPr lang="en-US" sz="900" kern="1200">
                    <a:solidFill>
                      <a:schemeClr val="tx1">
                        <a:lumMod val="50000"/>
                        <a:lumOff val="50000"/>
                      </a:schemeClr>
                    </a:solidFill>
                    <a:latin typeface="Arial" charset="0"/>
                    <a:cs typeface="Arial" charset="0"/>
                  </a:rPr>
                </a:br>
                <a:r>
                  <a:rPr lang="en-US" sz="900" kern="1200">
                    <a:solidFill>
                      <a:schemeClr val="tx1">
                        <a:lumMod val="50000"/>
                        <a:lumOff val="50000"/>
                      </a:schemeClr>
                    </a:solidFill>
                    <a:latin typeface="Arial" charset="0"/>
                    <a:cs typeface="Arial" charset="0"/>
                  </a:rPr>
                  <a:t>right click on the hyperlink and choose “Remove Link” (                 )</a:t>
                </a:r>
              </a:p>
            </p:txBody>
          </p:sp>
          <p:pic>
            <p:nvPicPr>
              <p:cNvPr id="45" name="Picture 44">
                <a:extLst>
                  <a:ext uri="{FF2B5EF4-FFF2-40B4-BE49-F238E27FC236}">
                    <a16:creationId xmlns:a16="http://schemas.microsoft.com/office/drawing/2014/main" id="{81F14588-1C54-AC43-BC7C-54BD1667AB52}"/>
                  </a:ext>
                </a:extLst>
              </p:cNvPr>
              <p:cNvPicPr>
                <a:picLocks noChangeAspect="1"/>
              </p:cNvPicPr>
              <p:nvPr userDrawn="1"/>
            </p:nvPicPr>
            <p:blipFill rotWithShape="1">
              <a:blip r:embed="rId7"/>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36" name="TextBox 35">
              <a:extLst>
                <a:ext uri="{FF2B5EF4-FFF2-40B4-BE49-F238E27FC236}">
                  <a16:creationId xmlns:a16="http://schemas.microsoft.com/office/drawing/2014/main" id="{06BE892A-D470-B745-A06E-4422FF2B46B5}"/>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37" name="Straight Connector 36">
              <a:extLst>
                <a:ext uri="{FF2B5EF4-FFF2-40B4-BE49-F238E27FC236}">
                  <a16:creationId xmlns:a16="http://schemas.microsoft.com/office/drawing/2014/main" id="{F98EF2F6-212E-284F-8D82-E01FF28977B0}"/>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4" name="Title 3">
            <a:extLst>
              <a:ext uri="{FF2B5EF4-FFF2-40B4-BE49-F238E27FC236}">
                <a16:creationId xmlns:a16="http://schemas.microsoft.com/office/drawing/2014/main" id="{E51CCCAA-D40E-B44E-A126-920CC95387F8}"/>
              </a:ext>
            </a:extLst>
          </p:cNvPr>
          <p:cNvSpPr>
            <a:spLocks noGrp="1"/>
          </p:cNvSpPr>
          <p:nvPr userDrawn="1">
            <p:ph type="title" hasCustomPrompt="1"/>
          </p:nvPr>
        </p:nvSpPr>
        <p:spPr>
          <a:xfrm>
            <a:off x="575734" y="2402732"/>
            <a:ext cx="11040533" cy="922907"/>
          </a:xfrm>
        </p:spPr>
        <p:txBody>
          <a:bodyPr/>
          <a:lstStyle>
            <a:lvl1pPr>
              <a:defRPr sz="3200"/>
            </a:lvl1pPr>
          </a:lstStyle>
          <a:p>
            <a:r>
              <a:rPr lang="en-US"/>
              <a:t>Click to add </a:t>
            </a:r>
            <a:br>
              <a:rPr lang="en-US"/>
            </a:br>
            <a:r>
              <a:rPr lang="en-US"/>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userDrawn="1">
            <p:ph type="body" sz="quarter" idx="15" hasCustomPrompt="1"/>
          </p:nvPr>
        </p:nvSpPr>
        <p:spPr>
          <a:xfrm>
            <a:off x="575734" y="3604149"/>
            <a:ext cx="11040533"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a:t>Click to add contact information</a:t>
            </a:r>
          </a:p>
          <a:p>
            <a:pPr lvl="1"/>
            <a:r>
              <a:rPr lang="en-US"/>
              <a:t>Second level</a:t>
            </a:r>
          </a:p>
        </p:txBody>
      </p:sp>
      <p:grpSp>
        <p:nvGrpSpPr>
          <p:cNvPr id="46" name="Group 45">
            <a:extLst>
              <a:ext uri="{FF2B5EF4-FFF2-40B4-BE49-F238E27FC236}">
                <a16:creationId xmlns:a16="http://schemas.microsoft.com/office/drawing/2014/main" id="{36470FD9-6E01-0B4F-9293-5E77836108A7}"/>
              </a:ext>
            </a:extLst>
          </p:cNvPr>
          <p:cNvGrpSpPr/>
          <p:nvPr userDrawn="1"/>
        </p:nvGrpSpPr>
        <p:grpSpPr>
          <a:xfrm>
            <a:off x="574987" y="-246933"/>
            <a:ext cx="11040535" cy="7347304"/>
            <a:chOff x="431240" y="-246933"/>
            <a:chExt cx="8280401" cy="7347304"/>
          </a:xfrm>
        </p:grpSpPr>
        <p:grpSp>
          <p:nvGrpSpPr>
            <p:cNvPr id="47" name="Group 46">
              <a:extLst>
                <a:ext uri="{FF2B5EF4-FFF2-40B4-BE49-F238E27FC236}">
                  <a16:creationId xmlns:a16="http://schemas.microsoft.com/office/drawing/2014/main" id="{A2E8BA8C-8FF3-254C-8529-17D81E9A3EA9}"/>
                </a:ext>
              </a:extLst>
            </p:cNvPr>
            <p:cNvGrpSpPr/>
            <p:nvPr userDrawn="1"/>
          </p:nvGrpSpPr>
          <p:grpSpPr>
            <a:xfrm>
              <a:off x="431242" y="6864579"/>
              <a:ext cx="8280398" cy="235792"/>
              <a:chOff x="431801" y="-235792"/>
              <a:chExt cx="4400550" cy="235792"/>
            </a:xfrm>
          </p:grpSpPr>
          <p:cxnSp>
            <p:nvCxnSpPr>
              <p:cNvPr id="56" name="Straight Connector 55">
                <a:extLst>
                  <a:ext uri="{FF2B5EF4-FFF2-40B4-BE49-F238E27FC236}">
                    <a16:creationId xmlns:a16="http://schemas.microsoft.com/office/drawing/2014/main" id="{50F328EC-B503-354C-8736-5D64EE2969CC}"/>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A29AA69-4035-F742-B4C9-50563DD5BD22}"/>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B0AEC935-9C4F-7543-96BF-78796BCB2423}"/>
                </a:ext>
              </a:extLst>
            </p:cNvPr>
            <p:cNvGrpSpPr/>
            <p:nvPr userDrawn="1"/>
          </p:nvGrpSpPr>
          <p:grpSpPr>
            <a:xfrm>
              <a:off x="431240" y="-246933"/>
              <a:ext cx="8280401" cy="235792"/>
              <a:chOff x="431800" y="-240735"/>
              <a:chExt cx="8280401" cy="235792"/>
            </a:xfrm>
          </p:grpSpPr>
          <p:grpSp>
            <p:nvGrpSpPr>
              <p:cNvPr id="49" name="Group 48">
                <a:extLst>
                  <a:ext uri="{FF2B5EF4-FFF2-40B4-BE49-F238E27FC236}">
                    <a16:creationId xmlns:a16="http://schemas.microsoft.com/office/drawing/2014/main" id="{848838DC-C092-C842-8204-37BB10FF8D4C}"/>
                  </a:ext>
                </a:extLst>
              </p:cNvPr>
              <p:cNvGrpSpPr/>
              <p:nvPr userDrawn="1"/>
            </p:nvGrpSpPr>
            <p:grpSpPr>
              <a:xfrm>
                <a:off x="431800" y="-240735"/>
                <a:ext cx="8280400" cy="235792"/>
                <a:chOff x="431800" y="-235792"/>
                <a:chExt cx="4400551" cy="235792"/>
              </a:xfrm>
            </p:grpSpPr>
            <p:cxnSp>
              <p:nvCxnSpPr>
                <p:cNvPr id="53" name="Straight Connector 52">
                  <a:extLst>
                    <a:ext uri="{FF2B5EF4-FFF2-40B4-BE49-F238E27FC236}">
                      <a16:creationId xmlns:a16="http://schemas.microsoft.com/office/drawing/2014/main" id="{5AE9D414-9B70-1A40-A283-B9BE3316F27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5D2DCCD-9E6B-4941-B2DD-BCF9A00279B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CFA68C3E-5FA0-2147-8F3D-878AC5BEAC4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50" name="TextBox 49">
                <a:extLst>
                  <a:ext uri="{FF2B5EF4-FFF2-40B4-BE49-F238E27FC236}">
                    <a16:creationId xmlns:a16="http://schemas.microsoft.com/office/drawing/2014/main" id="{CECDBD12-780D-2643-8288-D1E6A75E0714}"/>
                  </a:ext>
                </a:extLst>
              </p:cNvPr>
              <p:cNvSpPr txBox="1"/>
              <p:nvPr userDrawn="1"/>
            </p:nvSpPr>
            <p:spPr>
              <a:xfrm>
                <a:off x="3914336" y="-176700"/>
                <a:ext cx="1315339"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51" name="Straight Arrow Connector 50">
                <a:extLst>
                  <a:ext uri="{FF2B5EF4-FFF2-40B4-BE49-F238E27FC236}">
                    <a16:creationId xmlns:a16="http://schemas.microsoft.com/office/drawing/2014/main" id="{62B0D30E-8CF5-E041-A33B-9048CF7AA145}"/>
                  </a:ext>
                </a:extLst>
              </p:cNvPr>
              <p:cNvCxnSpPr>
                <a:cxnSpLocks/>
                <a:stCxn id="50" idx="1"/>
                <a:endCxn id="55" idx="2"/>
              </p:cNvCxnSpPr>
              <p:nvPr userDrawn="1"/>
            </p:nvCxnSpPr>
            <p:spPr>
              <a:xfrm flipH="1">
                <a:off x="431801" y="-122839"/>
                <a:ext cx="3482535"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600B5CB1-1C7E-0744-9B21-78D2AC6FD7AD}"/>
                  </a:ext>
                </a:extLst>
              </p:cNvPr>
              <p:cNvCxnSpPr>
                <a:cxnSpLocks/>
                <a:stCxn id="50" idx="3"/>
                <a:endCxn id="55" idx="0"/>
              </p:cNvCxnSpPr>
              <p:nvPr userDrawn="1"/>
            </p:nvCxnSpPr>
            <p:spPr>
              <a:xfrm flipV="1">
                <a:off x="5229674" y="-122840"/>
                <a:ext cx="3482527"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
        <p:nvSpPr>
          <p:cNvPr id="59" name="Freeform 58">
            <a:extLst>
              <a:ext uri="{FF2B5EF4-FFF2-40B4-BE49-F238E27FC236}">
                <a16:creationId xmlns:a16="http://schemas.microsoft.com/office/drawing/2014/main" id="{90BDA2A7-552A-9D42-8A97-9F129625BD2F}"/>
              </a:ext>
            </a:extLst>
          </p:cNvPr>
          <p:cNvSpPr/>
          <p:nvPr userDrawn="1"/>
        </p:nvSpPr>
        <p:spPr>
          <a:xfrm flipH="1">
            <a:off x="3" y="6025102"/>
            <a:ext cx="9829508" cy="431903"/>
          </a:xfrm>
          <a:custGeom>
            <a:avLst/>
            <a:gdLst>
              <a:gd name="connsiteX0" fmla="*/ 7372131 w 7372131"/>
              <a:gd name="connsiteY0" fmla="*/ 0 h 323927"/>
              <a:gd name="connsiteX1" fmla="*/ 7352841 w 7372131"/>
              <a:gd name="connsiteY1" fmla="*/ 0 h 323927"/>
              <a:gd name="connsiteX2" fmla="*/ 795061 w 7372131"/>
              <a:gd name="connsiteY2" fmla="*/ 0 h 323927"/>
              <a:gd name="connsiteX3" fmla="*/ 775771 w 7372131"/>
              <a:gd name="connsiteY3" fmla="*/ 0 h 323927"/>
              <a:gd name="connsiteX4" fmla="*/ 775771 w 7372131"/>
              <a:gd name="connsiteY4" fmla="*/ 7 h 323927"/>
              <a:gd name="connsiteX5" fmla="*/ 479526 w 7372131"/>
              <a:gd name="connsiteY5" fmla="*/ 7 h 323927"/>
              <a:gd name="connsiteX6" fmla="*/ 460236 w 7372131"/>
              <a:gd name="connsiteY6" fmla="*/ 7 h 323927"/>
              <a:gd name="connsiteX7" fmla="*/ 173008 w 7372131"/>
              <a:gd name="connsiteY7" fmla="*/ 7 h 323927"/>
              <a:gd name="connsiteX8" fmla="*/ 153718 w 7372131"/>
              <a:gd name="connsiteY8" fmla="*/ 7 h 323927"/>
              <a:gd name="connsiteX9" fmla="*/ 4 w 7372131"/>
              <a:gd name="connsiteY9" fmla="*/ 323921 h 323927"/>
              <a:gd name="connsiteX10" fmla="*/ 0 w 7372131"/>
              <a:gd name="connsiteY10" fmla="*/ 323927 h 323927"/>
              <a:gd name="connsiteX11" fmla="*/ 1 w 7372131"/>
              <a:gd name="connsiteY11" fmla="*/ 323927 h 323927"/>
              <a:gd name="connsiteX12" fmla="*/ 19290 w 7372131"/>
              <a:gd name="connsiteY12" fmla="*/ 323927 h 323927"/>
              <a:gd name="connsiteX13" fmla="*/ 19291 w 7372131"/>
              <a:gd name="connsiteY13" fmla="*/ 323927 h 323927"/>
              <a:gd name="connsiteX14" fmla="*/ 306520 w 7372131"/>
              <a:gd name="connsiteY14" fmla="*/ 323927 h 323927"/>
              <a:gd name="connsiteX15" fmla="*/ 325810 w 7372131"/>
              <a:gd name="connsiteY15" fmla="*/ 323927 h 323927"/>
              <a:gd name="connsiteX16" fmla="*/ 404476 w 7372131"/>
              <a:gd name="connsiteY16" fmla="*/ 323927 h 323927"/>
              <a:gd name="connsiteX17" fmla="*/ 423766 w 7372131"/>
              <a:gd name="connsiteY17" fmla="*/ 323927 h 323927"/>
              <a:gd name="connsiteX18" fmla="*/ 4832481 w 7372131"/>
              <a:gd name="connsiteY18" fmla="*/ 323927 h 323927"/>
              <a:gd name="connsiteX19" fmla="*/ 4851771 w 7372131"/>
              <a:gd name="connsiteY19" fmla="*/ 323927 h 323927"/>
              <a:gd name="connsiteX20" fmla="*/ 5139000 w 7372131"/>
              <a:gd name="connsiteY20" fmla="*/ 323927 h 323927"/>
              <a:gd name="connsiteX21" fmla="*/ 5158290 w 7372131"/>
              <a:gd name="connsiteY21" fmla="*/ 323927 h 323927"/>
              <a:gd name="connsiteX22" fmla="*/ 6376846 w 7372131"/>
              <a:gd name="connsiteY22" fmla="*/ 323927 h 323927"/>
              <a:gd name="connsiteX23" fmla="*/ 6396136 w 7372131"/>
              <a:gd name="connsiteY23" fmla="*/ 323927 h 323927"/>
              <a:gd name="connsiteX24" fmla="*/ 6781322 w 7372131"/>
              <a:gd name="connsiteY24" fmla="*/ 323927 h 323927"/>
              <a:gd name="connsiteX25" fmla="*/ 6800612 w 7372131"/>
              <a:gd name="connsiteY25" fmla="*/ 323927 h 323927"/>
              <a:gd name="connsiteX26" fmla="*/ 6800612 w 7372131"/>
              <a:gd name="connsiteY26" fmla="*/ 323920 h 323927"/>
              <a:gd name="connsiteX27" fmla="*/ 7352841 w 7372131"/>
              <a:gd name="connsiteY27" fmla="*/ 323920 h 323927"/>
              <a:gd name="connsiteX28" fmla="*/ 7372131 w 7372131"/>
              <a:gd name="connsiteY28" fmla="*/ 323920 h 3239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7372131" h="323927">
                <a:moveTo>
                  <a:pt x="7372131" y="0"/>
                </a:moveTo>
                <a:lnTo>
                  <a:pt x="7352841" y="0"/>
                </a:lnTo>
                <a:lnTo>
                  <a:pt x="795061" y="0"/>
                </a:lnTo>
                <a:lnTo>
                  <a:pt x="775771" y="0"/>
                </a:lnTo>
                <a:lnTo>
                  <a:pt x="775771" y="7"/>
                </a:lnTo>
                <a:lnTo>
                  <a:pt x="479526" y="7"/>
                </a:lnTo>
                <a:lnTo>
                  <a:pt x="460236" y="7"/>
                </a:lnTo>
                <a:lnTo>
                  <a:pt x="173008" y="7"/>
                </a:lnTo>
                <a:lnTo>
                  <a:pt x="153718" y="7"/>
                </a:lnTo>
                <a:lnTo>
                  <a:pt x="4" y="323921"/>
                </a:lnTo>
                <a:lnTo>
                  <a:pt x="0" y="323927"/>
                </a:lnTo>
                <a:lnTo>
                  <a:pt x="1" y="323927"/>
                </a:lnTo>
                <a:lnTo>
                  <a:pt x="19290" y="323927"/>
                </a:lnTo>
                <a:lnTo>
                  <a:pt x="19291" y="323927"/>
                </a:lnTo>
                <a:lnTo>
                  <a:pt x="306520" y="323927"/>
                </a:lnTo>
                <a:lnTo>
                  <a:pt x="325810" y="323927"/>
                </a:lnTo>
                <a:lnTo>
                  <a:pt x="404476" y="323927"/>
                </a:lnTo>
                <a:lnTo>
                  <a:pt x="423766" y="323927"/>
                </a:lnTo>
                <a:lnTo>
                  <a:pt x="4832481" y="323927"/>
                </a:lnTo>
                <a:lnTo>
                  <a:pt x="4851771" y="323927"/>
                </a:lnTo>
                <a:lnTo>
                  <a:pt x="5139000" y="323927"/>
                </a:lnTo>
                <a:lnTo>
                  <a:pt x="5158290" y="323927"/>
                </a:lnTo>
                <a:lnTo>
                  <a:pt x="6376846" y="323927"/>
                </a:lnTo>
                <a:lnTo>
                  <a:pt x="6396136" y="323927"/>
                </a:lnTo>
                <a:lnTo>
                  <a:pt x="6781322" y="323927"/>
                </a:lnTo>
                <a:lnTo>
                  <a:pt x="6800612" y="323927"/>
                </a:lnTo>
                <a:lnTo>
                  <a:pt x="6800612" y="323920"/>
                </a:lnTo>
                <a:lnTo>
                  <a:pt x="7352841" y="323920"/>
                </a:lnTo>
                <a:lnTo>
                  <a:pt x="7372131" y="323920"/>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a:p>
        </p:txBody>
      </p:sp>
      <p:grpSp>
        <p:nvGrpSpPr>
          <p:cNvPr id="61" name="Group 60">
            <a:extLst>
              <a:ext uri="{FF2B5EF4-FFF2-40B4-BE49-F238E27FC236}">
                <a16:creationId xmlns:a16="http://schemas.microsoft.com/office/drawing/2014/main" id="{B32B1AF4-4F89-5246-88EF-BED6B4E552C5}"/>
              </a:ext>
            </a:extLst>
          </p:cNvPr>
          <p:cNvGrpSpPr/>
          <p:nvPr userDrawn="1"/>
        </p:nvGrpSpPr>
        <p:grpSpPr>
          <a:xfrm>
            <a:off x="-266705" y="2477066"/>
            <a:ext cx="259368" cy="2652377"/>
            <a:chOff x="-266705" y="2477066"/>
            <a:chExt cx="259368" cy="2652377"/>
          </a:xfrm>
        </p:grpSpPr>
        <p:grpSp>
          <p:nvGrpSpPr>
            <p:cNvPr id="62" name="Group 61">
              <a:extLst>
                <a:ext uri="{FF2B5EF4-FFF2-40B4-BE49-F238E27FC236}">
                  <a16:creationId xmlns:a16="http://schemas.microsoft.com/office/drawing/2014/main" id="{037C3377-25E6-1047-897C-F66621F5C8B2}"/>
                </a:ext>
              </a:extLst>
            </p:cNvPr>
            <p:cNvGrpSpPr/>
            <p:nvPr userDrawn="1"/>
          </p:nvGrpSpPr>
          <p:grpSpPr>
            <a:xfrm>
              <a:off x="-266705" y="2477066"/>
              <a:ext cx="259368" cy="787628"/>
              <a:chOff x="-256404" y="360363"/>
              <a:chExt cx="251461" cy="692152"/>
            </a:xfrm>
          </p:grpSpPr>
          <p:grpSp>
            <p:nvGrpSpPr>
              <p:cNvPr id="72" name="Group 71">
                <a:extLst>
                  <a:ext uri="{FF2B5EF4-FFF2-40B4-BE49-F238E27FC236}">
                    <a16:creationId xmlns:a16="http://schemas.microsoft.com/office/drawing/2014/main" id="{B5035C2F-2291-464F-ABF1-D1912599F0EF}"/>
                  </a:ext>
                </a:extLst>
              </p:cNvPr>
              <p:cNvGrpSpPr/>
              <p:nvPr userDrawn="1"/>
            </p:nvGrpSpPr>
            <p:grpSpPr>
              <a:xfrm rot="16200000">
                <a:off x="-476749" y="580708"/>
                <a:ext cx="692152" cy="251461"/>
                <a:chOff x="431800" y="-235792"/>
                <a:chExt cx="4400551" cy="235792"/>
              </a:xfrm>
            </p:grpSpPr>
            <p:cxnSp>
              <p:nvCxnSpPr>
                <p:cNvPr id="74" name="Straight Connector 73">
                  <a:extLst>
                    <a:ext uri="{FF2B5EF4-FFF2-40B4-BE49-F238E27FC236}">
                      <a16:creationId xmlns:a16="http://schemas.microsoft.com/office/drawing/2014/main" id="{191CBA1F-7885-BE4F-A111-6708FACB8A5C}"/>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id="{5BCE92D1-8A58-224C-BD37-BFE6F4A612B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6" name="Rectangle 75">
                  <a:extLst>
                    <a:ext uri="{FF2B5EF4-FFF2-40B4-BE49-F238E27FC236}">
                      <a16:creationId xmlns:a16="http://schemas.microsoft.com/office/drawing/2014/main" id="{2ADE9665-C2A1-C147-912D-AD574B19B34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73" name="TextBox 72">
                <a:extLst>
                  <a:ext uri="{FF2B5EF4-FFF2-40B4-BE49-F238E27FC236}">
                    <a16:creationId xmlns:a16="http://schemas.microsoft.com/office/drawing/2014/main" id="{878FA050-2E26-EB4E-9F0B-5E68FF1B0B67}"/>
                  </a:ext>
                </a:extLst>
              </p:cNvPr>
              <p:cNvSpPr txBox="1"/>
              <p:nvPr userDrawn="1"/>
            </p:nvSpPr>
            <p:spPr>
              <a:xfrm rot="16200000">
                <a:off x="-359580" y="622270"/>
                <a:ext cx="457823" cy="161583"/>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HANK YOU</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MESSAGE</a:t>
                </a:r>
              </a:p>
            </p:txBody>
          </p:sp>
        </p:grpSp>
        <p:grpSp>
          <p:nvGrpSpPr>
            <p:cNvPr id="66" name="Group 65">
              <a:extLst>
                <a:ext uri="{FF2B5EF4-FFF2-40B4-BE49-F238E27FC236}">
                  <a16:creationId xmlns:a16="http://schemas.microsoft.com/office/drawing/2014/main" id="{137E25C1-6E1D-B744-A8F1-3155A1B27332}"/>
                </a:ext>
              </a:extLst>
            </p:cNvPr>
            <p:cNvGrpSpPr/>
            <p:nvPr userDrawn="1"/>
          </p:nvGrpSpPr>
          <p:grpSpPr>
            <a:xfrm>
              <a:off x="-266705" y="3622630"/>
              <a:ext cx="259368" cy="1506813"/>
              <a:chOff x="-256404" y="360363"/>
              <a:chExt cx="251461" cy="692152"/>
            </a:xfrm>
          </p:grpSpPr>
          <p:grpSp>
            <p:nvGrpSpPr>
              <p:cNvPr id="67" name="Group 66">
                <a:extLst>
                  <a:ext uri="{FF2B5EF4-FFF2-40B4-BE49-F238E27FC236}">
                    <a16:creationId xmlns:a16="http://schemas.microsoft.com/office/drawing/2014/main" id="{6A28F513-CCF2-154F-8BAD-AF9A30EA2AF3}"/>
                  </a:ext>
                </a:extLst>
              </p:cNvPr>
              <p:cNvGrpSpPr/>
              <p:nvPr userDrawn="1"/>
            </p:nvGrpSpPr>
            <p:grpSpPr>
              <a:xfrm rot="16200000">
                <a:off x="-476749" y="580708"/>
                <a:ext cx="692152" cy="251461"/>
                <a:chOff x="431800" y="-235792"/>
                <a:chExt cx="4400551" cy="235792"/>
              </a:xfrm>
            </p:grpSpPr>
            <p:cxnSp>
              <p:nvCxnSpPr>
                <p:cNvPr id="69" name="Straight Connector 68">
                  <a:extLst>
                    <a:ext uri="{FF2B5EF4-FFF2-40B4-BE49-F238E27FC236}">
                      <a16:creationId xmlns:a16="http://schemas.microsoft.com/office/drawing/2014/main" id="{6F5CF4F1-8725-5148-B285-DD6FB2D7044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id="{8D057C1C-683B-734D-8799-41DA49AC824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1" name="Rectangle 70">
                  <a:extLst>
                    <a:ext uri="{FF2B5EF4-FFF2-40B4-BE49-F238E27FC236}">
                      <a16:creationId xmlns:a16="http://schemas.microsoft.com/office/drawing/2014/main" id="{5757CA67-03B0-2548-BDB2-D59311B3BCA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68" name="TextBox 67">
                <a:extLst>
                  <a:ext uri="{FF2B5EF4-FFF2-40B4-BE49-F238E27FC236}">
                    <a16:creationId xmlns:a16="http://schemas.microsoft.com/office/drawing/2014/main" id="{DD074556-816B-6243-95BE-48407AE36F27}"/>
                  </a:ext>
                </a:extLst>
              </p:cNvPr>
              <p:cNvSpPr txBox="1"/>
              <p:nvPr userDrawn="1"/>
            </p:nvSpPr>
            <p:spPr>
              <a:xfrm rot="16200000">
                <a:off x="-284929" y="662666"/>
                <a:ext cx="308525"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CONTACT INFO</a:t>
                </a:r>
              </a:p>
            </p:txBody>
          </p:sp>
        </p:grpSp>
      </p:grpSp>
    </p:spTree>
    <p:extLst>
      <p:ext uri="{BB962C8B-B14F-4D97-AF65-F5344CB8AC3E}">
        <p14:creationId xmlns:p14="http://schemas.microsoft.com/office/powerpoint/2010/main" val="13043886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oC Agenda (8)">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8F4D58A-AA20-5048-8BA0-DD35FBF502B9}"/>
              </a:ext>
            </a:extLst>
          </p:cNvPr>
          <p:cNvSpPr/>
          <p:nvPr userDrawn="1"/>
        </p:nvSpPr>
        <p:spPr>
          <a:xfrm>
            <a:off x="0" y="614023"/>
            <a:ext cx="12192000" cy="6192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nvGrpSpPr>
          <p:cNvPr id="5" name="Group 4">
            <a:extLst>
              <a:ext uri="{FF2B5EF4-FFF2-40B4-BE49-F238E27FC236}">
                <a16:creationId xmlns:a16="http://schemas.microsoft.com/office/drawing/2014/main" id="{4E73969A-3A18-3447-B258-F387FB6CF9F1}"/>
              </a:ext>
            </a:extLst>
          </p:cNvPr>
          <p:cNvGrpSpPr/>
          <p:nvPr userDrawn="1"/>
        </p:nvGrpSpPr>
        <p:grpSpPr>
          <a:xfrm>
            <a:off x="12532244" y="-1"/>
            <a:ext cx="2892814" cy="8631622"/>
            <a:chOff x="9399182" y="-1"/>
            <a:chExt cx="2877466" cy="8631622"/>
          </a:xfrm>
        </p:grpSpPr>
        <p:sp>
          <p:nvSpPr>
            <p:cNvPr id="189" name="Rectangle 188">
              <a:extLst>
                <a:ext uri="{FF2B5EF4-FFF2-40B4-BE49-F238E27FC236}">
                  <a16:creationId xmlns:a16="http://schemas.microsoft.com/office/drawing/2014/main" id="{92729CBC-BDE5-8E45-A6BE-AE71C1B381A0}"/>
                </a:ext>
              </a:extLst>
            </p:cNvPr>
            <p:cNvSpPr/>
            <p:nvPr userDrawn="1"/>
          </p:nvSpPr>
          <p:spPr>
            <a:xfrm>
              <a:off x="9399182" y="-1"/>
              <a:ext cx="2798651" cy="84963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90" name="TextBox 189">
              <a:extLst>
                <a:ext uri="{FF2B5EF4-FFF2-40B4-BE49-F238E27FC236}">
                  <a16:creationId xmlns:a16="http://schemas.microsoft.com/office/drawing/2014/main" id="{F671A5E8-36A2-FB45-ADCA-9DAD0E120E46}"/>
                </a:ext>
              </a:extLst>
            </p:cNvPr>
            <p:cNvSpPr txBox="1">
              <a:spLocks noChangeAspect="1"/>
            </p:cNvSpPr>
            <p:nvPr userDrawn="1"/>
          </p:nvSpPr>
          <p:spPr>
            <a:xfrm>
              <a:off x="9521833" y="16103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3</a:t>
              </a:r>
            </a:p>
          </p:txBody>
        </p:sp>
        <p:sp>
          <p:nvSpPr>
            <p:cNvPr id="191" name="TextBox 190">
              <a:extLst>
                <a:ext uri="{FF2B5EF4-FFF2-40B4-BE49-F238E27FC236}">
                  <a16:creationId xmlns:a16="http://schemas.microsoft.com/office/drawing/2014/main" id="{E301719B-2C9D-8E44-AE65-E00544489754}"/>
                </a:ext>
              </a:extLst>
            </p:cNvPr>
            <p:cNvSpPr txBox="1">
              <a:spLocks noChangeAspect="1"/>
            </p:cNvSpPr>
            <p:nvPr userDrawn="1"/>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192" name="TextBox 191">
              <a:extLst>
                <a:ext uri="{FF2B5EF4-FFF2-40B4-BE49-F238E27FC236}">
                  <a16:creationId xmlns:a16="http://schemas.microsoft.com/office/drawing/2014/main" id="{CED24EBF-9DBE-B34E-81D8-A373E4BBB1F9}"/>
                </a:ext>
              </a:extLst>
            </p:cNvPr>
            <p:cNvSpPr txBox="1">
              <a:spLocks noChangeAspect="1"/>
            </p:cNvSpPr>
            <p:nvPr userDrawn="1"/>
          </p:nvSpPr>
          <p:spPr>
            <a:xfrm>
              <a:off x="9521833" y="11390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193" name="TextBox 192">
              <a:extLst>
                <a:ext uri="{FF2B5EF4-FFF2-40B4-BE49-F238E27FC236}">
                  <a16:creationId xmlns:a16="http://schemas.microsoft.com/office/drawing/2014/main" id="{A46F68BB-A3E6-B246-94E8-AF74AACEF49A}"/>
                </a:ext>
              </a:extLst>
            </p:cNvPr>
            <p:cNvSpPr txBox="1"/>
            <p:nvPr userDrawn="1"/>
          </p:nvSpPr>
          <p:spPr>
            <a:xfrm>
              <a:off x="9686426" y="513115"/>
              <a:ext cx="2425134" cy="31085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Aft>
                  <a:spcPts val="0"/>
                </a:spcAft>
              </a:pPr>
              <a:r>
                <a:rPr lang="en-US" sz="1050"/>
                <a:t>Enter up to 8 agenda items and their page numbers. </a:t>
              </a:r>
            </a:p>
            <a:p>
              <a:pPr lvl="2"/>
              <a:r>
                <a:rPr lang="en-US" sz="800"/>
                <a:t>Switch to the 14-item agenda if you need more. </a:t>
              </a:r>
            </a:p>
          </p:txBody>
        </p:sp>
        <p:sp>
          <p:nvSpPr>
            <p:cNvPr id="194" name="TextBox 193">
              <a:extLst>
                <a:ext uri="{FF2B5EF4-FFF2-40B4-BE49-F238E27FC236}">
                  <a16:creationId xmlns:a16="http://schemas.microsoft.com/office/drawing/2014/main" id="{FBB8C002-902E-6D47-BE1D-BF8509A004AD}"/>
                </a:ext>
              </a:extLst>
            </p:cNvPr>
            <p:cNvSpPr txBox="1"/>
            <p:nvPr userDrawn="1"/>
          </p:nvSpPr>
          <p:spPr>
            <a:xfrm>
              <a:off x="9558507" y="150290"/>
              <a:ext cx="140062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USE THE AGENDA</a:t>
              </a:r>
            </a:p>
          </p:txBody>
        </p:sp>
        <p:cxnSp>
          <p:nvCxnSpPr>
            <p:cNvPr id="195" name="Straight Connector 194">
              <a:extLst>
                <a:ext uri="{FF2B5EF4-FFF2-40B4-BE49-F238E27FC236}">
                  <a16:creationId xmlns:a16="http://schemas.microsoft.com/office/drawing/2014/main" id="{FE4B0B2B-3980-FB4D-8093-0BAB12D53E52}"/>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96" name="Group 195">
              <a:extLst>
                <a:ext uri="{FF2B5EF4-FFF2-40B4-BE49-F238E27FC236}">
                  <a16:creationId xmlns:a16="http://schemas.microsoft.com/office/drawing/2014/main" id="{D9DE41DC-3B7A-854E-AC16-134271A7396F}"/>
                </a:ext>
              </a:extLst>
            </p:cNvPr>
            <p:cNvGrpSpPr/>
            <p:nvPr userDrawn="1"/>
          </p:nvGrpSpPr>
          <p:grpSpPr>
            <a:xfrm>
              <a:off x="9541497" y="5505499"/>
              <a:ext cx="2735151" cy="919215"/>
              <a:chOff x="9296567" y="4150379"/>
              <a:chExt cx="2735151" cy="919215"/>
            </a:xfrm>
          </p:grpSpPr>
          <p:grpSp>
            <p:nvGrpSpPr>
              <p:cNvPr id="226" name="Group 225">
                <a:extLst>
                  <a:ext uri="{FF2B5EF4-FFF2-40B4-BE49-F238E27FC236}">
                    <a16:creationId xmlns:a16="http://schemas.microsoft.com/office/drawing/2014/main" id="{4A8E7230-F371-9049-8785-A042CADC0F97}"/>
                  </a:ext>
                </a:extLst>
              </p:cNvPr>
              <p:cNvGrpSpPr/>
              <p:nvPr userDrawn="1"/>
            </p:nvGrpSpPr>
            <p:grpSpPr>
              <a:xfrm>
                <a:off x="9296567" y="4150379"/>
                <a:ext cx="2735151" cy="919215"/>
                <a:chOff x="9296567" y="5817858"/>
                <a:chExt cx="2735151" cy="919215"/>
              </a:xfrm>
            </p:grpSpPr>
            <p:sp>
              <p:nvSpPr>
                <p:cNvPr id="228" name="Rectangle 227">
                  <a:extLst>
                    <a:ext uri="{FF2B5EF4-FFF2-40B4-BE49-F238E27FC236}">
                      <a16:creationId xmlns:a16="http://schemas.microsoft.com/office/drawing/2014/main" id="{4E2ECAE9-6825-6344-A33D-8F33A0FBEBA3}"/>
                    </a:ext>
                  </a:extLst>
                </p:cNvPr>
                <p:cNvSpPr/>
                <p:nvPr userDrawn="1"/>
              </p:nvSpPr>
              <p:spPr>
                <a:xfrm>
                  <a:off x="9296567" y="5817858"/>
                  <a:ext cx="2733136" cy="919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29" name="TextBox 228">
                  <a:extLst>
                    <a:ext uri="{FF2B5EF4-FFF2-40B4-BE49-F238E27FC236}">
                      <a16:creationId xmlns:a16="http://schemas.microsoft.com/office/drawing/2014/main" id="{A8170A63-20B8-C340-A8F1-D6D360C94661}"/>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Reset Placeholders</a:t>
                  </a:r>
                </a:p>
              </p:txBody>
            </p:sp>
            <p:pic>
              <p:nvPicPr>
                <p:cNvPr id="230" name="Graphic 229">
                  <a:extLst>
                    <a:ext uri="{FF2B5EF4-FFF2-40B4-BE49-F238E27FC236}">
                      <a16:creationId xmlns:a16="http://schemas.microsoft.com/office/drawing/2014/main" id="{23CD0419-FDFB-0249-BAA8-77ADB9197D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231" name="TextBox 230">
                  <a:extLst>
                    <a:ext uri="{FF2B5EF4-FFF2-40B4-BE49-F238E27FC236}">
                      <a16:creationId xmlns:a16="http://schemas.microsoft.com/office/drawing/2014/main" id="{2A9D487E-DB19-7741-BCD6-CC6ADA5A5D0E}"/>
                    </a:ext>
                  </a:extLst>
                </p:cNvPr>
                <p:cNvSpPr txBox="1"/>
                <p:nvPr userDrawn="1"/>
              </p:nvSpPr>
              <p:spPr>
                <a:xfrm>
                  <a:off x="9471805" y="6169594"/>
                  <a:ext cx="2491595" cy="441146"/>
                </a:xfrm>
                <a:prstGeom prst="rect">
                  <a:avLst/>
                </a:prstGeom>
              </p:spPr>
              <p:txBody>
                <a:bodyPr vert="horz" wrap="square" lIns="0" tIns="0" rIns="0" bIns="0" rtlCol="0" anchor="t">
                  <a:spAutoFit/>
                </a:bodyPr>
                <a:lstStyle/>
                <a:p>
                  <a:pPr algn="l">
                    <a:spcBef>
                      <a:spcPts val="200"/>
                    </a:spcBef>
                  </a:pPr>
                  <a:r>
                    <a:rPr lang="en-US" sz="900">
                      <a:solidFill>
                        <a:schemeClr val="tx1">
                          <a:lumMod val="50000"/>
                          <a:lumOff val="50000"/>
                        </a:schemeClr>
                      </a:solidFill>
                      <a:latin typeface="Arial" charset="0"/>
                      <a:ea typeface="Arial" charset="0"/>
                      <a:cs typeface="Arial" charset="0"/>
                    </a:rPr>
                    <a:t>Press the Reset (            ) button to bring back placeholders you have deleted if you need them. </a:t>
                  </a:r>
                </a:p>
                <a:p>
                  <a:pPr algn="l">
                    <a:spcBef>
                      <a:spcPts val="200"/>
                    </a:spcBef>
                  </a:pPr>
                  <a:r>
                    <a:rPr lang="en-US" sz="900">
                      <a:solidFill>
                        <a:schemeClr val="tx1">
                          <a:lumMod val="50000"/>
                          <a:lumOff val="50000"/>
                        </a:schemeClr>
                      </a:solidFill>
                      <a:latin typeface="Arial" charset="0"/>
                      <a:ea typeface="Arial" charset="0"/>
                      <a:cs typeface="Arial" charset="0"/>
                    </a:rPr>
                    <a:t>Note: this will also remove your item highlight.</a:t>
                  </a:r>
                </a:p>
              </p:txBody>
            </p:sp>
          </p:grpSp>
          <p:pic>
            <p:nvPicPr>
              <p:cNvPr id="227" name="Picture 226">
                <a:extLst>
                  <a:ext uri="{FF2B5EF4-FFF2-40B4-BE49-F238E27FC236}">
                    <a16:creationId xmlns:a16="http://schemas.microsoft.com/office/drawing/2014/main" id="{F3FDF710-03B9-F349-9989-8CC152E1DAF4}"/>
                  </a:ext>
                </a:extLst>
              </p:cNvPr>
              <p:cNvPicPr>
                <a:picLocks noChangeAspect="1"/>
              </p:cNvPicPr>
              <p:nvPr userDrawn="1"/>
            </p:nvPicPr>
            <p:blipFill rotWithShape="1">
              <a:blip r:embed="rId5"/>
              <a:srcRect t="-7688" r="11531" b="-1"/>
              <a:stretch/>
            </p:blipFill>
            <p:spPr>
              <a:xfrm>
                <a:off x="10368085" y="4507363"/>
                <a:ext cx="346954" cy="130863"/>
              </a:xfrm>
              <a:prstGeom prst="rect">
                <a:avLst/>
              </a:prstGeom>
            </p:spPr>
          </p:pic>
        </p:grpSp>
        <p:sp>
          <p:nvSpPr>
            <p:cNvPr id="197" name="TextBox 196">
              <a:extLst>
                <a:ext uri="{FF2B5EF4-FFF2-40B4-BE49-F238E27FC236}">
                  <a16:creationId xmlns:a16="http://schemas.microsoft.com/office/drawing/2014/main" id="{4142786A-0A63-4E4F-93C7-691F14EE0537}"/>
                </a:ext>
              </a:extLst>
            </p:cNvPr>
            <p:cNvSpPr txBox="1"/>
            <p:nvPr/>
          </p:nvSpPr>
          <p:spPr>
            <a:xfrm>
              <a:off x="9686426" y="1588873"/>
              <a:ext cx="2284506"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sz="1050"/>
                <a:t>Highlight the current item title and page number as follows:</a:t>
              </a:r>
            </a:p>
          </p:txBody>
        </p:sp>
        <p:sp>
          <p:nvSpPr>
            <p:cNvPr id="198" name="TextBox 197">
              <a:extLst>
                <a:ext uri="{FF2B5EF4-FFF2-40B4-BE49-F238E27FC236}">
                  <a16:creationId xmlns:a16="http://schemas.microsoft.com/office/drawing/2014/main" id="{07152F3A-AA58-A84A-9EB7-FBD519281D97}"/>
                </a:ext>
              </a:extLst>
            </p:cNvPr>
            <p:cNvSpPr txBox="1"/>
            <p:nvPr/>
          </p:nvSpPr>
          <p:spPr>
            <a:xfrm>
              <a:off x="9686426" y="1111528"/>
              <a:ext cx="2425134"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sz="1050"/>
                <a:t>Select and delete any unused item placeholders to remove the lines.</a:t>
              </a:r>
            </a:p>
          </p:txBody>
        </p:sp>
        <p:sp>
          <p:nvSpPr>
            <p:cNvPr id="199" name="TextBox 198">
              <a:extLst>
                <a:ext uri="{FF2B5EF4-FFF2-40B4-BE49-F238E27FC236}">
                  <a16:creationId xmlns:a16="http://schemas.microsoft.com/office/drawing/2014/main" id="{F9F2552A-118B-6B4D-96D5-DD7E30384C0A}"/>
                </a:ext>
              </a:extLst>
            </p:cNvPr>
            <p:cNvSpPr txBox="1"/>
            <p:nvPr/>
          </p:nvSpPr>
          <p:spPr>
            <a:xfrm>
              <a:off x="9694073" y="2789000"/>
              <a:ext cx="2269212"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Make sure the entire element is selected—it won’t work correctly if you have your cursor in the text.</a:t>
              </a:r>
            </a:p>
          </p:txBody>
        </p:sp>
        <p:sp>
          <p:nvSpPr>
            <p:cNvPr id="200" name="TextBox 199">
              <a:extLst>
                <a:ext uri="{FF2B5EF4-FFF2-40B4-BE49-F238E27FC236}">
                  <a16:creationId xmlns:a16="http://schemas.microsoft.com/office/drawing/2014/main" id="{32F571D5-4F36-EC49-8A09-B4D4A0958C3F}"/>
                </a:ext>
              </a:extLst>
            </p:cNvPr>
            <p:cNvSpPr txBox="1"/>
            <p:nvPr/>
          </p:nvSpPr>
          <p:spPr>
            <a:xfrm>
              <a:off x="9686426" y="5004333"/>
              <a:ext cx="212642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a:t>Click anywhere on the page number of current agenda item (on the text works here) to apply the highlight style.</a:t>
              </a:r>
            </a:p>
          </p:txBody>
        </p:sp>
        <p:sp>
          <p:nvSpPr>
            <p:cNvPr id="201" name="Rectangle 200">
              <a:extLst>
                <a:ext uri="{FF2B5EF4-FFF2-40B4-BE49-F238E27FC236}">
                  <a16:creationId xmlns:a16="http://schemas.microsoft.com/office/drawing/2014/main" id="{6DD556FA-E7AC-9148-B57F-E293EE977EBE}"/>
                </a:ext>
              </a:extLst>
            </p:cNvPr>
            <p:cNvSpPr/>
            <p:nvPr/>
          </p:nvSpPr>
          <p:spPr>
            <a:xfrm>
              <a:off x="9686427" y="234797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nvGrpSpPr>
            <p:cNvPr id="202" name="Group 201">
              <a:extLst>
                <a:ext uri="{FF2B5EF4-FFF2-40B4-BE49-F238E27FC236}">
                  <a16:creationId xmlns:a16="http://schemas.microsoft.com/office/drawing/2014/main" id="{ADEE7DA1-1F48-384F-89D9-9DA13F350772}"/>
                </a:ext>
              </a:extLst>
            </p:cNvPr>
            <p:cNvGrpSpPr/>
            <p:nvPr/>
          </p:nvGrpSpPr>
          <p:grpSpPr>
            <a:xfrm>
              <a:off x="9686426" y="3062499"/>
              <a:ext cx="2284506" cy="249299"/>
              <a:chOff x="9431244" y="2862535"/>
              <a:chExt cx="2284506" cy="249299"/>
            </a:xfrm>
          </p:grpSpPr>
          <p:pic>
            <p:nvPicPr>
              <p:cNvPr id="224" name="Picture 223">
                <a:extLst>
                  <a:ext uri="{FF2B5EF4-FFF2-40B4-BE49-F238E27FC236}">
                    <a16:creationId xmlns:a16="http://schemas.microsoft.com/office/drawing/2014/main" id="{3ACC768F-04E3-A840-822B-D1EFB3C9876B}"/>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225" name="TextBox 224">
                <a:extLst>
                  <a:ext uri="{FF2B5EF4-FFF2-40B4-BE49-F238E27FC236}">
                    <a16:creationId xmlns:a16="http://schemas.microsoft.com/office/drawing/2014/main" id="{BE88291A-40C1-C145-821D-3DC04F178BCB}"/>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a:t>Click the Format Painter button (           ) to copy the style.</a:t>
                </a:r>
              </a:p>
            </p:txBody>
          </p:sp>
        </p:grpSp>
        <p:sp>
          <p:nvSpPr>
            <p:cNvPr id="203" name="TextBox 202">
              <a:extLst>
                <a:ext uri="{FF2B5EF4-FFF2-40B4-BE49-F238E27FC236}">
                  <a16:creationId xmlns:a16="http://schemas.microsoft.com/office/drawing/2014/main" id="{95654A3A-C98F-2A41-8935-4791ADD47024}"/>
                </a:ext>
              </a:extLst>
            </p:cNvPr>
            <p:cNvSpPr txBox="1"/>
            <p:nvPr/>
          </p:nvSpPr>
          <p:spPr>
            <a:xfrm>
              <a:off x="9686426" y="3363632"/>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a:t>Click anywhere on the current agenda item (on the text works here) to apply the highlight style.</a:t>
              </a:r>
            </a:p>
          </p:txBody>
        </p:sp>
        <p:sp>
          <p:nvSpPr>
            <p:cNvPr id="204" name="Rectangle 203">
              <a:extLst>
                <a:ext uri="{FF2B5EF4-FFF2-40B4-BE49-F238E27FC236}">
                  <a16:creationId xmlns:a16="http://schemas.microsoft.com/office/drawing/2014/main" id="{FCEB0B63-DB36-F046-8D85-FA630484DC86}"/>
                </a:ext>
              </a:extLst>
            </p:cNvPr>
            <p:cNvSpPr/>
            <p:nvPr/>
          </p:nvSpPr>
          <p:spPr>
            <a:xfrm>
              <a:off x="9686427" y="420031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sp>
          <p:nvSpPr>
            <p:cNvPr id="205" name="TextBox 204">
              <a:extLst>
                <a:ext uri="{FF2B5EF4-FFF2-40B4-BE49-F238E27FC236}">
                  <a16:creationId xmlns:a16="http://schemas.microsoft.com/office/drawing/2014/main" id="{4B3865E1-B4C1-B040-A27A-1016E8FD7E68}"/>
                </a:ext>
              </a:extLst>
            </p:cNvPr>
            <p:cNvSpPr txBox="1"/>
            <p:nvPr/>
          </p:nvSpPr>
          <p:spPr>
            <a:xfrm>
              <a:off x="9686426" y="4026515"/>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a:t>Select the ‘page # style’ element below:</a:t>
              </a:r>
            </a:p>
          </p:txBody>
        </p:sp>
        <p:sp>
          <p:nvSpPr>
            <p:cNvPr id="206" name="TextBox 205">
              <a:extLst>
                <a:ext uri="{FF2B5EF4-FFF2-40B4-BE49-F238E27FC236}">
                  <a16:creationId xmlns:a16="http://schemas.microsoft.com/office/drawing/2014/main" id="{8B769E22-9CB3-1842-AE3D-A38FA4B458F9}"/>
                </a:ext>
              </a:extLst>
            </p:cNvPr>
            <p:cNvSpPr txBox="1"/>
            <p:nvPr/>
          </p:nvSpPr>
          <p:spPr>
            <a:xfrm>
              <a:off x="9686426" y="2184031"/>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a:t>Select the ‘title style’ element below:</a:t>
              </a:r>
            </a:p>
          </p:txBody>
        </p:sp>
        <p:sp>
          <p:nvSpPr>
            <p:cNvPr id="207" name="TextBox 206">
              <a:extLst>
                <a:ext uri="{FF2B5EF4-FFF2-40B4-BE49-F238E27FC236}">
                  <a16:creationId xmlns:a16="http://schemas.microsoft.com/office/drawing/2014/main" id="{DEF58FFE-C8BB-A644-814F-B8E499AA1354}"/>
                </a:ext>
              </a:extLst>
            </p:cNvPr>
            <p:cNvSpPr txBox="1"/>
            <p:nvPr/>
          </p:nvSpPr>
          <p:spPr>
            <a:xfrm>
              <a:off x="9686426" y="1990139"/>
              <a:ext cx="587902" cy="107722"/>
            </a:xfrm>
            <a:prstGeom prst="rect">
              <a:avLst/>
            </a:prstGeom>
          </p:spPr>
          <p:txBody>
            <a:bodyPr vert="horz" wrap="none" lIns="0" tIns="0" rIns="0" bIns="0" rtlCol="0" anchor="ctr">
              <a:spAutoFit/>
            </a:bodyPr>
            <a:lstStyle/>
            <a:p>
              <a:pPr algn="l"/>
              <a:r>
                <a:rPr lang="en-US" sz="700">
                  <a:solidFill>
                    <a:schemeClr val="bg1">
                      <a:lumMod val="85000"/>
                    </a:schemeClr>
                  </a:solidFill>
                </a:rPr>
                <a:t>HIGHLIGHT TITLE:</a:t>
              </a:r>
            </a:p>
          </p:txBody>
        </p:sp>
        <p:cxnSp>
          <p:nvCxnSpPr>
            <p:cNvPr id="208" name="Straight Connector 207">
              <a:extLst>
                <a:ext uri="{FF2B5EF4-FFF2-40B4-BE49-F238E27FC236}">
                  <a16:creationId xmlns:a16="http://schemas.microsoft.com/office/drawing/2014/main" id="{E0FD961B-9C6C-C84B-82CA-1AE94D4B142C}"/>
                </a:ext>
              </a:extLst>
            </p:cNvPr>
            <p:cNvCxnSpPr>
              <a:cxnSpLocks/>
            </p:cNvCxnSpPr>
            <p:nvPr/>
          </p:nvCxnSpPr>
          <p:spPr>
            <a:xfrm>
              <a:off x="9679848" y="2113772"/>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09" name="TextBox 208">
              <a:extLst>
                <a:ext uri="{FF2B5EF4-FFF2-40B4-BE49-F238E27FC236}">
                  <a16:creationId xmlns:a16="http://schemas.microsoft.com/office/drawing/2014/main" id="{DFB31B83-EC2B-A841-BEB3-3BA0404E5872}"/>
                </a:ext>
              </a:extLst>
            </p:cNvPr>
            <p:cNvSpPr txBox="1"/>
            <p:nvPr/>
          </p:nvSpPr>
          <p:spPr>
            <a:xfrm>
              <a:off x="9686426" y="3831464"/>
              <a:ext cx="648014" cy="107722"/>
            </a:xfrm>
            <a:prstGeom prst="rect">
              <a:avLst/>
            </a:prstGeom>
          </p:spPr>
          <p:txBody>
            <a:bodyPr vert="horz" wrap="none" lIns="0" tIns="0" rIns="0" bIns="0" rtlCol="0" anchor="ctr">
              <a:spAutoFit/>
            </a:bodyPr>
            <a:lstStyle/>
            <a:p>
              <a:pPr algn="l"/>
              <a:r>
                <a:rPr lang="en-US" sz="700">
                  <a:solidFill>
                    <a:schemeClr val="bg1">
                      <a:lumMod val="85000"/>
                    </a:schemeClr>
                  </a:solidFill>
                </a:rPr>
                <a:t>HIGHLIGHT PAGE #:</a:t>
              </a:r>
            </a:p>
          </p:txBody>
        </p:sp>
        <p:cxnSp>
          <p:nvCxnSpPr>
            <p:cNvPr id="210" name="Straight Connector 209">
              <a:extLst>
                <a:ext uri="{FF2B5EF4-FFF2-40B4-BE49-F238E27FC236}">
                  <a16:creationId xmlns:a16="http://schemas.microsoft.com/office/drawing/2014/main" id="{1CE7C6FE-AAF6-C844-87BE-AF0B8D40B211}"/>
                </a:ext>
              </a:extLst>
            </p:cNvPr>
            <p:cNvCxnSpPr>
              <a:cxnSpLocks/>
            </p:cNvCxnSpPr>
            <p:nvPr/>
          </p:nvCxnSpPr>
          <p:spPr>
            <a:xfrm>
              <a:off x="9679848" y="3955097"/>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11" name="Group 210">
              <a:extLst>
                <a:ext uri="{FF2B5EF4-FFF2-40B4-BE49-F238E27FC236}">
                  <a16:creationId xmlns:a16="http://schemas.microsoft.com/office/drawing/2014/main" id="{6DC53FCD-82B6-7048-9F20-C8BA810B45DB}"/>
                </a:ext>
              </a:extLst>
            </p:cNvPr>
            <p:cNvGrpSpPr/>
            <p:nvPr/>
          </p:nvGrpSpPr>
          <p:grpSpPr>
            <a:xfrm>
              <a:off x="9686426" y="4692069"/>
              <a:ext cx="2284506" cy="249299"/>
              <a:chOff x="9431244" y="2862535"/>
              <a:chExt cx="2284506" cy="249299"/>
            </a:xfrm>
          </p:grpSpPr>
          <p:pic>
            <p:nvPicPr>
              <p:cNvPr id="222" name="Picture 221">
                <a:extLst>
                  <a:ext uri="{FF2B5EF4-FFF2-40B4-BE49-F238E27FC236}">
                    <a16:creationId xmlns:a16="http://schemas.microsoft.com/office/drawing/2014/main" id="{DBD2640C-E387-4844-A244-F11A31D01261}"/>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223" name="TextBox 222">
                <a:extLst>
                  <a:ext uri="{FF2B5EF4-FFF2-40B4-BE49-F238E27FC236}">
                    <a16:creationId xmlns:a16="http://schemas.microsoft.com/office/drawing/2014/main" id="{1183DA2F-9D9A-8D45-9DFA-CF2F6744B28A}"/>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a:t>Click the Format Painter button (           ) to copy the style.</a:t>
                </a:r>
              </a:p>
            </p:txBody>
          </p:sp>
        </p:grpSp>
        <p:grpSp>
          <p:nvGrpSpPr>
            <p:cNvPr id="232" name="Group 231">
              <a:extLst>
                <a:ext uri="{FF2B5EF4-FFF2-40B4-BE49-F238E27FC236}">
                  <a16:creationId xmlns:a16="http://schemas.microsoft.com/office/drawing/2014/main" id="{30958E0C-707E-074A-9E85-1719DD93FE83}"/>
                </a:ext>
              </a:extLst>
            </p:cNvPr>
            <p:cNvGrpSpPr/>
            <p:nvPr userDrawn="1"/>
          </p:nvGrpSpPr>
          <p:grpSpPr>
            <a:xfrm>
              <a:off x="9541497" y="6488937"/>
              <a:ext cx="2735151" cy="2142684"/>
              <a:chOff x="9541497" y="1525267"/>
              <a:chExt cx="2735151" cy="2142684"/>
            </a:xfrm>
          </p:grpSpPr>
          <p:grpSp>
            <p:nvGrpSpPr>
              <p:cNvPr id="233" name="Group 232">
                <a:extLst>
                  <a:ext uri="{FF2B5EF4-FFF2-40B4-BE49-F238E27FC236}">
                    <a16:creationId xmlns:a16="http://schemas.microsoft.com/office/drawing/2014/main" id="{3F659622-D770-FB48-9CA2-36AF35529F6D}"/>
                  </a:ext>
                </a:extLst>
              </p:cNvPr>
              <p:cNvGrpSpPr/>
              <p:nvPr userDrawn="1"/>
            </p:nvGrpSpPr>
            <p:grpSpPr>
              <a:xfrm>
                <a:off x="9541497" y="1525267"/>
                <a:ext cx="2735151" cy="2142684"/>
                <a:chOff x="9296567" y="5817858"/>
                <a:chExt cx="2735151" cy="2142684"/>
              </a:xfrm>
            </p:grpSpPr>
            <p:sp>
              <p:nvSpPr>
                <p:cNvPr id="235" name="Rectangle 234">
                  <a:extLst>
                    <a:ext uri="{FF2B5EF4-FFF2-40B4-BE49-F238E27FC236}">
                      <a16:creationId xmlns:a16="http://schemas.microsoft.com/office/drawing/2014/main" id="{52D66407-36D6-4244-914D-013403C7AC4E}"/>
                    </a:ext>
                  </a:extLst>
                </p:cNvPr>
                <p:cNvSpPr/>
                <p:nvPr userDrawn="1"/>
              </p:nvSpPr>
              <p:spPr>
                <a:xfrm>
                  <a:off x="9296567" y="5817858"/>
                  <a:ext cx="2733136" cy="214268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36" name="TextBox 235">
                  <a:extLst>
                    <a:ext uri="{FF2B5EF4-FFF2-40B4-BE49-F238E27FC236}">
                      <a16:creationId xmlns:a16="http://schemas.microsoft.com/office/drawing/2014/main" id="{ABB6D0F0-0B4F-694F-B630-8A3236A551BC}"/>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Drag-select</a:t>
                  </a:r>
                </a:p>
              </p:txBody>
            </p:sp>
            <p:pic>
              <p:nvPicPr>
                <p:cNvPr id="237" name="Graphic 236">
                  <a:extLst>
                    <a:ext uri="{FF2B5EF4-FFF2-40B4-BE49-F238E27FC236}">
                      <a16:creationId xmlns:a16="http://schemas.microsoft.com/office/drawing/2014/main" id="{186673D5-8245-0F44-9FE3-7768FD6A4C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238" name="TextBox 237">
                  <a:extLst>
                    <a:ext uri="{FF2B5EF4-FFF2-40B4-BE49-F238E27FC236}">
                      <a16:creationId xmlns:a16="http://schemas.microsoft.com/office/drawing/2014/main" id="{A7383FE6-0069-8142-87B1-325CA7B82F11}"/>
                    </a:ext>
                  </a:extLst>
                </p:cNvPr>
                <p:cNvSpPr txBox="1"/>
                <p:nvPr userDrawn="1"/>
              </p:nvSpPr>
              <p:spPr>
                <a:xfrm>
                  <a:off x="9471805" y="6169594"/>
                  <a:ext cx="2444785" cy="138499"/>
                </a:xfrm>
                <a:prstGeom prst="rect">
                  <a:avLst/>
                </a:prstGeom>
              </p:spPr>
              <p:txBody>
                <a:bodyPr vert="horz" wrap="square" lIns="0" tIns="0" rIns="0" bIns="0" rtlCol="0" anchor="t">
                  <a:spAutoFit/>
                </a:bodyPr>
                <a:lstStyle/>
                <a:p>
                  <a:pPr>
                    <a:spcBef>
                      <a:spcPts val="200"/>
                    </a:spcBef>
                  </a:pPr>
                  <a:r>
                    <a:rPr lang="en-US" sz="900">
                      <a:solidFill>
                        <a:schemeClr val="tx1">
                          <a:lumMod val="50000"/>
                          <a:lumOff val="50000"/>
                        </a:schemeClr>
                      </a:solidFill>
                      <a:latin typeface="Arial" charset="0"/>
                      <a:ea typeface="Arial" charset="0"/>
                      <a:cs typeface="Arial" charset="0"/>
                    </a:rPr>
                    <a:t>Easily select multiple placeholders for deletion:</a:t>
                  </a:r>
                </a:p>
              </p:txBody>
            </p:sp>
            <p:sp>
              <p:nvSpPr>
                <p:cNvPr id="239" name="TextBox 238">
                  <a:extLst>
                    <a:ext uri="{FF2B5EF4-FFF2-40B4-BE49-F238E27FC236}">
                      <a16:creationId xmlns:a16="http://schemas.microsoft.com/office/drawing/2014/main" id="{9210F285-B4A2-FC43-BC5B-7EF7D83CDAFB}"/>
                    </a:ext>
                  </a:extLst>
                </p:cNvPr>
                <p:cNvSpPr txBox="1"/>
                <p:nvPr userDrawn="1"/>
              </p:nvSpPr>
              <p:spPr>
                <a:xfrm>
                  <a:off x="9471806" y="6398194"/>
                  <a:ext cx="1174622"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b="1" kern="1200">
                      <a:solidFill>
                        <a:schemeClr val="tx1">
                          <a:lumMod val="50000"/>
                          <a:lumOff val="50000"/>
                        </a:schemeClr>
                      </a:solidFill>
                      <a:latin typeface="Arial" charset="0"/>
                      <a:ea typeface="Arial" charset="0"/>
                      <a:cs typeface="Arial" charset="0"/>
                    </a:rPr>
                    <a:t>Click</a:t>
                  </a:r>
                  <a:r>
                    <a:rPr lang="en-US" sz="900" kern="1200">
                      <a:solidFill>
                        <a:schemeClr val="tx1">
                          <a:lumMod val="50000"/>
                          <a:lumOff val="50000"/>
                        </a:schemeClr>
                      </a:solidFill>
                      <a:latin typeface="Arial" charset="0"/>
                      <a:ea typeface="Arial" charset="0"/>
                      <a:cs typeface="Arial" charset="0"/>
                    </a:rPr>
                    <a:t> above and to the left of the first placeholder you’d like to delete.</a:t>
                  </a:r>
                </a:p>
              </p:txBody>
            </p:sp>
            <p:sp>
              <p:nvSpPr>
                <p:cNvPr id="240" name="TextBox 239">
                  <a:extLst>
                    <a:ext uri="{FF2B5EF4-FFF2-40B4-BE49-F238E27FC236}">
                      <a16:creationId xmlns:a16="http://schemas.microsoft.com/office/drawing/2014/main" id="{EC646126-52E4-C347-AC65-C032199DDAD5}"/>
                    </a:ext>
                  </a:extLst>
                </p:cNvPr>
                <p:cNvSpPr txBox="1"/>
                <p:nvPr userDrawn="1"/>
              </p:nvSpPr>
              <p:spPr>
                <a:xfrm>
                  <a:off x="9471805" y="7426396"/>
                  <a:ext cx="2444785" cy="24929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All the placeholders inside the drag area will now be selected. Press Delete on the keyboard to remove them.</a:t>
                  </a:r>
                </a:p>
              </p:txBody>
            </p:sp>
            <p:sp>
              <p:nvSpPr>
                <p:cNvPr id="241" name="TextBox 240">
                  <a:extLst>
                    <a:ext uri="{FF2B5EF4-FFF2-40B4-BE49-F238E27FC236}">
                      <a16:creationId xmlns:a16="http://schemas.microsoft.com/office/drawing/2014/main" id="{83C0DA68-7210-F344-B933-262216762A61}"/>
                    </a:ext>
                  </a:extLst>
                </p:cNvPr>
                <p:cNvSpPr txBox="1"/>
                <p:nvPr userDrawn="1"/>
              </p:nvSpPr>
              <p:spPr>
                <a:xfrm>
                  <a:off x="9471805" y="6974619"/>
                  <a:ext cx="241440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Then (still holding down the first click) </a:t>
                  </a:r>
                  <a:br>
                    <a:rPr lang="en-US" sz="900" kern="1200">
                      <a:solidFill>
                        <a:schemeClr val="tx1">
                          <a:lumMod val="50000"/>
                          <a:lumOff val="50000"/>
                        </a:schemeClr>
                      </a:solidFill>
                      <a:latin typeface="Arial" charset="0"/>
                      <a:ea typeface="Arial" charset="0"/>
                      <a:cs typeface="Arial" charset="0"/>
                    </a:rPr>
                  </a:br>
                  <a:r>
                    <a:rPr lang="en-US" sz="900" b="1" kern="1200">
                      <a:solidFill>
                        <a:schemeClr val="tx1">
                          <a:lumMod val="50000"/>
                          <a:lumOff val="50000"/>
                        </a:schemeClr>
                      </a:solidFill>
                      <a:latin typeface="Arial" charset="0"/>
                      <a:ea typeface="Arial" charset="0"/>
                      <a:cs typeface="Arial" charset="0"/>
                    </a:rPr>
                    <a:t>drag</a:t>
                  </a:r>
                  <a:r>
                    <a:rPr lang="en-US" sz="900" kern="1200">
                      <a:solidFill>
                        <a:schemeClr val="tx1">
                          <a:lumMod val="50000"/>
                          <a:lumOff val="50000"/>
                        </a:schemeClr>
                      </a:solidFill>
                      <a:latin typeface="Arial" charset="0"/>
                      <a:ea typeface="Arial" charset="0"/>
                      <a:cs typeface="Arial" charset="0"/>
                    </a:rPr>
                    <a:t> the cursor to below and to the right of the last placeholder and </a:t>
                  </a:r>
                  <a:r>
                    <a:rPr lang="en-US" sz="900" b="1" kern="1200">
                      <a:solidFill>
                        <a:schemeClr val="tx1">
                          <a:lumMod val="50000"/>
                          <a:lumOff val="50000"/>
                        </a:schemeClr>
                      </a:solidFill>
                      <a:latin typeface="Arial" charset="0"/>
                      <a:ea typeface="Arial" charset="0"/>
                      <a:cs typeface="Arial" charset="0"/>
                    </a:rPr>
                    <a:t>release</a:t>
                  </a:r>
                  <a:r>
                    <a:rPr lang="en-US" sz="900" kern="1200">
                      <a:solidFill>
                        <a:schemeClr val="tx1">
                          <a:lumMod val="50000"/>
                          <a:lumOff val="50000"/>
                        </a:schemeClr>
                      </a:solidFill>
                      <a:latin typeface="Arial" charset="0"/>
                      <a:ea typeface="Arial" charset="0"/>
                      <a:cs typeface="Arial" charset="0"/>
                    </a:rPr>
                    <a:t> the click.</a:t>
                  </a:r>
                </a:p>
              </p:txBody>
            </p:sp>
          </p:grpSp>
          <p:pic>
            <p:nvPicPr>
              <p:cNvPr id="234" name="Picture 233">
                <a:extLst>
                  <a:ext uri="{FF2B5EF4-FFF2-40B4-BE49-F238E27FC236}">
                    <a16:creationId xmlns:a16="http://schemas.microsoft.com/office/drawing/2014/main" id="{90C81D1C-FBC0-2D47-9C08-925873AF6C79}"/>
                  </a:ext>
                </a:extLst>
              </p:cNvPr>
              <p:cNvPicPr>
                <a:picLocks noChangeAspect="1"/>
              </p:cNvPicPr>
              <p:nvPr userDrawn="1"/>
            </p:nvPicPr>
            <p:blipFill rotWithShape="1">
              <a:blip r:embed="rId7"/>
              <a:srcRect t="33282" b="9876"/>
              <a:stretch/>
            </p:blipFill>
            <p:spPr>
              <a:xfrm>
                <a:off x="10901855" y="2099340"/>
                <a:ext cx="1237314" cy="517325"/>
              </a:xfrm>
              <a:prstGeom prst="rect">
                <a:avLst/>
              </a:prstGeom>
            </p:spPr>
          </p:pic>
        </p:grpSp>
      </p:grpSp>
      <p:sp>
        <p:nvSpPr>
          <p:cNvPr id="2" name="Title 1">
            <a:extLst>
              <a:ext uri="{FF2B5EF4-FFF2-40B4-BE49-F238E27FC236}">
                <a16:creationId xmlns:a16="http://schemas.microsoft.com/office/drawing/2014/main" id="{E196CE33-C89A-DF4A-A514-4B0F089622A5}"/>
              </a:ext>
            </a:extLst>
          </p:cNvPr>
          <p:cNvSpPr>
            <a:spLocks noGrp="1"/>
          </p:cNvSpPr>
          <p:nvPr userDrawn="1">
            <p:ph type="title" hasCustomPrompt="1"/>
          </p:nvPr>
        </p:nvSpPr>
        <p:spPr/>
        <p:txBody>
          <a:bodyPr/>
          <a:lstStyle/>
          <a:p>
            <a:r>
              <a:rPr lang="en-US"/>
              <a:t>Click to add agenda title. All caps. Two lines max.</a:t>
            </a:r>
          </a:p>
        </p:txBody>
      </p:sp>
      <p:sp>
        <p:nvSpPr>
          <p:cNvPr id="64" name="Text Placeholder 5">
            <a:extLst>
              <a:ext uri="{FF2B5EF4-FFF2-40B4-BE49-F238E27FC236}">
                <a16:creationId xmlns:a16="http://schemas.microsoft.com/office/drawing/2014/main" id="{680AE5C6-20A0-3842-8FA0-B38AA603F8A3}"/>
              </a:ext>
            </a:extLst>
          </p:cNvPr>
          <p:cNvSpPr>
            <a:spLocks noGrp="1"/>
          </p:cNvSpPr>
          <p:nvPr userDrawn="1">
            <p:ph type="body" sz="quarter" idx="121" hasCustomPrompt="1"/>
          </p:nvPr>
        </p:nvSpPr>
        <p:spPr>
          <a:xfrm>
            <a:off x="12827959" y="2356307"/>
            <a:ext cx="2442376" cy="376755"/>
          </a:xfrm>
          <a:solidFill>
            <a:schemeClr val="accent1"/>
          </a:solidFill>
          <a:ln w="31750">
            <a:solidFill>
              <a:schemeClr val="accent1"/>
            </a:solidFill>
          </a:ln>
          <a:effectLst/>
        </p:spPr>
        <p:txBody>
          <a:bodyPr lIns="576000" tIns="0" rIns="36000" anchor="ctr"/>
          <a:lstStyle>
            <a:lvl1pPr marL="0" indent="0">
              <a:buNone/>
              <a:defRPr b="1">
                <a:solidFill>
                  <a:schemeClr val="bg1"/>
                </a:solidFill>
              </a:defRPr>
            </a:lvl1pPr>
          </a:lstStyle>
          <a:p>
            <a:pPr lvl="0"/>
            <a:r>
              <a:rPr lang="en-US"/>
              <a:t>Select for Title style</a:t>
            </a:r>
          </a:p>
        </p:txBody>
      </p:sp>
      <p:sp>
        <p:nvSpPr>
          <p:cNvPr id="65" name="Text Placeholder 5">
            <a:extLst>
              <a:ext uri="{FF2B5EF4-FFF2-40B4-BE49-F238E27FC236}">
                <a16:creationId xmlns:a16="http://schemas.microsoft.com/office/drawing/2014/main" id="{AC21CD0C-F907-D84E-8617-2858BDF43E81}"/>
              </a:ext>
            </a:extLst>
          </p:cNvPr>
          <p:cNvSpPr>
            <a:spLocks noGrp="1"/>
          </p:cNvSpPr>
          <p:nvPr userDrawn="1">
            <p:ph type="body" sz="quarter" idx="122" hasCustomPrompt="1"/>
          </p:nvPr>
        </p:nvSpPr>
        <p:spPr>
          <a:xfrm>
            <a:off x="12827959" y="4208328"/>
            <a:ext cx="2442376" cy="376755"/>
          </a:xfrm>
          <a:noFill/>
          <a:ln w="31750">
            <a:noFill/>
          </a:ln>
          <a:effectLst/>
        </p:spPr>
        <p:txBody>
          <a:bodyPr lIns="0" tIns="0" rIns="0" anchor="ctr"/>
          <a:lstStyle>
            <a:lvl1pPr marL="0" indent="0" algn="r">
              <a:buNone/>
              <a:defRPr b="1">
                <a:solidFill>
                  <a:schemeClr val="bg1"/>
                </a:solidFill>
              </a:defRPr>
            </a:lvl1pPr>
          </a:lstStyle>
          <a:p>
            <a:pPr lvl="0"/>
            <a:r>
              <a:rPr lang="en-US"/>
              <a:t>Select for Page # style</a:t>
            </a:r>
          </a:p>
        </p:txBody>
      </p:sp>
      <p:sp>
        <p:nvSpPr>
          <p:cNvPr id="243" name="Text Placeholder 6">
            <a:extLst>
              <a:ext uri="{FF2B5EF4-FFF2-40B4-BE49-F238E27FC236}">
                <a16:creationId xmlns:a16="http://schemas.microsoft.com/office/drawing/2014/main" id="{91B769FF-FB3C-6747-8FCE-E8C24D69C27B}"/>
              </a:ext>
            </a:extLst>
          </p:cNvPr>
          <p:cNvSpPr>
            <a:spLocks noGrp="1"/>
          </p:cNvSpPr>
          <p:nvPr>
            <p:ph type="body" idx="13" hasCustomPrompt="1"/>
          </p:nvPr>
        </p:nvSpPr>
        <p:spPr>
          <a:xfrm>
            <a:off x="0" y="1230726"/>
            <a:ext cx="12192000" cy="619200"/>
          </a:xfrm>
          <a:blipFill dpi="0" rotWithShape="1">
            <a:blip r:embed="rId2"/>
            <a:srcRect/>
            <a:stretch>
              <a:fillRect/>
            </a:stretch>
          </a:blipFill>
          <a:ln>
            <a:noFill/>
          </a:ln>
          <a:effectLst/>
        </p:spPr>
        <p:txBody>
          <a:bodyPr lIns="576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4" name="Text Placeholder 6">
            <a:extLst>
              <a:ext uri="{FF2B5EF4-FFF2-40B4-BE49-F238E27FC236}">
                <a16:creationId xmlns:a16="http://schemas.microsoft.com/office/drawing/2014/main" id="{46A7DBB8-1DF6-554B-B31D-BC9C0B4F2A57}"/>
              </a:ext>
            </a:extLst>
          </p:cNvPr>
          <p:cNvSpPr>
            <a:spLocks noGrp="1"/>
          </p:cNvSpPr>
          <p:nvPr>
            <p:ph type="body" idx="14" hasCustomPrompt="1"/>
          </p:nvPr>
        </p:nvSpPr>
        <p:spPr>
          <a:xfrm>
            <a:off x="0" y="1847287"/>
            <a:ext cx="12192000" cy="619200"/>
          </a:xfrm>
          <a:blipFill dpi="0" rotWithShape="1">
            <a:blip r:embed="rId2"/>
            <a:srcRect/>
            <a:stretch>
              <a:fillRect/>
            </a:stretch>
          </a:blipFill>
          <a:ln>
            <a:noFill/>
          </a:ln>
          <a:effectLst/>
        </p:spPr>
        <p:txBody>
          <a:bodyPr lIns="576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5" name="Text Placeholder 6">
            <a:extLst>
              <a:ext uri="{FF2B5EF4-FFF2-40B4-BE49-F238E27FC236}">
                <a16:creationId xmlns:a16="http://schemas.microsoft.com/office/drawing/2014/main" id="{D155474C-5389-7248-85C8-A7CDCFC37463}"/>
              </a:ext>
            </a:extLst>
          </p:cNvPr>
          <p:cNvSpPr>
            <a:spLocks noGrp="1"/>
          </p:cNvSpPr>
          <p:nvPr>
            <p:ph type="body" idx="15" hasCustomPrompt="1"/>
          </p:nvPr>
        </p:nvSpPr>
        <p:spPr>
          <a:xfrm>
            <a:off x="0" y="2463848"/>
            <a:ext cx="12192000" cy="619200"/>
          </a:xfrm>
          <a:blipFill dpi="0" rotWithShape="1">
            <a:blip r:embed="rId2"/>
            <a:srcRect/>
            <a:stretch>
              <a:fillRect/>
            </a:stretch>
          </a:blipFill>
          <a:ln>
            <a:noFill/>
          </a:ln>
          <a:effectLst/>
        </p:spPr>
        <p:txBody>
          <a:bodyPr lIns="576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6" name="Text Placeholder 6">
            <a:extLst>
              <a:ext uri="{FF2B5EF4-FFF2-40B4-BE49-F238E27FC236}">
                <a16:creationId xmlns:a16="http://schemas.microsoft.com/office/drawing/2014/main" id="{64EC3DD3-A992-F048-A61E-0275830FA953}"/>
              </a:ext>
            </a:extLst>
          </p:cNvPr>
          <p:cNvSpPr>
            <a:spLocks noGrp="1"/>
          </p:cNvSpPr>
          <p:nvPr>
            <p:ph type="body" idx="16" hasCustomPrompt="1"/>
          </p:nvPr>
        </p:nvSpPr>
        <p:spPr>
          <a:xfrm>
            <a:off x="0" y="3080409"/>
            <a:ext cx="12192000" cy="619200"/>
          </a:xfrm>
          <a:blipFill dpi="0" rotWithShape="1">
            <a:blip r:embed="rId2"/>
            <a:srcRect/>
            <a:stretch>
              <a:fillRect/>
            </a:stretch>
          </a:blipFill>
          <a:ln>
            <a:noFill/>
          </a:ln>
          <a:effectLst/>
        </p:spPr>
        <p:txBody>
          <a:bodyPr lIns="576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7" name="Text Placeholder 6">
            <a:extLst>
              <a:ext uri="{FF2B5EF4-FFF2-40B4-BE49-F238E27FC236}">
                <a16:creationId xmlns:a16="http://schemas.microsoft.com/office/drawing/2014/main" id="{BAA3DB2E-205A-534B-9C44-EFEE5BDB0FBD}"/>
              </a:ext>
            </a:extLst>
          </p:cNvPr>
          <p:cNvSpPr>
            <a:spLocks noGrp="1"/>
          </p:cNvSpPr>
          <p:nvPr>
            <p:ph type="body" idx="17" hasCustomPrompt="1"/>
          </p:nvPr>
        </p:nvSpPr>
        <p:spPr>
          <a:xfrm>
            <a:off x="0" y="3696970"/>
            <a:ext cx="12192000" cy="619200"/>
          </a:xfrm>
          <a:blipFill dpi="0" rotWithShape="1">
            <a:blip r:embed="rId2"/>
            <a:srcRect/>
            <a:stretch>
              <a:fillRect/>
            </a:stretch>
          </a:blipFill>
          <a:ln>
            <a:noFill/>
          </a:ln>
          <a:effectLst/>
        </p:spPr>
        <p:txBody>
          <a:bodyPr lIns="576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8" name="Text Placeholder 6">
            <a:extLst>
              <a:ext uri="{FF2B5EF4-FFF2-40B4-BE49-F238E27FC236}">
                <a16:creationId xmlns:a16="http://schemas.microsoft.com/office/drawing/2014/main" id="{80869C67-837B-BE42-A9BE-AD3BBDACEB6B}"/>
              </a:ext>
            </a:extLst>
          </p:cNvPr>
          <p:cNvSpPr>
            <a:spLocks noGrp="1"/>
          </p:cNvSpPr>
          <p:nvPr>
            <p:ph type="body" idx="18" hasCustomPrompt="1"/>
          </p:nvPr>
        </p:nvSpPr>
        <p:spPr>
          <a:xfrm>
            <a:off x="0" y="4313531"/>
            <a:ext cx="12192000" cy="619200"/>
          </a:xfrm>
          <a:blipFill dpi="0" rotWithShape="1">
            <a:blip r:embed="rId2"/>
            <a:srcRect/>
            <a:stretch>
              <a:fillRect/>
            </a:stretch>
          </a:blipFill>
          <a:ln>
            <a:noFill/>
          </a:ln>
          <a:effectLst/>
        </p:spPr>
        <p:txBody>
          <a:bodyPr lIns="576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49" name="Text Placeholder 6">
            <a:extLst>
              <a:ext uri="{FF2B5EF4-FFF2-40B4-BE49-F238E27FC236}">
                <a16:creationId xmlns:a16="http://schemas.microsoft.com/office/drawing/2014/main" id="{6F036C69-95C0-FA4B-BBFA-E942D38EAA0D}"/>
              </a:ext>
            </a:extLst>
          </p:cNvPr>
          <p:cNvSpPr>
            <a:spLocks noGrp="1"/>
          </p:cNvSpPr>
          <p:nvPr>
            <p:ph type="body" idx="19" hasCustomPrompt="1"/>
          </p:nvPr>
        </p:nvSpPr>
        <p:spPr>
          <a:xfrm>
            <a:off x="0" y="4930092"/>
            <a:ext cx="12192000" cy="619200"/>
          </a:xfrm>
          <a:blipFill dpi="0" rotWithShape="1">
            <a:blip r:embed="rId2"/>
            <a:srcRect/>
            <a:stretch>
              <a:fillRect/>
            </a:stretch>
          </a:blipFill>
          <a:ln>
            <a:noFill/>
          </a:ln>
          <a:effectLst/>
        </p:spPr>
        <p:txBody>
          <a:bodyPr lIns="576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50" name="Text Placeholder 6">
            <a:extLst>
              <a:ext uri="{FF2B5EF4-FFF2-40B4-BE49-F238E27FC236}">
                <a16:creationId xmlns:a16="http://schemas.microsoft.com/office/drawing/2014/main" id="{82CFDAFE-B1BF-ED4F-8D1B-908011FE689B}"/>
              </a:ext>
            </a:extLst>
          </p:cNvPr>
          <p:cNvSpPr>
            <a:spLocks noGrp="1"/>
          </p:cNvSpPr>
          <p:nvPr>
            <p:ph type="body" idx="20" hasCustomPrompt="1"/>
          </p:nvPr>
        </p:nvSpPr>
        <p:spPr>
          <a:xfrm>
            <a:off x="0" y="5546650"/>
            <a:ext cx="12192000" cy="619200"/>
          </a:xfrm>
          <a:blipFill dpi="0" rotWithShape="1">
            <a:blip r:embed="rId2"/>
            <a:srcRect/>
            <a:stretch>
              <a:fillRect/>
            </a:stretch>
          </a:blipFill>
          <a:ln>
            <a:noFill/>
          </a:ln>
          <a:effectLst/>
        </p:spPr>
        <p:txBody>
          <a:bodyPr lIns="576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251" name="Text Placeholder 69">
            <a:extLst>
              <a:ext uri="{FF2B5EF4-FFF2-40B4-BE49-F238E27FC236}">
                <a16:creationId xmlns:a16="http://schemas.microsoft.com/office/drawing/2014/main" id="{58C31DAC-7646-7542-AA6F-2194522CE6A9}"/>
              </a:ext>
            </a:extLst>
          </p:cNvPr>
          <p:cNvSpPr>
            <a:spLocks noGrp="1"/>
          </p:cNvSpPr>
          <p:nvPr>
            <p:ph type="body" sz="quarter" idx="21" hasCustomPrompt="1"/>
          </p:nvPr>
        </p:nvSpPr>
        <p:spPr>
          <a:xfrm>
            <a:off x="10381560" y="1230726"/>
            <a:ext cx="1239144"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2" name="Text Placeholder 69">
            <a:extLst>
              <a:ext uri="{FF2B5EF4-FFF2-40B4-BE49-F238E27FC236}">
                <a16:creationId xmlns:a16="http://schemas.microsoft.com/office/drawing/2014/main" id="{F3D6B7F5-A321-C447-9339-ADB40C7B4AAE}"/>
              </a:ext>
            </a:extLst>
          </p:cNvPr>
          <p:cNvSpPr>
            <a:spLocks noGrp="1"/>
          </p:cNvSpPr>
          <p:nvPr>
            <p:ph type="body" sz="quarter" idx="22" hasCustomPrompt="1"/>
          </p:nvPr>
        </p:nvSpPr>
        <p:spPr>
          <a:xfrm>
            <a:off x="10381560" y="1847287"/>
            <a:ext cx="1239144"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3" name="Text Placeholder 69">
            <a:extLst>
              <a:ext uri="{FF2B5EF4-FFF2-40B4-BE49-F238E27FC236}">
                <a16:creationId xmlns:a16="http://schemas.microsoft.com/office/drawing/2014/main" id="{F918A5A2-CBA8-9746-8288-84619ED33FF4}"/>
              </a:ext>
            </a:extLst>
          </p:cNvPr>
          <p:cNvSpPr>
            <a:spLocks noGrp="1"/>
          </p:cNvSpPr>
          <p:nvPr>
            <p:ph type="body" sz="quarter" idx="23" hasCustomPrompt="1"/>
          </p:nvPr>
        </p:nvSpPr>
        <p:spPr>
          <a:xfrm>
            <a:off x="10381560" y="2463848"/>
            <a:ext cx="1239144"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4" name="Text Placeholder 69">
            <a:extLst>
              <a:ext uri="{FF2B5EF4-FFF2-40B4-BE49-F238E27FC236}">
                <a16:creationId xmlns:a16="http://schemas.microsoft.com/office/drawing/2014/main" id="{2110131B-6471-BA4F-83A7-D159CE9B4CF6}"/>
              </a:ext>
            </a:extLst>
          </p:cNvPr>
          <p:cNvSpPr>
            <a:spLocks noGrp="1"/>
          </p:cNvSpPr>
          <p:nvPr>
            <p:ph type="body" sz="quarter" idx="24" hasCustomPrompt="1"/>
          </p:nvPr>
        </p:nvSpPr>
        <p:spPr>
          <a:xfrm>
            <a:off x="10381560" y="3080409"/>
            <a:ext cx="1239144"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5" name="Text Placeholder 69">
            <a:extLst>
              <a:ext uri="{FF2B5EF4-FFF2-40B4-BE49-F238E27FC236}">
                <a16:creationId xmlns:a16="http://schemas.microsoft.com/office/drawing/2014/main" id="{5CE8F1D4-AABD-CF42-B74C-BA69A1DC7828}"/>
              </a:ext>
            </a:extLst>
          </p:cNvPr>
          <p:cNvSpPr>
            <a:spLocks noGrp="1"/>
          </p:cNvSpPr>
          <p:nvPr>
            <p:ph type="body" sz="quarter" idx="25" hasCustomPrompt="1"/>
          </p:nvPr>
        </p:nvSpPr>
        <p:spPr>
          <a:xfrm>
            <a:off x="10381560" y="3696970"/>
            <a:ext cx="1239144"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6" name="Text Placeholder 69">
            <a:extLst>
              <a:ext uri="{FF2B5EF4-FFF2-40B4-BE49-F238E27FC236}">
                <a16:creationId xmlns:a16="http://schemas.microsoft.com/office/drawing/2014/main" id="{D2FA80C7-C380-C54C-AF1E-86248734CA65}"/>
              </a:ext>
            </a:extLst>
          </p:cNvPr>
          <p:cNvSpPr>
            <a:spLocks noGrp="1"/>
          </p:cNvSpPr>
          <p:nvPr>
            <p:ph type="body" sz="quarter" idx="26" hasCustomPrompt="1"/>
          </p:nvPr>
        </p:nvSpPr>
        <p:spPr>
          <a:xfrm>
            <a:off x="10381560" y="4313531"/>
            <a:ext cx="1239144"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7" name="Text Placeholder 69">
            <a:extLst>
              <a:ext uri="{FF2B5EF4-FFF2-40B4-BE49-F238E27FC236}">
                <a16:creationId xmlns:a16="http://schemas.microsoft.com/office/drawing/2014/main" id="{10925F75-A1A8-3744-991C-D7C51B06B026}"/>
              </a:ext>
            </a:extLst>
          </p:cNvPr>
          <p:cNvSpPr>
            <a:spLocks noGrp="1"/>
          </p:cNvSpPr>
          <p:nvPr>
            <p:ph type="body" sz="quarter" idx="27" hasCustomPrompt="1"/>
          </p:nvPr>
        </p:nvSpPr>
        <p:spPr>
          <a:xfrm>
            <a:off x="10381560" y="4930092"/>
            <a:ext cx="1239144"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258" name="Text Placeholder 69">
            <a:extLst>
              <a:ext uri="{FF2B5EF4-FFF2-40B4-BE49-F238E27FC236}">
                <a16:creationId xmlns:a16="http://schemas.microsoft.com/office/drawing/2014/main" id="{748091C7-C5FA-B14E-912F-6F96120CF976}"/>
              </a:ext>
            </a:extLst>
          </p:cNvPr>
          <p:cNvSpPr>
            <a:spLocks noGrp="1"/>
          </p:cNvSpPr>
          <p:nvPr>
            <p:ph type="body" sz="quarter" idx="28" hasCustomPrompt="1"/>
          </p:nvPr>
        </p:nvSpPr>
        <p:spPr>
          <a:xfrm>
            <a:off x="10381560" y="5546650"/>
            <a:ext cx="1239144"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4" name="Date Placeholder 13">
            <a:extLst>
              <a:ext uri="{FF2B5EF4-FFF2-40B4-BE49-F238E27FC236}">
                <a16:creationId xmlns:a16="http://schemas.microsoft.com/office/drawing/2014/main" id="{C2848D6D-D4D4-484F-84EB-E19276855D2D}"/>
              </a:ext>
            </a:extLst>
          </p:cNvPr>
          <p:cNvSpPr>
            <a:spLocks noGrp="1"/>
          </p:cNvSpPr>
          <p:nvPr>
            <p:ph type="dt" sz="half" idx="123"/>
          </p:nvPr>
        </p:nvSpPr>
        <p:spPr/>
        <p:txBody>
          <a:bodyPr/>
          <a:lstStyle/>
          <a:p>
            <a:endParaRPr lang="en-US"/>
          </a:p>
        </p:txBody>
      </p:sp>
      <p:sp>
        <p:nvSpPr>
          <p:cNvPr id="15" name="Footer Placeholder 14">
            <a:extLst>
              <a:ext uri="{FF2B5EF4-FFF2-40B4-BE49-F238E27FC236}">
                <a16:creationId xmlns:a16="http://schemas.microsoft.com/office/drawing/2014/main" id="{1CFB29B8-ED2F-0C4F-B216-72AB74C1E9F3}"/>
              </a:ext>
            </a:extLst>
          </p:cNvPr>
          <p:cNvSpPr>
            <a:spLocks noGrp="1"/>
          </p:cNvSpPr>
          <p:nvPr>
            <p:ph type="ftr" sz="quarter" idx="124"/>
          </p:nvPr>
        </p:nvSpPr>
        <p:spPr/>
        <p:txBody>
          <a:bodyPr/>
          <a:lstStyle/>
          <a:p>
            <a:endParaRPr lang="en-US"/>
          </a:p>
        </p:txBody>
      </p:sp>
      <p:sp>
        <p:nvSpPr>
          <p:cNvPr id="16" name="Slide Number Placeholder 15">
            <a:extLst>
              <a:ext uri="{FF2B5EF4-FFF2-40B4-BE49-F238E27FC236}">
                <a16:creationId xmlns:a16="http://schemas.microsoft.com/office/drawing/2014/main" id="{BCF4CEC3-D8BB-F04A-A1D0-780B8D944778}"/>
              </a:ext>
            </a:extLst>
          </p:cNvPr>
          <p:cNvSpPr>
            <a:spLocks noGrp="1"/>
          </p:cNvSpPr>
          <p:nvPr>
            <p:ph type="sldNum" sz="quarter" idx="125"/>
          </p:nvPr>
        </p:nvSpPr>
        <p:spPr/>
        <p:txBody>
          <a:bodyPr/>
          <a:lstStyle/>
          <a:p>
            <a:pPr marL="12700"/>
            <a:fld id="{078C017C-E1B9-8443-B047-B08AAA027B45}" type="slidenum">
              <a:rPr lang="en-US" smtClean="0"/>
              <a:pPr marL="12700"/>
              <a:t>‹#›</a:t>
            </a:fld>
            <a:endParaRPr lang="en-US"/>
          </a:p>
        </p:txBody>
      </p:sp>
    </p:spTree>
    <p:extLst>
      <p:ext uri="{BB962C8B-B14F-4D97-AF65-F5344CB8AC3E}">
        <p14:creationId xmlns:p14="http://schemas.microsoft.com/office/powerpoint/2010/main" val="15163085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Photo)">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226B87F-5E84-7144-A74B-D4C32C819AD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02926" y="6070430"/>
            <a:ext cx="2132663" cy="329184"/>
          </a:xfrm>
          <a:prstGeom prst="rect">
            <a:avLst/>
          </a:prstGeom>
        </p:spPr>
      </p:pic>
      <p:sp>
        <p:nvSpPr>
          <p:cNvPr id="13" name="Freeform 12">
            <a:extLst>
              <a:ext uri="{FF2B5EF4-FFF2-40B4-BE49-F238E27FC236}">
                <a16:creationId xmlns:a16="http://schemas.microsoft.com/office/drawing/2014/main" id="{602C580C-279C-C14B-A35B-19A3198CE523}"/>
              </a:ext>
            </a:extLst>
          </p:cNvPr>
          <p:cNvSpPr/>
          <p:nvPr userDrawn="1"/>
        </p:nvSpPr>
        <p:spPr>
          <a:xfrm flipH="1">
            <a:off x="0" y="6029562"/>
            <a:ext cx="9041763"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a:p>
        </p:txBody>
      </p:sp>
      <p:sp>
        <p:nvSpPr>
          <p:cNvPr id="10" name="Picture Placeholder 9">
            <a:extLst>
              <a:ext uri="{FF2B5EF4-FFF2-40B4-BE49-F238E27FC236}">
                <a16:creationId xmlns:a16="http://schemas.microsoft.com/office/drawing/2014/main" id="{32EA00E4-A5CA-8A45-BBC6-14C9E32393F9}"/>
              </a:ext>
            </a:extLst>
          </p:cNvPr>
          <p:cNvSpPr>
            <a:spLocks noGrp="1"/>
          </p:cNvSpPr>
          <p:nvPr>
            <p:ph type="pic" sz="quarter" idx="25" hasCustomPrompt="1"/>
          </p:nvPr>
        </p:nvSpPr>
        <p:spPr>
          <a:xfrm>
            <a:off x="1" y="1"/>
            <a:ext cx="12192001" cy="5696907"/>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500" name="Caption">
            <a:extLst>
              <a:ext uri="{FF2B5EF4-FFF2-40B4-BE49-F238E27FC236}">
                <a16:creationId xmlns:a16="http://schemas.microsoft.com/office/drawing/2014/main" id="{0430D3F5-0DA7-044B-A6F4-A7E78D2279FC}"/>
              </a:ext>
            </a:extLst>
          </p:cNvPr>
          <p:cNvSpPr>
            <a:spLocks noGrp="1"/>
          </p:cNvSpPr>
          <p:nvPr>
            <p:ph type="body" sz="quarter" idx="500" hasCustomPrompt="1"/>
          </p:nvPr>
        </p:nvSpPr>
        <p:spPr>
          <a:xfrm>
            <a:off x="8898023" y="5356376"/>
            <a:ext cx="3006112" cy="152349"/>
          </a:xfrm>
          <a:effectLst/>
        </p:spPr>
        <p:txBody>
          <a:bodyPr wrap="square" anchor="b">
            <a:spAutoFit/>
          </a:bodyPr>
          <a:lstStyle>
            <a:lvl1pPr marL="0" marR="0" indent="0" algn="r" defTabSz="914400" rtl="0" eaLnBrk="1" fontAlgn="auto" latinLnBrk="0" hangingPunct="1">
              <a:lnSpc>
                <a:spcPct val="90000"/>
              </a:lnSpc>
              <a:spcBef>
                <a:spcPts val="0"/>
              </a:spcBef>
              <a:spcAft>
                <a:spcPts val="0"/>
              </a:spcAft>
              <a:buClrTx/>
              <a:buSzTx/>
              <a:buFont typeface="Wingdings" pitchFamily="2" charset="2"/>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16" name="Title 15">
            <a:extLst>
              <a:ext uri="{FF2B5EF4-FFF2-40B4-BE49-F238E27FC236}">
                <a16:creationId xmlns:a16="http://schemas.microsoft.com/office/drawing/2014/main" id="{56B2C3DE-0130-DA4D-94C6-482024DAAC1E}"/>
              </a:ext>
            </a:extLst>
          </p:cNvPr>
          <p:cNvSpPr>
            <a:spLocks noGrp="1"/>
          </p:cNvSpPr>
          <p:nvPr>
            <p:ph type="title" hasCustomPrompt="1"/>
          </p:nvPr>
        </p:nvSpPr>
        <p:spPr>
          <a:xfrm>
            <a:off x="1" y="1"/>
            <a:ext cx="8560516" cy="5696907"/>
          </a:xfrm>
          <a:custGeom>
            <a:avLst/>
            <a:gdLst>
              <a:gd name="connsiteX0" fmla="*/ 0 w 6420387"/>
              <a:gd name="connsiteY0" fmla="*/ 0 h 5696907"/>
              <a:gd name="connsiteX1" fmla="*/ 3716919 w 6420387"/>
              <a:gd name="connsiteY1" fmla="*/ 0 h 5696907"/>
              <a:gd name="connsiteX2" fmla="*/ 6420387 w 6420387"/>
              <a:gd name="connsiteY2" fmla="*/ 5696907 h 5696907"/>
              <a:gd name="connsiteX3" fmla="*/ 0 w 6420387"/>
              <a:gd name="connsiteY3" fmla="*/ 5696907 h 5696907"/>
            </a:gdLst>
            <a:ahLst/>
            <a:cxnLst>
              <a:cxn ang="0">
                <a:pos x="connsiteX0" y="connsiteY0"/>
              </a:cxn>
              <a:cxn ang="0">
                <a:pos x="connsiteX1" y="connsiteY1"/>
              </a:cxn>
              <a:cxn ang="0">
                <a:pos x="connsiteX2" y="connsiteY2"/>
              </a:cxn>
              <a:cxn ang="0">
                <a:pos x="connsiteX3" y="connsiteY3"/>
              </a:cxn>
            </a:cxnLst>
            <a:rect l="l" t="t" r="r" b="b"/>
            <a:pathLst>
              <a:path w="6420387" h="5696907">
                <a:moveTo>
                  <a:pt x="0" y="0"/>
                </a:moveTo>
                <a:lnTo>
                  <a:pt x="3716919" y="0"/>
                </a:lnTo>
                <a:lnTo>
                  <a:pt x="6420387" y="5696907"/>
                </a:lnTo>
                <a:lnTo>
                  <a:pt x="0" y="5696907"/>
                </a:lnTo>
                <a:close/>
              </a:path>
            </a:pathLst>
          </a:custGeom>
          <a:gradFill>
            <a:gsLst>
              <a:gs pos="0">
                <a:schemeClr val="accent1">
                  <a:alpha val="95000"/>
                </a:schemeClr>
              </a:gs>
              <a:gs pos="97000">
                <a:schemeClr val="accent1">
                  <a:alpha val="80000"/>
                </a:schemeClr>
              </a:gs>
            </a:gsLst>
            <a:lin ang="5400000" scaled="0"/>
          </a:gradFill>
        </p:spPr>
        <p:txBody>
          <a:bodyPr wrap="square" lIns="432000" rIns="1080000" bIns="360000" anchor="b">
            <a:noAutofit/>
          </a:bodyPr>
          <a:lstStyle>
            <a:lvl1pPr>
              <a:defRPr sz="3600">
                <a:solidFill>
                  <a:schemeClr val="bg1"/>
                </a:solidFill>
              </a:defRPr>
            </a:lvl1pPr>
          </a:lstStyle>
          <a:p>
            <a:pPr lvl="0"/>
            <a:r>
              <a:rPr lang="en-US" dirty="0"/>
              <a:t>Click to add presentation title. 3 lines max.</a:t>
            </a:r>
          </a:p>
        </p:txBody>
      </p:sp>
      <p:sp>
        <p:nvSpPr>
          <p:cNvPr id="3" name="Text Placeholder 2">
            <a:extLst>
              <a:ext uri="{FF2B5EF4-FFF2-40B4-BE49-F238E27FC236}">
                <a16:creationId xmlns:a16="http://schemas.microsoft.com/office/drawing/2014/main" id="{701F2488-D761-CD4C-9517-9EF654BF32FF}"/>
              </a:ext>
            </a:extLst>
          </p:cNvPr>
          <p:cNvSpPr>
            <a:spLocks noGrp="1"/>
          </p:cNvSpPr>
          <p:nvPr>
            <p:ph type="body" sz="quarter" idx="26" hasCustomPrompt="1"/>
          </p:nvPr>
        </p:nvSpPr>
        <p:spPr>
          <a:xfrm>
            <a:off x="601136" y="6061209"/>
            <a:ext cx="4417905"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dirty="0"/>
              <a:t>Click to add date (Month DD, YYYY)</a:t>
            </a:r>
          </a:p>
        </p:txBody>
      </p:sp>
      <p:grpSp>
        <p:nvGrpSpPr>
          <p:cNvPr id="14" name="Group 13">
            <a:extLst>
              <a:ext uri="{FF2B5EF4-FFF2-40B4-BE49-F238E27FC236}">
                <a16:creationId xmlns:a16="http://schemas.microsoft.com/office/drawing/2014/main" id="{A7A1D6F1-47B6-2D4F-A5EC-E7EA70685A9A}"/>
              </a:ext>
            </a:extLst>
          </p:cNvPr>
          <p:cNvGrpSpPr/>
          <p:nvPr userDrawn="1"/>
        </p:nvGrpSpPr>
        <p:grpSpPr>
          <a:xfrm>
            <a:off x="-342618" y="3892184"/>
            <a:ext cx="335281" cy="1365066"/>
            <a:chOff x="-256404" y="360363"/>
            <a:chExt cx="251461" cy="692152"/>
          </a:xfrm>
        </p:grpSpPr>
        <p:grpSp>
          <p:nvGrpSpPr>
            <p:cNvPr id="15" name="Group 14">
              <a:extLst>
                <a:ext uri="{FF2B5EF4-FFF2-40B4-BE49-F238E27FC236}">
                  <a16:creationId xmlns:a16="http://schemas.microsoft.com/office/drawing/2014/main" id="{5D298027-A0B6-0B47-9F3C-4771F8511D99}"/>
                </a:ext>
              </a:extLst>
            </p:cNvPr>
            <p:cNvGrpSpPr/>
            <p:nvPr userDrawn="1"/>
          </p:nvGrpSpPr>
          <p:grpSpPr>
            <a:xfrm rot="16200000">
              <a:off x="-476749" y="580708"/>
              <a:ext cx="692152" cy="251461"/>
              <a:chOff x="431800" y="-235792"/>
              <a:chExt cx="4400551" cy="235792"/>
            </a:xfrm>
          </p:grpSpPr>
          <p:cxnSp>
            <p:nvCxnSpPr>
              <p:cNvPr id="18" name="Straight Connector 17">
                <a:extLst>
                  <a:ext uri="{FF2B5EF4-FFF2-40B4-BE49-F238E27FC236}">
                    <a16:creationId xmlns:a16="http://schemas.microsoft.com/office/drawing/2014/main" id="{EE244243-B24F-614B-B0DC-CA05EF17A1C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216D1E7-03CD-BD4D-886C-ACE79F5FBD2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74B3AD39-0D61-0F4F-86A5-31F8A0FBDC80}"/>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17" name="TextBox 16">
              <a:extLst>
                <a:ext uri="{FF2B5EF4-FFF2-40B4-BE49-F238E27FC236}">
                  <a16:creationId xmlns:a16="http://schemas.microsoft.com/office/drawing/2014/main" id="{4D333CAE-7C17-5742-987D-8F3FF786584C}"/>
                </a:ext>
              </a:extLst>
            </p:cNvPr>
            <p:cNvSpPr txBox="1"/>
            <p:nvPr userDrawn="1"/>
          </p:nvSpPr>
          <p:spPr>
            <a:xfrm rot="16200000">
              <a:off x="-192445" y="662666"/>
              <a:ext cx="123545" cy="8079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24" name="Group 23">
            <a:extLst>
              <a:ext uri="{FF2B5EF4-FFF2-40B4-BE49-F238E27FC236}">
                <a16:creationId xmlns:a16="http://schemas.microsoft.com/office/drawing/2014/main" id="{1CA0517E-4F60-ED4F-804A-16FA757BDA91}"/>
              </a:ext>
            </a:extLst>
          </p:cNvPr>
          <p:cNvGrpSpPr/>
          <p:nvPr userDrawn="1"/>
        </p:nvGrpSpPr>
        <p:grpSpPr>
          <a:xfrm>
            <a:off x="-342618" y="6029561"/>
            <a:ext cx="335281" cy="414972"/>
            <a:chOff x="-256404" y="360363"/>
            <a:chExt cx="251461" cy="692152"/>
          </a:xfrm>
        </p:grpSpPr>
        <p:grpSp>
          <p:nvGrpSpPr>
            <p:cNvPr id="25" name="Group 24">
              <a:extLst>
                <a:ext uri="{FF2B5EF4-FFF2-40B4-BE49-F238E27FC236}">
                  <a16:creationId xmlns:a16="http://schemas.microsoft.com/office/drawing/2014/main" id="{31CA14E0-B2B8-6547-B2FF-02D6D0D2AA28}"/>
                </a:ext>
              </a:extLst>
            </p:cNvPr>
            <p:cNvGrpSpPr/>
            <p:nvPr userDrawn="1"/>
          </p:nvGrpSpPr>
          <p:grpSpPr>
            <a:xfrm rot="16200000">
              <a:off x="-476749" y="580708"/>
              <a:ext cx="692152" cy="251461"/>
              <a:chOff x="431800" y="-235792"/>
              <a:chExt cx="4400551" cy="235792"/>
            </a:xfrm>
          </p:grpSpPr>
          <p:cxnSp>
            <p:nvCxnSpPr>
              <p:cNvPr id="27" name="Straight Connector 26">
                <a:extLst>
                  <a:ext uri="{FF2B5EF4-FFF2-40B4-BE49-F238E27FC236}">
                    <a16:creationId xmlns:a16="http://schemas.microsoft.com/office/drawing/2014/main" id="{E17766C4-7F63-E341-9DD3-A8015F5B87B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5CEC5FE-E83E-6344-A543-7C48E4E5807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A81F2A08-CD7A-9F40-9BAD-6D3B470AEF5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26" name="TextBox 25">
              <a:extLst>
                <a:ext uri="{FF2B5EF4-FFF2-40B4-BE49-F238E27FC236}">
                  <a16:creationId xmlns:a16="http://schemas.microsoft.com/office/drawing/2014/main" id="{A3586E52-67F0-F147-887F-B29479026788}"/>
                </a:ext>
              </a:extLst>
            </p:cNvPr>
            <p:cNvSpPr txBox="1"/>
            <p:nvPr userDrawn="1"/>
          </p:nvSpPr>
          <p:spPr>
            <a:xfrm rot="16200000">
              <a:off x="-328529" y="662664"/>
              <a:ext cx="395711" cy="8079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grpSp>
        <p:nvGrpSpPr>
          <p:cNvPr id="49" name="Group 48">
            <a:extLst>
              <a:ext uri="{FF2B5EF4-FFF2-40B4-BE49-F238E27FC236}">
                <a16:creationId xmlns:a16="http://schemas.microsoft.com/office/drawing/2014/main" id="{A0324618-DAA0-AA4B-9D19-4C5917E6AD17}"/>
              </a:ext>
            </a:extLst>
          </p:cNvPr>
          <p:cNvGrpSpPr/>
          <p:nvPr userDrawn="1"/>
        </p:nvGrpSpPr>
        <p:grpSpPr>
          <a:xfrm>
            <a:off x="574987" y="-246933"/>
            <a:ext cx="11040535" cy="7347304"/>
            <a:chOff x="431240" y="-246933"/>
            <a:chExt cx="8280401" cy="7347304"/>
          </a:xfrm>
        </p:grpSpPr>
        <p:grpSp>
          <p:nvGrpSpPr>
            <p:cNvPr id="50" name="Group 49">
              <a:extLst>
                <a:ext uri="{FF2B5EF4-FFF2-40B4-BE49-F238E27FC236}">
                  <a16:creationId xmlns:a16="http://schemas.microsoft.com/office/drawing/2014/main" id="{A17378CA-6F0B-E244-B593-14A0519D7B3D}"/>
                </a:ext>
              </a:extLst>
            </p:cNvPr>
            <p:cNvGrpSpPr/>
            <p:nvPr userDrawn="1"/>
          </p:nvGrpSpPr>
          <p:grpSpPr>
            <a:xfrm>
              <a:off x="431242" y="6864579"/>
              <a:ext cx="8280398" cy="235792"/>
              <a:chOff x="431801" y="-235792"/>
              <a:chExt cx="4400550" cy="235792"/>
            </a:xfrm>
          </p:grpSpPr>
          <p:cxnSp>
            <p:nvCxnSpPr>
              <p:cNvPr id="59" name="Straight Connector 58">
                <a:extLst>
                  <a:ext uri="{FF2B5EF4-FFF2-40B4-BE49-F238E27FC236}">
                    <a16:creationId xmlns:a16="http://schemas.microsoft.com/office/drawing/2014/main" id="{E9011C3D-7CD8-0344-B7A8-5EB8BA672D6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C90CBB9-252D-2F47-ABB4-4CDD951CEF5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4161E6EE-AF2E-7A45-9726-9A3046CE8F16}"/>
                </a:ext>
              </a:extLst>
            </p:cNvPr>
            <p:cNvGrpSpPr/>
            <p:nvPr userDrawn="1"/>
          </p:nvGrpSpPr>
          <p:grpSpPr>
            <a:xfrm>
              <a:off x="431240" y="-246933"/>
              <a:ext cx="8280401" cy="235792"/>
              <a:chOff x="431800" y="-240735"/>
              <a:chExt cx="8280401" cy="235792"/>
            </a:xfrm>
          </p:grpSpPr>
          <p:grpSp>
            <p:nvGrpSpPr>
              <p:cNvPr id="52" name="Group 51">
                <a:extLst>
                  <a:ext uri="{FF2B5EF4-FFF2-40B4-BE49-F238E27FC236}">
                    <a16:creationId xmlns:a16="http://schemas.microsoft.com/office/drawing/2014/main" id="{673DA8D4-7F8C-D740-A4BF-88AF1D076647}"/>
                  </a:ext>
                </a:extLst>
              </p:cNvPr>
              <p:cNvGrpSpPr/>
              <p:nvPr userDrawn="1"/>
            </p:nvGrpSpPr>
            <p:grpSpPr>
              <a:xfrm>
                <a:off x="431800" y="-240735"/>
                <a:ext cx="8280400" cy="235792"/>
                <a:chOff x="431800" y="-235792"/>
                <a:chExt cx="4400551" cy="235792"/>
              </a:xfrm>
            </p:grpSpPr>
            <p:cxnSp>
              <p:nvCxnSpPr>
                <p:cNvPr id="56" name="Straight Connector 55">
                  <a:extLst>
                    <a:ext uri="{FF2B5EF4-FFF2-40B4-BE49-F238E27FC236}">
                      <a16:creationId xmlns:a16="http://schemas.microsoft.com/office/drawing/2014/main" id="{19655BBE-3B94-894C-82E3-F6F935353752}"/>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E3B2248-F4F9-F64D-8490-2B442A6B8C4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7D6A647D-1D6F-6C47-83BD-17138A36B786}"/>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53" name="TextBox 52">
                <a:extLst>
                  <a:ext uri="{FF2B5EF4-FFF2-40B4-BE49-F238E27FC236}">
                    <a16:creationId xmlns:a16="http://schemas.microsoft.com/office/drawing/2014/main" id="{C139F0AA-BA6B-2B4E-A000-2FCE687878ED}"/>
                  </a:ext>
                </a:extLst>
              </p:cNvPr>
              <p:cNvSpPr txBox="1"/>
              <p:nvPr userDrawn="1"/>
            </p:nvSpPr>
            <p:spPr>
              <a:xfrm>
                <a:off x="3914336" y="-176700"/>
                <a:ext cx="1315339"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54" name="Straight Arrow Connector 53">
                <a:extLst>
                  <a:ext uri="{FF2B5EF4-FFF2-40B4-BE49-F238E27FC236}">
                    <a16:creationId xmlns:a16="http://schemas.microsoft.com/office/drawing/2014/main" id="{EE164B6B-5105-8441-900A-B3B9CD49AC3C}"/>
                  </a:ext>
                </a:extLst>
              </p:cNvPr>
              <p:cNvCxnSpPr>
                <a:cxnSpLocks/>
                <a:stCxn id="53" idx="1"/>
                <a:endCxn id="58" idx="2"/>
              </p:cNvCxnSpPr>
              <p:nvPr userDrawn="1"/>
            </p:nvCxnSpPr>
            <p:spPr>
              <a:xfrm flipH="1">
                <a:off x="431801" y="-122839"/>
                <a:ext cx="3482535"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7A3DB2F7-3663-414A-8C28-BF0153DC91B2}"/>
                  </a:ext>
                </a:extLst>
              </p:cNvPr>
              <p:cNvCxnSpPr>
                <a:cxnSpLocks/>
                <a:stCxn id="53" idx="3"/>
                <a:endCxn id="58" idx="0"/>
              </p:cNvCxnSpPr>
              <p:nvPr userDrawn="1"/>
            </p:nvCxnSpPr>
            <p:spPr>
              <a:xfrm flipV="1">
                <a:off x="5229674" y="-122840"/>
                <a:ext cx="3482527"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61" name="Group 60">
            <a:extLst>
              <a:ext uri="{FF2B5EF4-FFF2-40B4-BE49-F238E27FC236}">
                <a16:creationId xmlns:a16="http://schemas.microsoft.com/office/drawing/2014/main" id="{90B4BF76-26CB-DD42-95F3-0856CB26B760}"/>
              </a:ext>
            </a:extLst>
          </p:cNvPr>
          <p:cNvGrpSpPr/>
          <p:nvPr userDrawn="1"/>
        </p:nvGrpSpPr>
        <p:grpSpPr>
          <a:xfrm>
            <a:off x="12532243" y="-1"/>
            <a:ext cx="3832280" cy="6858001"/>
            <a:chOff x="9144000" y="-1"/>
            <a:chExt cx="2874210" cy="6858001"/>
          </a:xfrm>
        </p:grpSpPr>
        <p:sp>
          <p:nvSpPr>
            <p:cNvPr id="62" name="Rectangle 61">
              <a:extLst>
                <a:ext uri="{FF2B5EF4-FFF2-40B4-BE49-F238E27FC236}">
                  <a16:creationId xmlns:a16="http://schemas.microsoft.com/office/drawing/2014/main" id="{DDFBC44C-C784-D741-8FC2-D2844A5E3CAB}"/>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grpSp>
          <p:nvGrpSpPr>
            <p:cNvPr id="63" name="Group 62">
              <a:extLst>
                <a:ext uri="{FF2B5EF4-FFF2-40B4-BE49-F238E27FC236}">
                  <a16:creationId xmlns:a16="http://schemas.microsoft.com/office/drawing/2014/main" id="{1D13472D-5526-2341-8CE3-0D35914DC533}"/>
                </a:ext>
              </a:extLst>
            </p:cNvPr>
            <p:cNvGrpSpPr/>
            <p:nvPr userDrawn="1"/>
          </p:nvGrpSpPr>
          <p:grpSpPr>
            <a:xfrm>
              <a:off x="9263395" y="150289"/>
              <a:ext cx="2754815" cy="6013825"/>
              <a:chOff x="9266651" y="185338"/>
              <a:chExt cx="2754815" cy="6013825"/>
            </a:xfrm>
          </p:grpSpPr>
          <p:sp>
            <p:nvSpPr>
              <p:cNvPr id="64" name="TextBox 63">
                <a:extLst>
                  <a:ext uri="{FF2B5EF4-FFF2-40B4-BE49-F238E27FC236}">
                    <a16:creationId xmlns:a16="http://schemas.microsoft.com/office/drawing/2014/main" id="{F12870B0-E29F-4A42-B891-72FD7A246DFC}"/>
                  </a:ext>
                </a:extLst>
              </p:cNvPr>
              <p:cNvSpPr txBox="1"/>
              <p:nvPr userDrawn="1"/>
            </p:nvSpPr>
            <p:spPr>
              <a:xfrm>
                <a:off x="9303325" y="18533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71" name="Straight Connector 70">
                <a:extLst>
                  <a:ext uri="{FF2B5EF4-FFF2-40B4-BE49-F238E27FC236}">
                    <a16:creationId xmlns:a16="http://schemas.microsoft.com/office/drawing/2014/main" id="{02FDC427-491B-374C-8023-8DFAE108CCDF}"/>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DED24FC4-94EA-E64A-8136-B042701F250C}"/>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94" name="Group 93">
                <a:extLst>
                  <a:ext uri="{FF2B5EF4-FFF2-40B4-BE49-F238E27FC236}">
                    <a16:creationId xmlns:a16="http://schemas.microsoft.com/office/drawing/2014/main" id="{68E1B116-B1A8-2941-86BC-B04EAE58ACB1}"/>
                  </a:ext>
                </a:extLst>
              </p:cNvPr>
              <p:cNvGrpSpPr/>
              <p:nvPr userDrawn="1"/>
            </p:nvGrpSpPr>
            <p:grpSpPr>
              <a:xfrm>
                <a:off x="9286315" y="4787848"/>
                <a:ext cx="2735151" cy="1411315"/>
                <a:chOff x="9296567" y="4910411"/>
                <a:chExt cx="2735151" cy="1411315"/>
              </a:xfrm>
            </p:grpSpPr>
            <p:sp>
              <p:nvSpPr>
                <p:cNvPr id="109" name="Rectangle 108">
                  <a:extLst>
                    <a:ext uri="{FF2B5EF4-FFF2-40B4-BE49-F238E27FC236}">
                      <a16:creationId xmlns:a16="http://schemas.microsoft.com/office/drawing/2014/main" id="{6537BD58-CBB5-7F41-82A2-9C59DD1ECC9B}"/>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10" name="TextBox 109">
                  <a:extLst>
                    <a:ext uri="{FF2B5EF4-FFF2-40B4-BE49-F238E27FC236}">
                      <a16:creationId xmlns:a16="http://schemas.microsoft.com/office/drawing/2014/main" id="{024B268F-6F8C-AA41-8AA3-0A1E8AA1D2C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11" name="Graphic 110">
                  <a:extLst>
                    <a:ext uri="{FF2B5EF4-FFF2-40B4-BE49-F238E27FC236}">
                      <a16:creationId xmlns:a16="http://schemas.microsoft.com/office/drawing/2014/main" id="{DEF9DC04-8A49-834C-AA26-47113075C4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049494"/>
                  <a:ext cx="155227" cy="155227"/>
                </a:xfrm>
                <a:prstGeom prst="rect">
                  <a:avLst/>
                </a:prstGeom>
              </p:spPr>
            </p:pic>
            <p:sp>
              <p:nvSpPr>
                <p:cNvPr id="112" name="TextBox 111">
                  <a:extLst>
                    <a:ext uri="{FF2B5EF4-FFF2-40B4-BE49-F238E27FC236}">
                      <a16:creationId xmlns:a16="http://schemas.microsoft.com/office/drawing/2014/main" id="{80748D19-55BA-2B4E-BFA4-0FB8976B8E5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13" name="TextBox 112">
                  <a:extLst>
                    <a:ext uri="{FF2B5EF4-FFF2-40B4-BE49-F238E27FC236}">
                      <a16:creationId xmlns:a16="http://schemas.microsoft.com/office/drawing/2014/main" id="{7567C1EC-FF55-6347-9457-1757BD693A38}"/>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14" name="TextBox 113">
                  <a:extLst>
                    <a:ext uri="{FF2B5EF4-FFF2-40B4-BE49-F238E27FC236}">
                      <a16:creationId xmlns:a16="http://schemas.microsoft.com/office/drawing/2014/main" id="{9CF6FC20-54A1-454F-9632-6A6B5E03EE2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95" name="Group 94">
                <a:extLst>
                  <a:ext uri="{FF2B5EF4-FFF2-40B4-BE49-F238E27FC236}">
                    <a16:creationId xmlns:a16="http://schemas.microsoft.com/office/drawing/2014/main" id="{9EE783D9-2C22-A54E-AB84-273433871D1C}"/>
                  </a:ext>
                </a:extLst>
              </p:cNvPr>
              <p:cNvGrpSpPr/>
              <p:nvPr userDrawn="1"/>
            </p:nvGrpSpPr>
            <p:grpSpPr>
              <a:xfrm>
                <a:off x="9286315" y="3431192"/>
                <a:ext cx="2735151" cy="1280928"/>
                <a:chOff x="9286315" y="6976989"/>
                <a:chExt cx="2735151" cy="1280928"/>
              </a:xfrm>
            </p:grpSpPr>
            <p:sp>
              <p:nvSpPr>
                <p:cNvPr id="104" name="Rectangle 103">
                  <a:extLst>
                    <a:ext uri="{FF2B5EF4-FFF2-40B4-BE49-F238E27FC236}">
                      <a16:creationId xmlns:a16="http://schemas.microsoft.com/office/drawing/2014/main" id="{D7552A1D-16DF-ED43-B2B8-3427B3C8781C}"/>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05" name="TextBox 104">
                  <a:extLst>
                    <a:ext uri="{FF2B5EF4-FFF2-40B4-BE49-F238E27FC236}">
                      <a16:creationId xmlns:a16="http://schemas.microsoft.com/office/drawing/2014/main" id="{104B3E05-A7DF-D444-AF59-6E11D17D478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06" name="Graphic 105">
                  <a:extLst>
                    <a:ext uri="{FF2B5EF4-FFF2-40B4-BE49-F238E27FC236}">
                      <a16:creationId xmlns:a16="http://schemas.microsoft.com/office/drawing/2014/main" id="{931F958A-80B4-7143-AB27-6F74DF73F52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46538" y="7116071"/>
                  <a:ext cx="155227" cy="155227"/>
                </a:xfrm>
                <a:prstGeom prst="rect">
                  <a:avLst/>
                </a:prstGeom>
              </p:spPr>
            </p:pic>
            <p:sp>
              <p:nvSpPr>
                <p:cNvPr id="107" name="TextBox 106">
                  <a:extLst>
                    <a:ext uri="{FF2B5EF4-FFF2-40B4-BE49-F238E27FC236}">
                      <a16:creationId xmlns:a16="http://schemas.microsoft.com/office/drawing/2014/main" id="{562857C1-DA49-9C40-876C-CE3E7A60A30D}"/>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08" name="Picture 107">
                  <a:extLst>
                    <a:ext uri="{FF2B5EF4-FFF2-40B4-BE49-F238E27FC236}">
                      <a16:creationId xmlns:a16="http://schemas.microsoft.com/office/drawing/2014/main" id="{4959277C-CED2-434C-88B2-9FAA87DF5D1D}"/>
                    </a:ext>
                  </a:extLst>
                </p:cNvPr>
                <p:cNvPicPr>
                  <a:picLocks noChangeAspect="1"/>
                </p:cNvPicPr>
                <p:nvPr userDrawn="1"/>
              </p:nvPicPr>
              <p:blipFill rotWithShape="1">
                <a:blip r:embed="rId5"/>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96" name="Group 95">
                <a:extLst>
                  <a:ext uri="{FF2B5EF4-FFF2-40B4-BE49-F238E27FC236}">
                    <a16:creationId xmlns:a16="http://schemas.microsoft.com/office/drawing/2014/main" id="{141A0029-6405-3B4B-83F9-A4F9A487D704}"/>
                  </a:ext>
                </a:extLst>
              </p:cNvPr>
              <p:cNvGrpSpPr/>
              <p:nvPr userDrawn="1"/>
            </p:nvGrpSpPr>
            <p:grpSpPr>
              <a:xfrm>
                <a:off x="9266651" y="510458"/>
                <a:ext cx="2617883" cy="651460"/>
                <a:chOff x="12352022" y="513115"/>
                <a:chExt cx="2617883" cy="651460"/>
              </a:xfrm>
            </p:grpSpPr>
            <p:sp>
              <p:nvSpPr>
                <p:cNvPr id="101" name="TextBox 100">
                  <a:extLst>
                    <a:ext uri="{FF2B5EF4-FFF2-40B4-BE49-F238E27FC236}">
                      <a16:creationId xmlns:a16="http://schemas.microsoft.com/office/drawing/2014/main" id="{A178244F-2239-7745-B8B4-292832D49736}"/>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02" name="TextBox 101">
                  <a:extLst>
                    <a:ext uri="{FF2B5EF4-FFF2-40B4-BE49-F238E27FC236}">
                      <a16:creationId xmlns:a16="http://schemas.microsoft.com/office/drawing/2014/main" id="{01E5AD18-29D7-DA40-B00E-DAAB91464CDE}"/>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03" name="TextBox 102">
                  <a:extLst>
                    <a:ext uri="{FF2B5EF4-FFF2-40B4-BE49-F238E27FC236}">
                      <a16:creationId xmlns:a16="http://schemas.microsoft.com/office/drawing/2014/main" id="{C19C5FDC-EF08-4D4F-B09B-D904B9D740FB}"/>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97" name="TextBox 96">
                <a:extLst>
                  <a:ext uri="{FF2B5EF4-FFF2-40B4-BE49-F238E27FC236}">
                    <a16:creationId xmlns:a16="http://schemas.microsoft.com/office/drawing/2014/main" id="{797082B9-EF68-E740-B2D3-2495F712D156}"/>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98" name="TextBox 97">
                <a:extLst>
                  <a:ext uri="{FF2B5EF4-FFF2-40B4-BE49-F238E27FC236}">
                    <a16:creationId xmlns:a16="http://schemas.microsoft.com/office/drawing/2014/main" id="{E7FF31FB-D280-A342-A9A6-BDF19D46ACE5}"/>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99" name="TextBox 98">
                <a:extLst>
                  <a:ext uri="{FF2B5EF4-FFF2-40B4-BE49-F238E27FC236}">
                    <a16:creationId xmlns:a16="http://schemas.microsoft.com/office/drawing/2014/main" id="{383A2422-39E9-674D-B3BB-200CCA34A58D}"/>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00" name="TextBox 99">
                <a:extLst>
                  <a:ext uri="{FF2B5EF4-FFF2-40B4-BE49-F238E27FC236}">
                    <a16:creationId xmlns:a16="http://schemas.microsoft.com/office/drawing/2014/main" id="{36B72675-39F1-A14B-907E-15B0263BADC8}"/>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160495177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Plain)">
    <p:bg>
      <p:bgPr>
        <a:solidFill>
          <a:schemeClr val="bg1"/>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7FB454B8-622E-D643-B38F-8FBBFCD62ABD}"/>
              </a:ext>
            </a:extLst>
          </p:cNvPr>
          <p:cNvSpPr/>
          <p:nvPr userDrawn="1"/>
        </p:nvSpPr>
        <p:spPr>
          <a:xfrm flipH="1">
            <a:off x="2490" y="2171627"/>
            <a:ext cx="11707575" cy="1815552"/>
          </a:xfrm>
          <a:custGeom>
            <a:avLst/>
            <a:gdLst>
              <a:gd name="connsiteX0" fmla="*/ 8780681 w 8780681"/>
              <a:gd name="connsiteY0" fmla="*/ 0 h 1815552"/>
              <a:gd name="connsiteX1" fmla="*/ 861570 w 8780681"/>
              <a:gd name="connsiteY1" fmla="*/ 0 h 1815552"/>
              <a:gd name="connsiteX2" fmla="*/ 0 w 8780681"/>
              <a:gd name="connsiteY2" fmla="*/ 1815552 h 1815552"/>
              <a:gd name="connsiteX3" fmla="*/ 8780681 w 8780681"/>
              <a:gd name="connsiteY3" fmla="*/ 1815552 h 1815552"/>
            </a:gdLst>
            <a:ahLst/>
            <a:cxnLst>
              <a:cxn ang="0">
                <a:pos x="connsiteX0" y="connsiteY0"/>
              </a:cxn>
              <a:cxn ang="0">
                <a:pos x="connsiteX1" y="connsiteY1"/>
              </a:cxn>
              <a:cxn ang="0">
                <a:pos x="connsiteX2" y="connsiteY2"/>
              </a:cxn>
              <a:cxn ang="0">
                <a:pos x="connsiteX3" y="connsiteY3"/>
              </a:cxn>
            </a:cxnLst>
            <a:rect l="l" t="t" r="r" b="b"/>
            <a:pathLst>
              <a:path w="8780681" h="1815552">
                <a:moveTo>
                  <a:pt x="8780681" y="0"/>
                </a:moveTo>
                <a:lnTo>
                  <a:pt x="861570" y="0"/>
                </a:lnTo>
                <a:lnTo>
                  <a:pt x="0" y="1815552"/>
                </a:lnTo>
                <a:lnTo>
                  <a:pt x="8780681" y="1815552"/>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a:p>
        </p:txBody>
      </p:sp>
      <p:sp>
        <p:nvSpPr>
          <p:cNvPr id="12" name="Freeform 11">
            <a:extLst>
              <a:ext uri="{FF2B5EF4-FFF2-40B4-BE49-F238E27FC236}">
                <a16:creationId xmlns:a16="http://schemas.microsoft.com/office/drawing/2014/main" id="{A7DAA80D-E5FC-834A-808A-ED4B4782F280}"/>
              </a:ext>
            </a:extLst>
          </p:cNvPr>
          <p:cNvSpPr/>
          <p:nvPr userDrawn="1"/>
        </p:nvSpPr>
        <p:spPr>
          <a:xfrm flipH="1">
            <a:off x="0" y="6029562"/>
            <a:ext cx="9041763"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a:p>
        </p:txBody>
      </p:sp>
      <p:sp>
        <p:nvSpPr>
          <p:cNvPr id="8" name="Title 7">
            <a:extLst>
              <a:ext uri="{FF2B5EF4-FFF2-40B4-BE49-F238E27FC236}">
                <a16:creationId xmlns:a16="http://schemas.microsoft.com/office/drawing/2014/main" id="{9428846E-90EC-CF46-BA3C-6E7E7F9A659E}"/>
              </a:ext>
            </a:extLst>
          </p:cNvPr>
          <p:cNvSpPr>
            <a:spLocks noGrp="1"/>
          </p:cNvSpPr>
          <p:nvPr>
            <p:ph type="title" hasCustomPrompt="1"/>
          </p:nvPr>
        </p:nvSpPr>
        <p:spPr>
          <a:xfrm>
            <a:off x="575734" y="2357718"/>
            <a:ext cx="9993969" cy="1443370"/>
          </a:xfrm>
        </p:spPr>
        <p:txBody>
          <a:bodyPr anchor="ctr"/>
          <a:lstStyle>
            <a:lvl1pPr>
              <a:defRPr sz="3600"/>
            </a:lvl1pPr>
          </a:lstStyle>
          <a:p>
            <a:pPr lvl="0"/>
            <a:r>
              <a:rPr lang="en-US" dirty="0"/>
              <a:t>CLICK TO EDIT PRESENTATION TITLE. ALL CAPS. TWO LINES.</a:t>
            </a:r>
          </a:p>
        </p:txBody>
      </p:sp>
      <p:grpSp>
        <p:nvGrpSpPr>
          <p:cNvPr id="9" name="Group 8">
            <a:extLst>
              <a:ext uri="{FF2B5EF4-FFF2-40B4-BE49-F238E27FC236}">
                <a16:creationId xmlns:a16="http://schemas.microsoft.com/office/drawing/2014/main" id="{3F8990A5-0ABE-6D46-9F28-E80369FD7B27}"/>
              </a:ext>
            </a:extLst>
          </p:cNvPr>
          <p:cNvGrpSpPr/>
          <p:nvPr userDrawn="1"/>
        </p:nvGrpSpPr>
        <p:grpSpPr>
          <a:xfrm>
            <a:off x="-342618" y="2662813"/>
            <a:ext cx="335281" cy="803868"/>
            <a:chOff x="-256404" y="360363"/>
            <a:chExt cx="251461" cy="692152"/>
          </a:xfrm>
        </p:grpSpPr>
        <p:grpSp>
          <p:nvGrpSpPr>
            <p:cNvPr id="11" name="Group 10">
              <a:extLst>
                <a:ext uri="{FF2B5EF4-FFF2-40B4-BE49-F238E27FC236}">
                  <a16:creationId xmlns:a16="http://schemas.microsoft.com/office/drawing/2014/main" id="{C06C7E69-FE02-E149-8BB5-434392A5681B}"/>
                </a:ext>
              </a:extLst>
            </p:cNvPr>
            <p:cNvGrpSpPr/>
            <p:nvPr userDrawn="1"/>
          </p:nvGrpSpPr>
          <p:grpSpPr>
            <a:xfrm rot="16200000">
              <a:off x="-476749" y="580708"/>
              <a:ext cx="692152" cy="251461"/>
              <a:chOff x="431800" y="-235792"/>
              <a:chExt cx="4400551" cy="235792"/>
            </a:xfrm>
          </p:grpSpPr>
          <p:cxnSp>
            <p:nvCxnSpPr>
              <p:cNvPr id="14" name="Straight Connector 13">
                <a:extLst>
                  <a:ext uri="{FF2B5EF4-FFF2-40B4-BE49-F238E27FC236}">
                    <a16:creationId xmlns:a16="http://schemas.microsoft.com/office/drawing/2014/main" id="{82F7D333-4D72-0B45-8D5E-E052DE17B4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BFE8D9F-D9D1-7446-8D2B-391634400FC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0647C002-34D7-E549-BD63-5A83EC7E36C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13" name="TextBox 12">
              <a:extLst>
                <a:ext uri="{FF2B5EF4-FFF2-40B4-BE49-F238E27FC236}">
                  <a16:creationId xmlns:a16="http://schemas.microsoft.com/office/drawing/2014/main" id="{DA3789A9-A137-3A4B-87B9-41698E91325A}"/>
                </a:ext>
              </a:extLst>
            </p:cNvPr>
            <p:cNvSpPr txBox="1"/>
            <p:nvPr userDrawn="1"/>
          </p:nvSpPr>
          <p:spPr>
            <a:xfrm rot="16200000">
              <a:off x="-235571" y="662665"/>
              <a:ext cx="209794" cy="8079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8" name="Group 17">
            <a:extLst>
              <a:ext uri="{FF2B5EF4-FFF2-40B4-BE49-F238E27FC236}">
                <a16:creationId xmlns:a16="http://schemas.microsoft.com/office/drawing/2014/main" id="{9F586333-824B-794D-AA8F-3C6BE5F1C65F}"/>
              </a:ext>
            </a:extLst>
          </p:cNvPr>
          <p:cNvGrpSpPr/>
          <p:nvPr userDrawn="1"/>
        </p:nvGrpSpPr>
        <p:grpSpPr>
          <a:xfrm>
            <a:off x="-342618" y="6029561"/>
            <a:ext cx="335281" cy="414972"/>
            <a:chOff x="-256404" y="360363"/>
            <a:chExt cx="251461" cy="692152"/>
          </a:xfrm>
        </p:grpSpPr>
        <p:grpSp>
          <p:nvGrpSpPr>
            <p:cNvPr id="19" name="Group 18">
              <a:extLst>
                <a:ext uri="{FF2B5EF4-FFF2-40B4-BE49-F238E27FC236}">
                  <a16:creationId xmlns:a16="http://schemas.microsoft.com/office/drawing/2014/main" id="{A6495F36-0325-BD46-AEAC-EFD96052E078}"/>
                </a:ext>
              </a:extLst>
            </p:cNvPr>
            <p:cNvGrpSpPr/>
            <p:nvPr userDrawn="1"/>
          </p:nvGrpSpPr>
          <p:grpSpPr>
            <a:xfrm rot="16200000">
              <a:off x="-476749" y="580708"/>
              <a:ext cx="692152" cy="251461"/>
              <a:chOff x="431800" y="-235792"/>
              <a:chExt cx="4400551" cy="235792"/>
            </a:xfrm>
          </p:grpSpPr>
          <p:cxnSp>
            <p:nvCxnSpPr>
              <p:cNvPr id="21" name="Straight Connector 20">
                <a:extLst>
                  <a:ext uri="{FF2B5EF4-FFF2-40B4-BE49-F238E27FC236}">
                    <a16:creationId xmlns:a16="http://schemas.microsoft.com/office/drawing/2014/main" id="{BCB0A2ED-696C-614E-B833-27629591344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D5C0D5A-FDE9-F944-909A-630F0DA12F1A}"/>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49102644-5D60-EE47-9759-33BE1EBA9F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20" name="TextBox 19">
              <a:extLst>
                <a:ext uri="{FF2B5EF4-FFF2-40B4-BE49-F238E27FC236}">
                  <a16:creationId xmlns:a16="http://schemas.microsoft.com/office/drawing/2014/main" id="{24E28546-B774-3A40-B34C-AAF59ECF1BD9}"/>
                </a:ext>
              </a:extLst>
            </p:cNvPr>
            <p:cNvSpPr txBox="1"/>
            <p:nvPr userDrawn="1"/>
          </p:nvSpPr>
          <p:spPr>
            <a:xfrm rot="16200000">
              <a:off x="-328529" y="662664"/>
              <a:ext cx="395711" cy="8079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24" name="Text Placeholder 2">
            <a:extLst>
              <a:ext uri="{FF2B5EF4-FFF2-40B4-BE49-F238E27FC236}">
                <a16:creationId xmlns:a16="http://schemas.microsoft.com/office/drawing/2014/main" id="{740F04A0-110C-5F42-B566-20EA7EADEBC3}"/>
              </a:ext>
            </a:extLst>
          </p:cNvPr>
          <p:cNvSpPr>
            <a:spLocks noGrp="1"/>
          </p:cNvSpPr>
          <p:nvPr>
            <p:ph type="body" sz="quarter" idx="26" hasCustomPrompt="1"/>
          </p:nvPr>
        </p:nvSpPr>
        <p:spPr>
          <a:xfrm>
            <a:off x="601136" y="6061209"/>
            <a:ext cx="4417905"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dirty="0"/>
              <a:t>Click to add date (Month DD, YYYY)</a:t>
            </a:r>
          </a:p>
        </p:txBody>
      </p:sp>
      <p:pic>
        <p:nvPicPr>
          <p:cNvPr id="25" name="Picture 24">
            <a:extLst>
              <a:ext uri="{FF2B5EF4-FFF2-40B4-BE49-F238E27FC236}">
                <a16:creationId xmlns:a16="http://schemas.microsoft.com/office/drawing/2014/main" id="{26ADBFE0-0C84-2E44-AD3F-2FE877CA00F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02926" y="6070430"/>
            <a:ext cx="2132663" cy="329184"/>
          </a:xfrm>
          <a:prstGeom prst="rect">
            <a:avLst/>
          </a:prstGeom>
        </p:spPr>
      </p:pic>
    </p:spTree>
    <p:extLst>
      <p:ext uri="{BB962C8B-B14F-4D97-AF65-F5344CB8AC3E}">
        <p14:creationId xmlns:p14="http://schemas.microsoft.com/office/powerpoint/2010/main" val="351390250"/>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oC Agenda (8)">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68F4D58A-AA20-5048-8BA0-DD35FBF502B9}"/>
              </a:ext>
            </a:extLst>
          </p:cNvPr>
          <p:cNvSpPr/>
          <p:nvPr userDrawn="1"/>
        </p:nvSpPr>
        <p:spPr>
          <a:xfrm>
            <a:off x="0" y="614023"/>
            <a:ext cx="12192000" cy="6192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nvGrpSpPr>
          <p:cNvPr id="5" name="Group 4">
            <a:extLst>
              <a:ext uri="{FF2B5EF4-FFF2-40B4-BE49-F238E27FC236}">
                <a16:creationId xmlns:a16="http://schemas.microsoft.com/office/drawing/2014/main" id="{4E73969A-3A18-3447-B258-F387FB6CF9F1}"/>
              </a:ext>
            </a:extLst>
          </p:cNvPr>
          <p:cNvGrpSpPr/>
          <p:nvPr userDrawn="1"/>
        </p:nvGrpSpPr>
        <p:grpSpPr>
          <a:xfrm>
            <a:off x="12532243" y="-1"/>
            <a:ext cx="3836621" cy="8631622"/>
            <a:chOff x="9399182" y="-1"/>
            <a:chExt cx="2877466" cy="8631622"/>
          </a:xfrm>
        </p:grpSpPr>
        <p:sp>
          <p:nvSpPr>
            <p:cNvPr id="189" name="Rectangle 188">
              <a:extLst>
                <a:ext uri="{FF2B5EF4-FFF2-40B4-BE49-F238E27FC236}">
                  <a16:creationId xmlns:a16="http://schemas.microsoft.com/office/drawing/2014/main" id="{92729CBC-BDE5-8E45-A6BE-AE71C1B381A0}"/>
                </a:ext>
              </a:extLst>
            </p:cNvPr>
            <p:cNvSpPr/>
            <p:nvPr userDrawn="1"/>
          </p:nvSpPr>
          <p:spPr>
            <a:xfrm>
              <a:off x="9399182" y="-1"/>
              <a:ext cx="2798651" cy="84963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90" name="TextBox 189">
              <a:extLst>
                <a:ext uri="{FF2B5EF4-FFF2-40B4-BE49-F238E27FC236}">
                  <a16:creationId xmlns:a16="http://schemas.microsoft.com/office/drawing/2014/main" id="{F671A5E8-36A2-FB45-ADCA-9DAD0E120E46}"/>
                </a:ext>
              </a:extLst>
            </p:cNvPr>
            <p:cNvSpPr txBox="1">
              <a:spLocks noChangeAspect="1"/>
            </p:cNvSpPr>
            <p:nvPr userDrawn="1"/>
          </p:nvSpPr>
          <p:spPr>
            <a:xfrm>
              <a:off x="9521833" y="16103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91" name="TextBox 190">
              <a:extLst>
                <a:ext uri="{FF2B5EF4-FFF2-40B4-BE49-F238E27FC236}">
                  <a16:creationId xmlns:a16="http://schemas.microsoft.com/office/drawing/2014/main" id="{E301719B-2C9D-8E44-AE65-E00544489754}"/>
                </a:ext>
              </a:extLst>
            </p:cNvPr>
            <p:cNvSpPr txBox="1">
              <a:spLocks noChangeAspect="1"/>
            </p:cNvSpPr>
            <p:nvPr userDrawn="1"/>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92" name="TextBox 191">
              <a:extLst>
                <a:ext uri="{FF2B5EF4-FFF2-40B4-BE49-F238E27FC236}">
                  <a16:creationId xmlns:a16="http://schemas.microsoft.com/office/drawing/2014/main" id="{CED24EBF-9DBE-B34E-81D8-A373E4BBB1F9}"/>
                </a:ext>
              </a:extLst>
            </p:cNvPr>
            <p:cNvSpPr txBox="1">
              <a:spLocks noChangeAspect="1"/>
            </p:cNvSpPr>
            <p:nvPr userDrawn="1"/>
          </p:nvSpPr>
          <p:spPr>
            <a:xfrm>
              <a:off x="9521833" y="11390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93" name="TextBox 192">
              <a:extLst>
                <a:ext uri="{FF2B5EF4-FFF2-40B4-BE49-F238E27FC236}">
                  <a16:creationId xmlns:a16="http://schemas.microsoft.com/office/drawing/2014/main" id="{A46F68BB-A3E6-B246-94E8-AF74AACEF49A}"/>
                </a:ext>
              </a:extLst>
            </p:cNvPr>
            <p:cNvSpPr txBox="1"/>
            <p:nvPr userDrawn="1"/>
          </p:nvSpPr>
          <p:spPr>
            <a:xfrm>
              <a:off x="9686426" y="513115"/>
              <a:ext cx="2425134" cy="31085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Aft>
                  <a:spcPts val="0"/>
                </a:spcAft>
              </a:pPr>
              <a:r>
                <a:rPr lang="en-US" sz="1050" dirty="0"/>
                <a:t>Enter up to 8 agenda items and their page numbers. </a:t>
              </a:r>
            </a:p>
            <a:p>
              <a:pPr lvl="2"/>
              <a:r>
                <a:rPr lang="en-US" sz="800" dirty="0"/>
                <a:t>Switch to the 14-item agenda if you need more. </a:t>
              </a:r>
            </a:p>
          </p:txBody>
        </p:sp>
        <p:sp>
          <p:nvSpPr>
            <p:cNvPr id="194" name="TextBox 193">
              <a:extLst>
                <a:ext uri="{FF2B5EF4-FFF2-40B4-BE49-F238E27FC236}">
                  <a16:creationId xmlns:a16="http://schemas.microsoft.com/office/drawing/2014/main" id="{FBB8C002-902E-6D47-BE1D-BF8509A004AD}"/>
                </a:ext>
              </a:extLst>
            </p:cNvPr>
            <p:cNvSpPr txBox="1"/>
            <p:nvPr userDrawn="1"/>
          </p:nvSpPr>
          <p:spPr>
            <a:xfrm>
              <a:off x="9558507" y="150290"/>
              <a:ext cx="140062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USE THE AGENDA</a:t>
              </a:r>
            </a:p>
          </p:txBody>
        </p:sp>
        <p:cxnSp>
          <p:nvCxnSpPr>
            <p:cNvPr id="195" name="Straight Connector 194">
              <a:extLst>
                <a:ext uri="{FF2B5EF4-FFF2-40B4-BE49-F238E27FC236}">
                  <a16:creationId xmlns:a16="http://schemas.microsoft.com/office/drawing/2014/main" id="{FE4B0B2B-3980-FB4D-8093-0BAB12D53E52}"/>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96" name="Group 195">
              <a:extLst>
                <a:ext uri="{FF2B5EF4-FFF2-40B4-BE49-F238E27FC236}">
                  <a16:creationId xmlns:a16="http://schemas.microsoft.com/office/drawing/2014/main" id="{D9DE41DC-3B7A-854E-AC16-134271A7396F}"/>
                </a:ext>
              </a:extLst>
            </p:cNvPr>
            <p:cNvGrpSpPr/>
            <p:nvPr userDrawn="1"/>
          </p:nvGrpSpPr>
          <p:grpSpPr>
            <a:xfrm>
              <a:off x="9541497" y="5505499"/>
              <a:ext cx="2735151" cy="919215"/>
              <a:chOff x="9296567" y="4150379"/>
              <a:chExt cx="2735151" cy="919215"/>
            </a:xfrm>
          </p:grpSpPr>
          <p:grpSp>
            <p:nvGrpSpPr>
              <p:cNvPr id="226" name="Group 225">
                <a:extLst>
                  <a:ext uri="{FF2B5EF4-FFF2-40B4-BE49-F238E27FC236}">
                    <a16:creationId xmlns:a16="http://schemas.microsoft.com/office/drawing/2014/main" id="{4A8E7230-F371-9049-8785-A042CADC0F97}"/>
                  </a:ext>
                </a:extLst>
              </p:cNvPr>
              <p:cNvGrpSpPr/>
              <p:nvPr userDrawn="1"/>
            </p:nvGrpSpPr>
            <p:grpSpPr>
              <a:xfrm>
                <a:off x="9296567" y="4150379"/>
                <a:ext cx="2735151" cy="919215"/>
                <a:chOff x="9296567" y="5817858"/>
                <a:chExt cx="2735151" cy="919215"/>
              </a:xfrm>
            </p:grpSpPr>
            <p:sp>
              <p:nvSpPr>
                <p:cNvPr id="228" name="Rectangle 227">
                  <a:extLst>
                    <a:ext uri="{FF2B5EF4-FFF2-40B4-BE49-F238E27FC236}">
                      <a16:creationId xmlns:a16="http://schemas.microsoft.com/office/drawing/2014/main" id="{4E2ECAE9-6825-6344-A33D-8F33A0FBEBA3}"/>
                    </a:ext>
                  </a:extLst>
                </p:cNvPr>
                <p:cNvSpPr/>
                <p:nvPr userDrawn="1"/>
              </p:nvSpPr>
              <p:spPr>
                <a:xfrm>
                  <a:off x="9296567" y="5817858"/>
                  <a:ext cx="2733136" cy="919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29" name="TextBox 228">
                  <a:extLst>
                    <a:ext uri="{FF2B5EF4-FFF2-40B4-BE49-F238E27FC236}">
                      <a16:creationId xmlns:a16="http://schemas.microsoft.com/office/drawing/2014/main" id="{A8170A63-20B8-C340-A8F1-D6D360C94661}"/>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set Placeholders</a:t>
                  </a:r>
                </a:p>
              </p:txBody>
            </p:sp>
            <p:pic>
              <p:nvPicPr>
                <p:cNvPr id="230" name="Graphic 229">
                  <a:extLst>
                    <a:ext uri="{FF2B5EF4-FFF2-40B4-BE49-F238E27FC236}">
                      <a16:creationId xmlns:a16="http://schemas.microsoft.com/office/drawing/2014/main" id="{23CD0419-FDFB-0249-BAA8-77ADB9197D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231" name="TextBox 230">
                  <a:extLst>
                    <a:ext uri="{FF2B5EF4-FFF2-40B4-BE49-F238E27FC236}">
                      <a16:creationId xmlns:a16="http://schemas.microsoft.com/office/drawing/2014/main" id="{2A9D487E-DB19-7741-BCD6-CC6ADA5A5D0E}"/>
                    </a:ext>
                  </a:extLst>
                </p:cNvPr>
                <p:cNvSpPr txBox="1"/>
                <p:nvPr userDrawn="1"/>
              </p:nvSpPr>
              <p:spPr>
                <a:xfrm>
                  <a:off x="9471805" y="6169594"/>
                  <a:ext cx="2491595" cy="441146"/>
                </a:xfrm>
                <a:prstGeom prst="rect">
                  <a:avLst/>
                </a:prstGeom>
              </p:spPr>
              <p:txBody>
                <a:bodyPr vert="horz" wrap="square" lIns="0" tIns="0" rIns="0" bIns="0" rtlCol="0" anchor="t">
                  <a:spAutoFit/>
                </a:bodyPr>
                <a:lstStyle/>
                <a:p>
                  <a:pPr algn="l">
                    <a:spcBef>
                      <a:spcPts val="200"/>
                    </a:spcBef>
                  </a:pPr>
                  <a:r>
                    <a:rPr lang="en-US" sz="900" dirty="0">
                      <a:solidFill>
                        <a:schemeClr val="tx1">
                          <a:lumMod val="50000"/>
                          <a:lumOff val="50000"/>
                        </a:schemeClr>
                      </a:solidFill>
                      <a:latin typeface="Arial" charset="0"/>
                      <a:ea typeface="Arial" charset="0"/>
                      <a:cs typeface="Arial" charset="0"/>
                    </a:rPr>
                    <a:t>Press the Reset (            ) button to bring back placeholders you have deleted if you need them. </a:t>
                  </a:r>
                </a:p>
                <a:p>
                  <a:pPr algn="l">
                    <a:spcBef>
                      <a:spcPts val="200"/>
                    </a:spcBef>
                  </a:pPr>
                  <a:r>
                    <a:rPr lang="en-US" sz="900" dirty="0">
                      <a:solidFill>
                        <a:schemeClr val="tx1">
                          <a:lumMod val="50000"/>
                          <a:lumOff val="50000"/>
                        </a:schemeClr>
                      </a:solidFill>
                      <a:latin typeface="Arial" charset="0"/>
                      <a:ea typeface="Arial" charset="0"/>
                      <a:cs typeface="Arial" charset="0"/>
                    </a:rPr>
                    <a:t>Note: this will also remove your item highlight.</a:t>
                  </a:r>
                </a:p>
              </p:txBody>
            </p:sp>
          </p:grpSp>
          <p:pic>
            <p:nvPicPr>
              <p:cNvPr id="227" name="Picture 226">
                <a:extLst>
                  <a:ext uri="{FF2B5EF4-FFF2-40B4-BE49-F238E27FC236}">
                    <a16:creationId xmlns:a16="http://schemas.microsoft.com/office/drawing/2014/main" id="{F3FDF710-03B9-F349-9989-8CC152E1DAF4}"/>
                  </a:ext>
                </a:extLst>
              </p:cNvPr>
              <p:cNvPicPr>
                <a:picLocks noChangeAspect="1"/>
              </p:cNvPicPr>
              <p:nvPr userDrawn="1"/>
            </p:nvPicPr>
            <p:blipFill rotWithShape="1">
              <a:blip r:embed="rId5"/>
              <a:srcRect t="-7688" r="11531" b="-1"/>
              <a:stretch/>
            </p:blipFill>
            <p:spPr>
              <a:xfrm>
                <a:off x="10368085" y="4507363"/>
                <a:ext cx="346954" cy="130863"/>
              </a:xfrm>
              <a:prstGeom prst="rect">
                <a:avLst/>
              </a:prstGeom>
            </p:spPr>
          </p:pic>
        </p:grpSp>
        <p:sp>
          <p:nvSpPr>
            <p:cNvPr id="197" name="TextBox 196">
              <a:extLst>
                <a:ext uri="{FF2B5EF4-FFF2-40B4-BE49-F238E27FC236}">
                  <a16:creationId xmlns:a16="http://schemas.microsoft.com/office/drawing/2014/main" id="{4142786A-0A63-4E4F-93C7-691F14EE0537}"/>
                </a:ext>
              </a:extLst>
            </p:cNvPr>
            <p:cNvSpPr txBox="1"/>
            <p:nvPr/>
          </p:nvSpPr>
          <p:spPr>
            <a:xfrm>
              <a:off x="9686426" y="1588873"/>
              <a:ext cx="2284506"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sz="1050" dirty="0"/>
                <a:t>Highlight the current item title and page number as follows:</a:t>
              </a:r>
            </a:p>
          </p:txBody>
        </p:sp>
        <p:sp>
          <p:nvSpPr>
            <p:cNvPr id="198" name="TextBox 197">
              <a:extLst>
                <a:ext uri="{FF2B5EF4-FFF2-40B4-BE49-F238E27FC236}">
                  <a16:creationId xmlns:a16="http://schemas.microsoft.com/office/drawing/2014/main" id="{07152F3A-AA58-A84A-9EB7-FBD519281D97}"/>
                </a:ext>
              </a:extLst>
            </p:cNvPr>
            <p:cNvSpPr txBox="1"/>
            <p:nvPr/>
          </p:nvSpPr>
          <p:spPr>
            <a:xfrm>
              <a:off x="9686426" y="1111528"/>
              <a:ext cx="2425134"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sz="1050" dirty="0"/>
                <a:t>Select and delete any unused item placeholders to remove the lines.</a:t>
              </a:r>
            </a:p>
          </p:txBody>
        </p:sp>
        <p:sp>
          <p:nvSpPr>
            <p:cNvPr id="199" name="TextBox 198">
              <a:extLst>
                <a:ext uri="{FF2B5EF4-FFF2-40B4-BE49-F238E27FC236}">
                  <a16:creationId xmlns:a16="http://schemas.microsoft.com/office/drawing/2014/main" id="{F9F2552A-118B-6B4D-96D5-DD7E30384C0A}"/>
                </a:ext>
              </a:extLst>
            </p:cNvPr>
            <p:cNvSpPr txBox="1"/>
            <p:nvPr/>
          </p:nvSpPr>
          <p:spPr>
            <a:xfrm>
              <a:off x="9694073" y="2789000"/>
              <a:ext cx="2269212"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e entire element is selected—it won’t work correctly if you have your cursor in the text.</a:t>
              </a:r>
            </a:p>
          </p:txBody>
        </p:sp>
        <p:sp>
          <p:nvSpPr>
            <p:cNvPr id="200" name="TextBox 199">
              <a:extLst>
                <a:ext uri="{FF2B5EF4-FFF2-40B4-BE49-F238E27FC236}">
                  <a16:creationId xmlns:a16="http://schemas.microsoft.com/office/drawing/2014/main" id="{32F571D5-4F36-EC49-8A09-B4D4A0958C3F}"/>
                </a:ext>
              </a:extLst>
            </p:cNvPr>
            <p:cNvSpPr txBox="1"/>
            <p:nvPr/>
          </p:nvSpPr>
          <p:spPr>
            <a:xfrm>
              <a:off x="9686426" y="5004333"/>
              <a:ext cx="212642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dirty="0"/>
                <a:t>Click anywhere on the page number of current agenda item (on the text works here) to apply the highlight style.</a:t>
              </a:r>
            </a:p>
          </p:txBody>
        </p:sp>
        <p:sp>
          <p:nvSpPr>
            <p:cNvPr id="201" name="Rectangle 200">
              <a:extLst>
                <a:ext uri="{FF2B5EF4-FFF2-40B4-BE49-F238E27FC236}">
                  <a16:creationId xmlns:a16="http://schemas.microsoft.com/office/drawing/2014/main" id="{6DD556FA-E7AC-9148-B57F-E293EE977EBE}"/>
                </a:ext>
              </a:extLst>
            </p:cNvPr>
            <p:cNvSpPr/>
            <p:nvPr/>
          </p:nvSpPr>
          <p:spPr>
            <a:xfrm>
              <a:off x="9686427" y="234797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nvGrpSpPr>
            <p:cNvPr id="202" name="Group 201">
              <a:extLst>
                <a:ext uri="{FF2B5EF4-FFF2-40B4-BE49-F238E27FC236}">
                  <a16:creationId xmlns:a16="http://schemas.microsoft.com/office/drawing/2014/main" id="{ADEE7DA1-1F48-384F-89D9-9DA13F350772}"/>
                </a:ext>
              </a:extLst>
            </p:cNvPr>
            <p:cNvGrpSpPr/>
            <p:nvPr/>
          </p:nvGrpSpPr>
          <p:grpSpPr>
            <a:xfrm>
              <a:off x="9686426" y="3062499"/>
              <a:ext cx="2284506" cy="249299"/>
              <a:chOff x="9431244" y="2862535"/>
              <a:chExt cx="2284506" cy="249299"/>
            </a:xfrm>
          </p:grpSpPr>
          <p:pic>
            <p:nvPicPr>
              <p:cNvPr id="224" name="Picture 223">
                <a:extLst>
                  <a:ext uri="{FF2B5EF4-FFF2-40B4-BE49-F238E27FC236}">
                    <a16:creationId xmlns:a16="http://schemas.microsoft.com/office/drawing/2014/main" id="{3ACC768F-04E3-A840-822B-D1EFB3C9876B}"/>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225" name="TextBox 224">
                <a:extLst>
                  <a:ext uri="{FF2B5EF4-FFF2-40B4-BE49-F238E27FC236}">
                    <a16:creationId xmlns:a16="http://schemas.microsoft.com/office/drawing/2014/main" id="{BE88291A-40C1-C145-821D-3DC04F178BCB}"/>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dirty="0"/>
                  <a:t>Click the Format Painter button (           ) to copy the style.</a:t>
                </a:r>
              </a:p>
            </p:txBody>
          </p:sp>
        </p:grpSp>
        <p:sp>
          <p:nvSpPr>
            <p:cNvPr id="203" name="TextBox 202">
              <a:extLst>
                <a:ext uri="{FF2B5EF4-FFF2-40B4-BE49-F238E27FC236}">
                  <a16:creationId xmlns:a16="http://schemas.microsoft.com/office/drawing/2014/main" id="{95654A3A-C98F-2A41-8935-4791ADD47024}"/>
                </a:ext>
              </a:extLst>
            </p:cNvPr>
            <p:cNvSpPr txBox="1"/>
            <p:nvPr/>
          </p:nvSpPr>
          <p:spPr>
            <a:xfrm>
              <a:off x="9686426" y="3363632"/>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dirty="0"/>
                <a:t>Click anywhere on the current agenda item (on the text works here) to apply the highlight style.</a:t>
              </a:r>
            </a:p>
          </p:txBody>
        </p:sp>
        <p:sp>
          <p:nvSpPr>
            <p:cNvPr id="204" name="Rectangle 203">
              <a:extLst>
                <a:ext uri="{FF2B5EF4-FFF2-40B4-BE49-F238E27FC236}">
                  <a16:creationId xmlns:a16="http://schemas.microsoft.com/office/drawing/2014/main" id="{FCEB0B63-DB36-F046-8D85-FA630484DC86}"/>
                </a:ext>
              </a:extLst>
            </p:cNvPr>
            <p:cNvSpPr/>
            <p:nvPr/>
          </p:nvSpPr>
          <p:spPr>
            <a:xfrm>
              <a:off x="9686427" y="420031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sp>
          <p:nvSpPr>
            <p:cNvPr id="205" name="TextBox 204">
              <a:extLst>
                <a:ext uri="{FF2B5EF4-FFF2-40B4-BE49-F238E27FC236}">
                  <a16:creationId xmlns:a16="http://schemas.microsoft.com/office/drawing/2014/main" id="{4B3865E1-B4C1-B040-A27A-1016E8FD7E68}"/>
                </a:ext>
              </a:extLst>
            </p:cNvPr>
            <p:cNvSpPr txBox="1"/>
            <p:nvPr/>
          </p:nvSpPr>
          <p:spPr>
            <a:xfrm>
              <a:off x="9686426" y="4026515"/>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dirty="0"/>
                <a:t>Select the ‘page # style’ element below:</a:t>
              </a:r>
            </a:p>
          </p:txBody>
        </p:sp>
        <p:sp>
          <p:nvSpPr>
            <p:cNvPr id="206" name="TextBox 205">
              <a:extLst>
                <a:ext uri="{FF2B5EF4-FFF2-40B4-BE49-F238E27FC236}">
                  <a16:creationId xmlns:a16="http://schemas.microsoft.com/office/drawing/2014/main" id="{8B769E22-9CB3-1842-AE3D-A38FA4B458F9}"/>
                </a:ext>
              </a:extLst>
            </p:cNvPr>
            <p:cNvSpPr txBox="1"/>
            <p:nvPr/>
          </p:nvSpPr>
          <p:spPr>
            <a:xfrm>
              <a:off x="9686426" y="2184031"/>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dirty="0"/>
                <a:t>Select the ‘title style’ element below:</a:t>
              </a:r>
            </a:p>
          </p:txBody>
        </p:sp>
        <p:sp>
          <p:nvSpPr>
            <p:cNvPr id="207" name="TextBox 206">
              <a:extLst>
                <a:ext uri="{FF2B5EF4-FFF2-40B4-BE49-F238E27FC236}">
                  <a16:creationId xmlns:a16="http://schemas.microsoft.com/office/drawing/2014/main" id="{DEF58FFE-C8BB-A644-814F-B8E499AA1354}"/>
                </a:ext>
              </a:extLst>
            </p:cNvPr>
            <p:cNvSpPr txBox="1"/>
            <p:nvPr/>
          </p:nvSpPr>
          <p:spPr>
            <a:xfrm>
              <a:off x="9686426" y="1990139"/>
              <a:ext cx="587902"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TITLE:</a:t>
              </a:r>
            </a:p>
          </p:txBody>
        </p:sp>
        <p:cxnSp>
          <p:nvCxnSpPr>
            <p:cNvPr id="208" name="Straight Connector 207">
              <a:extLst>
                <a:ext uri="{FF2B5EF4-FFF2-40B4-BE49-F238E27FC236}">
                  <a16:creationId xmlns:a16="http://schemas.microsoft.com/office/drawing/2014/main" id="{E0FD961B-9C6C-C84B-82CA-1AE94D4B142C}"/>
                </a:ext>
              </a:extLst>
            </p:cNvPr>
            <p:cNvCxnSpPr>
              <a:cxnSpLocks/>
            </p:cNvCxnSpPr>
            <p:nvPr/>
          </p:nvCxnSpPr>
          <p:spPr>
            <a:xfrm>
              <a:off x="9679848" y="2113772"/>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09" name="TextBox 208">
              <a:extLst>
                <a:ext uri="{FF2B5EF4-FFF2-40B4-BE49-F238E27FC236}">
                  <a16:creationId xmlns:a16="http://schemas.microsoft.com/office/drawing/2014/main" id="{DFB31B83-EC2B-A841-BEB3-3BA0404E5872}"/>
                </a:ext>
              </a:extLst>
            </p:cNvPr>
            <p:cNvSpPr txBox="1"/>
            <p:nvPr/>
          </p:nvSpPr>
          <p:spPr>
            <a:xfrm>
              <a:off x="9686426" y="3831464"/>
              <a:ext cx="648014"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PAGE #:</a:t>
              </a:r>
            </a:p>
          </p:txBody>
        </p:sp>
        <p:cxnSp>
          <p:nvCxnSpPr>
            <p:cNvPr id="210" name="Straight Connector 209">
              <a:extLst>
                <a:ext uri="{FF2B5EF4-FFF2-40B4-BE49-F238E27FC236}">
                  <a16:creationId xmlns:a16="http://schemas.microsoft.com/office/drawing/2014/main" id="{1CE7C6FE-AAF6-C844-87BE-AF0B8D40B211}"/>
                </a:ext>
              </a:extLst>
            </p:cNvPr>
            <p:cNvCxnSpPr>
              <a:cxnSpLocks/>
            </p:cNvCxnSpPr>
            <p:nvPr/>
          </p:nvCxnSpPr>
          <p:spPr>
            <a:xfrm>
              <a:off x="9679848" y="3955097"/>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11" name="Group 210">
              <a:extLst>
                <a:ext uri="{FF2B5EF4-FFF2-40B4-BE49-F238E27FC236}">
                  <a16:creationId xmlns:a16="http://schemas.microsoft.com/office/drawing/2014/main" id="{6DC53FCD-82B6-7048-9F20-C8BA810B45DB}"/>
                </a:ext>
              </a:extLst>
            </p:cNvPr>
            <p:cNvGrpSpPr/>
            <p:nvPr/>
          </p:nvGrpSpPr>
          <p:grpSpPr>
            <a:xfrm>
              <a:off x="9686426" y="4692069"/>
              <a:ext cx="2284506" cy="249299"/>
              <a:chOff x="9431244" y="2862535"/>
              <a:chExt cx="2284506" cy="249299"/>
            </a:xfrm>
          </p:grpSpPr>
          <p:pic>
            <p:nvPicPr>
              <p:cNvPr id="222" name="Picture 221">
                <a:extLst>
                  <a:ext uri="{FF2B5EF4-FFF2-40B4-BE49-F238E27FC236}">
                    <a16:creationId xmlns:a16="http://schemas.microsoft.com/office/drawing/2014/main" id="{DBD2640C-E387-4844-A244-F11A31D01261}"/>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223" name="TextBox 222">
                <a:extLst>
                  <a:ext uri="{FF2B5EF4-FFF2-40B4-BE49-F238E27FC236}">
                    <a16:creationId xmlns:a16="http://schemas.microsoft.com/office/drawing/2014/main" id="{1183DA2F-9D9A-8D45-9DFA-CF2F6744B28A}"/>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dirty="0"/>
                  <a:t>Click the Format Painter button (           ) to copy the style.</a:t>
                </a:r>
              </a:p>
            </p:txBody>
          </p:sp>
        </p:grpSp>
        <p:grpSp>
          <p:nvGrpSpPr>
            <p:cNvPr id="232" name="Group 231">
              <a:extLst>
                <a:ext uri="{FF2B5EF4-FFF2-40B4-BE49-F238E27FC236}">
                  <a16:creationId xmlns:a16="http://schemas.microsoft.com/office/drawing/2014/main" id="{30958E0C-707E-074A-9E85-1719DD93FE83}"/>
                </a:ext>
              </a:extLst>
            </p:cNvPr>
            <p:cNvGrpSpPr/>
            <p:nvPr userDrawn="1"/>
          </p:nvGrpSpPr>
          <p:grpSpPr>
            <a:xfrm>
              <a:off x="9541497" y="6488937"/>
              <a:ext cx="2735151" cy="2142684"/>
              <a:chOff x="9541497" y="1525267"/>
              <a:chExt cx="2735151" cy="2142684"/>
            </a:xfrm>
          </p:grpSpPr>
          <p:grpSp>
            <p:nvGrpSpPr>
              <p:cNvPr id="233" name="Group 232">
                <a:extLst>
                  <a:ext uri="{FF2B5EF4-FFF2-40B4-BE49-F238E27FC236}">
                    <a16:creationId xmlns:a16="http://schemas.microsoft.com/office/drawing/2014/main" id="{3F659622-D770-FB48-9CA2-36AF35529F6D}"/>
                  </a:ext>
                </a:extLst>
              </p:cNvPr>
              <p:cNvGrpSpPr/>
              <p:nvPr userDrawn="1"/>
            </p:nvGrpSpPr>
            <p:grpSpPr>
              <a:xfrm>
                <a:off x="9541497" y="1525267"/>
                <a:ext cx="2735151" cy="2142684"/>
                <a:chOff x="9296567" y="5817858"/>
                <a:chExt cx="2735151" cy="2142684"/>
              </a:xfrm>
            </p:grpSpPr>
            <p:sp>
              <p:nvSpPr>
                <p:cNvPr id="235" name="Rectangle 234">
                  <a:extLst>
                    <a:ext uri="{FF2B5EF4-FFF2-40B4-BE49-F238E27FC236}">
                      <a16:creationId xmlns:a16="http://schemas.microsoft.com/office/drawing/2014/main" id="{52D66407-36D6-4244-914D-013403C7AC4E}"/>
                    </a:ext>
                  </a:extLst>
                </p:cNvPr>
                <p:cNvSpPr/>
                <p:nvPr userDrawn="1"/>
              </p:nvSpPr>
              <p:spPr>
                <a:xfrm>
                  <a:off x="9296567" y="5817858"/>
                  <a:ext cx="2733136" cy="214268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36" name="TextBox 235">
                  <a:extLst>
                    <a:ext uri="{FF2B5EF4-FFF2-40B4-BE49-F238E27FC236}">
                      <a16:creationId xmlns:a16="http://schemas.microsoft.com/office/drawing/2014/main" id="{ABB6D0F0-0B4F-694F-B630-8A3236A551BC}"/>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Drag-select</a:t>
                  </a:r>
                </a:p>
              </p:txBody>
            </p:sp>
            <p:pic>
              <p:nvPicPr>
                <p:cNvPr id="237" name="Graphic 236">
                  <a:extLst>
                    <a:ext uri="{FF2B5EF4-FFF2-40B4-BE49-F238E27FC236}">
                      <a16:creationId xmlns:a16="http://schemas.microsoft.com/office/drawing/2014/main" id="{186673D5-8245-0F44-9FE3-7768FD6A4C5A}"/>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238" name="TextBox 237">
                  <a:extLst>
                    <a:ext uri="{FF2B5EF4-FFF2-40B4-BE49-F238E27FC236}">
                      <a16:creationId xmlns:a16="http://schemas.microsoft.com/office/drawing/2014/main" id="{A7383FE6-0069-8142-87B1-325CA7B82F11}"/>
                    </a:ext>
                  </a:extLst>
                </p:cNvPr>
                <p:cNvSpPr txBox="1"/>
                <p:nvPr userDrawn="1"/>
              </p:nvSpPr>
              <p:spPr>
                <a:xfrm>
                  <a:off x="9471805" y="6169594"/>
                  <a:ext cx="2444785" cy="138499"/>
                </a:xfrm>
                <a:prstGeom prst="rect">
                  <a:avLst/>
                </a:prstGeom>
              </p:spPr>
              <p:txBody>
                <a:bodyPr vert="horz" wrap="square" lIns="0" tIns="0" rIns="0" bIns="0" rtlCol="0" anchor="t">
                  <a:spAutoFit/>
                </a:bodyPr>
                <a:lstStyle/>
                <a:p>
                  <a:pPr>
                    <a:spcBef>
                      <a:spcPts val="200"/>
                    </a:spcBef>
                  </a:pPr>
                  <a:r>
                    <a:rPr lang="en-US" sz="900" dirty="0">
                      <a:solidFill>
                        <a:schemeClr val="tx1">
                          <a:lumMod val="50000"/>
                          <a:lumOff val="50000"/>
                        </a:schemeClr>
                      </a:solidFill>
                      <a:latin typeface="Arial" charset="0"/>
                      <a:ea typeface="Arial" charset="0"/>
                      <a:cs typeface="Arial" charset="0"/>
                    </a:rPr>
                    <a:t>Easily select multiple placeholders for deletion:</a:t>
                  </a:r>
                </a:p>
              </p:txBody>
            </p:sp>
            <p:sp>
              <p:nvSpPr>
                <p:cNvPr id="239" name="TextBox 238">
                  <a:extLst>
                    <a:ext uri="{FF2B5EF4-FFF2-40B4-BE49-F238E27FC236}">
                      <a16:creationId xmlns:a16="http://schemas.microsoft.com/office/drawing/2014/main" id="{9210F285-B4A2-FC43-BC5B-7EF7D83CDAFB}"/>
                    </a:ext>
                  </a:extLst>
                </p:cNvPr>
                <p:cNvSpPr txBox="1"/>
                <p:nvPr userDrawn="1"/>
              </p:nvSpPr>
              <p:spPr>
                <a:xfrm>
                  <a:off x="9471806" y="6398194"/>
                  <a:ext cx="1174622"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b="1" kern="1200" dirty="0">
                      <a:solidFill>
                        <a:schemeClr val="tx1">
                          <a:lumMod val="50000"/>
                          <a:lumOff val="50000"/>
                        </a:schemeClr>
                      </a:solidFill>
                      <a:latin typeface="Arial" charset="0"/>
                      <a:ea typeface="Arial" charset="0"/>
                      <a:cs typeface="Arial" charset="0"/>
                    </a:rPr>
                    <a:t>Click</a:t>
                  </a:r>
                  <a:r>
                    <a:rPr lang="en-US" sz="900" kern="1200" dirty="0">
                      <a:solidFill>
                        <a:schemeClr val="tx1">
                          <a:lumMod val="50000"/>
                          <a:lumOff val="50000"/>
                        </a:schemeClr>
                      </a:solidFill>
                      <a:latin typeface="Arial" charset="0"/>
                      <a:ea typeface="Arial" charset="0"/>
                      <a:cs typeface="Arial" charset="0"/>
                    </a:rPr>
                    <a:t> above and to the left of the first placeholder you’d like to delete.</a:t>
                  </a:r>
                </a:p>
              </p:txBody>
            </p:sp>
            <p:sp>
              <p:nvSpPr>
                <p:cNvPr id="240" name="TextBox 239">
                  <a:extLst>
                    <a:ext uri="{FF2B5EF4-FFF2-40B4-BE49-F238E27FC236}">
                      <a16:creationId xmlns:a16="http://schemas.microsoft.com/office/drawing/2014/main" id="{EC646126-52E4-C347-AC65-C032199DDAD5}"/>
                    </a:ext>
                  </a:extLst>
                </p:cNvPr>
                <p:cNvSpPr txBox="1"/>
                <p:nvPr userDrawn="1"/>
              </p:nvSpPr>
              <p:spPr>
                <a:xfrm>
                  <a:off x="9471805" y="7426396"/>
                  <a:ext cx="2444785" cy="24929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All the placeholders inside the drag area will now be selected. Press Delete on the keyboard to remove them.</a:t>
                  </a:r>
                </a:p>
              </p:txBody>
            </p:sp>
            <p:sp>
              <p:nvSpPr>
                <p:cNvPr id="241" name="TextBox 240">
                  <a:extLst>
                    <a:ext uri="{FF2B5EF4-FFF2-40B4-BE49-F238E27FC236}">
                      <a16:creationId xmlns:a16="http://schemas.microsoft.com/office/drawing/2014/main" id="{83C0DA68-7210-F344-B933-262216762A61}"/>
                    </a:ext>
                  </a:extLst>
                </p:cNvPr>
                <p:cNvSpPr txBox="1"/>
                <p:nvPr userDrawn="1"/>
              </p:nvSpPr>
              <p:spPr>
                <a:xfrm>
                  <a:off x="9471805" y="6974619"/>
                  <a:ext cx="241440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Then (still holding down the first click) </a:t>
                  </a:r>
                  <a:br>
                    <a:rPr lang="en-US" sz="900" kern="1200" dirty="0">
                      <a:solidFill>
                        <a:schemeClr val="tx1">
                          <a:lumMod val="50000"/>
                          <a:lumOff val="50000"/>
                        </a:schemeClr>
                      </a:solidFill>
                      <a:latin typeface="Arial" charset="0"/>
                      <a:ea typeface="Arial" charset="0"/>
                      <a:cs typeface="Arial" charset="0"/>
                    </a:rPr>
                  </a:br>
                  <a:r>
                    <a:rPr lang="en-US" sz="900" b="1" kern="1200" dirty="0">
                      <a:solidFill>
                        <a:schemeClr val="tx1">
                          <a:lumMod val="50000"/>
                          <a:lumOff val="50000"/>
                        </a:schemeClr>
                      </a:solidFill>
                      <a:latin typeface="Arial" charset="0"/>
                      <a:ea typeface="Arial" charset="0"/>
                      <a:cs typeface="Arial" charset="0"/>
                    </a:rPr>
                    <a:t>drag</a:t>
                  </a:r>
                  <a:r>
                    <a:rPr lang="en-US" sz="900" kern="1200" dirty="0">
                      <a:solidFill>
                        <a:schemeClr val="tx1">
                          <a:lumMod val="50000"/>
                          <a:lumOff val="50000"/>
                        </a:schemeClr>
                      </a:solidFill>
                      <a:latin typeface="Arial" charset="0"/>
                      <a:ea typeface="Arial" charset="0"/>
                      <a:cs typeface="Arial" charset="0"/>
                    </a:rPr>
                    <a:t> the cursor to below and to the right of the last placeholder and </a:t>
                  </a:r>
                  <a:r>
                    <a:rPr lang="en-US" sz="900" b="1" kern="1200" dirty="0">
                      <a:solidFill>
                        <a:schemeClr val="tx1">
                          <a:lumMod val="50000"/>
                          <a:lumOff val="50000"/>
                        </a:schemeClr>
                      </a:solidFill>
                      <a:latin typeface="Arial" charset="0"/>
                      <a:ea typeface="Arial" charset="0"/>
                      <a:cs typeface="Arial" charset="0"/>
                    </a:rPr>
                    <a:t>release</a:t>
                  </a:r>
                  <a:r>
                    <a:rPr lang="en-US" sz="900" kern="1200" dirty="0">
                      <a:solidFill>
                        <a:schemeClr val="tx1">
                          <a:lumMod val="50000"/>
                          <a:lumOff val="50000"/>
                        </a:schemeClr>
                      </a:solidFill>
                      <a:latin typeface="Arial" charset="0"/>
                      <a:ea typeface="Arial" charset="0"/>
                      <a:cs typeface="Arial" charset="0"/>
                    </a:rPr>
                    <a:t> the click.</a:t>
                  </a:r>
                </a:p>
              </p:txBody>
            </p:sp>
          </p:grpSp>
          <p:pic>
            <p:nvPicPr>
              <p:cNvPr id="234" name="Picture 233">
                <a:extLst>
                  <a:ext uri="{FF2B5EF4-FFF2-40B4-BE49-F238E27FC236}">
                    <a16:creationId xmlns:a16="http://schemas.microsoft.com/office/drawing/2014/main" id="{90C81D1C-FBC0-2D47-9C08-925873AF6C79}"/>
                  </a:ext>
                </a:extLst>
              </p:cNvPr>
              <p:cNvPicPr>
                <a:picLocks noChangeAspect="1"/>
              </p:cNvPicPr>
              <p:nvPr userDrawn="1"/>
            </p:nvPicPr>
            <p:blipFill rotWithShape="1">
              <a:blip r:embed="rId7"/>
              <a:srcRect t="33282" b="9876"/>
              <a:stretch/>
            </p:blipFill>
            <p:spPr>
              <a:xfrm>
                <a:off x="10901855" y="2099340"/>
                <a:ext cx="1237314" cy="517325"/>
              </a:xfrm>
              <a:prstGeom prst="rect">
                <a:avLst/>
              </a:prstGeom>
            </p:spPr>
          </p:pic>
        </p:grpSp>
      </p:grpSp>
      <p:sp>
        <p:nvSpPr>
          <p:cNvPr id="2" name="Title 1">
            <a:extLst>
              <a:ext uri="{FF2B5EF4-FFF2-40B4-BE49-F238E27FC236}">
                <a16:creationId xmlns:a16="http://schemas.microsoft.com/office/drawing/2014/main" id="{E196CE33-C89A-DF4A-A514-4B0F089622A5}"/>
              </a:ext>
            </a:extLst>
          </p:cNvPr>
          <p:cNvSpPr>
            <a:spLocks noGrp="1"/>
          </p:cNvSpPr>
          <p:nvPr userDrawn="1">
            <p:ph type="title" hasCustomPrompt="1"/>
          </p:nvPr>
        </p:nvSpPr>
        <p:spPr/>
        <p:txBody>
          <a:bodyPr/>
          <a:lstStyle/>
          <a:p>
            <a:r>
              <a:rPr lang="en-US" dirty="0"/>
              <a:t>Click to add agenda title. All caps. Two lines max.</a:t>
            </a:r>
          </a:p>
        </p:txBody>
      </p:sp>
      <p:sp>
        <p:nvSpPr>
          <p:cNvPr id="64" name="Text Placeholder 5">
            <a:extLst>
              <a:ext uri="{FF2B5EF4-FFF2-40B4-BE49-F238E27FC236}">
                <a16:creationId xmlns:a16="http://schemas.microsoft.com/office/drawing/2014/main" id="{680AE5C6-20A0-3842-8FA0-B38AA603F8A3}"/>
              </a:ext>
            </a:extLst>
          </p:cNvPr>
          <p:cNvSpPr>
            <a:spLocks noGrp="1"/>
          </p:cNvSpPr>
          <p:nvPr userDrawn="1">
            <p:ph type="body" sz="quarter" idx="121" hasCustomPrompt="1"/>
          </p:nvPr>
        </p:nvSpPr>
        <p:spPr>
          <a:xfrm>
            <a:off x="12935628" y="2356307"/>
            <a:ext cx="3239224" cy="376755"/>
          </a:xfrm>
          <a:solidFill>
            <a:schemeClr val="accent1"/>
          </a:solidFill>
          <a:ln w="31750">
            <a:solidFill>
              <a:schemeClr val="accent1"/>
            </a:solidFill>
          </a:ln>
          <a:effectLst/>
        </p:spPr>
        <p:txBody>
          <a:bodyPr lIns="432000" tIns="0" rIns="36000" anchor="ctr"/>
          <a:lstStyle>
            <a:lvl1pPr marL="0" indent="0">
              <a:buNone/>
              <a:defRPr b="1">
                <a:solidFill>
                  <a:schemeClr val="bg1"/>
                </a:solidFill>
              </a:defRPr>
            </a:lvl1pPr>
          </a:lstStyle>
          <a:p>
            <a:pPr lvl="0"/>
            <a:r>
              <a:rPr lang="en-US" dirty="0"/>
              <a:t>Select for Title style</a:t>
            </a:r>
          </a:p>
        </p:txBody>
      </p:sp>
      <p:sp>
        <p:nvSpPr>
          <p:cNvPr id="65" name="Text Placeholder 5">
            <a:extLst>
              <a:ext uri="{FF2B5EF4-FFF2-40B4-BE49-F238E27FC236}">
                <a16:creationId xmlns:a16="http://schemas.microsoft.com/office/drawing/2014/main" id="{AC21CD0C-F907-D84E-8617-2858BDF43E81}"/>
              </a:ext>
            </a:extLst>
          </p:cNvPr>
          <p:cNvSpPr>
            <a:spLocks noGrp="1"/>
          </p:cNvSpPr>
          <p:nvPr userDrawn="1">
            <p:ph type="body" sz="quarter" idx="122" hasCustomPrompt="1"/>
          </p:nvPr>
        </p:nvSpPr>
        <p:spPr>
          <a:xfrm>
            <a:off x="12935628" y="4208328"/>
            <a:ext cx="3239224" cy="376755"/>
          </a:xfrm>
          <a:noFill/>
          <a:ln w="31750">
            <a:noFill/>
          </a:ln>
          <a:effectLst/>
        </p:spPr>
        <p:txBody>
          <a:bodyPr lIns="0" tIns="0" rIns="0" anchor="ctr"/>
          <a:lstStyle>
            <a:lvl1pPr marL="0" indent="0" algn="r">
              <a:buNone/>
              <a:defRPr b="1">
                <a:solidFill>
                  <a:schemeClr val="bg1"/>
                </a:solidFill>
              </a:defRPr>
            </a:lvl1pPr>
          </a:lstStyle>
          <a:p>
            <a:pPr lvl="0"/>
            <a:r>
              <a:rPr lang="en-US" dirty="0"/>
              <a:t>Select for Page # style</a:t>
            </a:r>
          </a:p>
        </p:txBody>
      </p:sp>
      <p:sp>
        <p:nvSpPr>
          <p:cNvPr id="243" name="Text Placeholder 6">
            <a:extLst>
              <a:ext uri="{FF2B5EF4-FFF2-40B4-BE49-F238E27FC236}">
                <a16:creationId xmlns:a16="http://schemas.microsoft.com/office/drawing/2014/main" id="{91B769FF-FB3C-6747-8FCE-E8C24D69C27B}"/>
              </a:ext>
            </a:extLst>
          </p:cNvPr>
          <p:cNvSpPr>
            <a:spLocks noGrp="1"/>
          </p:cNvSpPr>
          <p:nvPr>
            <p:ph type="body" idx="13" hasCustomPrompt="1"/>
          </p:nvPr>
        </p:nvSpPr>
        <p:spPr>
          <a:xfrm>
            <a:off x="0" y="1230726"/>
            <a:ext cx="12192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244" name="Text Placeholder 6">
            <a:extLst>
              <a:ext uri="{FF2B5EF4-FFF2-40B4-BE49-F238E27FC236}">
                <a16:creationId xmlns:a16="http://schemas.microsoft.com/office/drawing/2014/main" id="{46A7DBB8-1DF6-554B-B31D-BC9C0B4F2A57}"/>
              </a:ext>
            </a:extLst>
          </p:cNvPr>
          <p:cNvSpPr>
            <a:spLocks noGrp="1"/>
          </p:cNvSpPr>
          <p:nvPr>
            <p:ph type="body" idx="14" hasCustomPrompt="1"/>
          </p:nvPr>
        </p:nvSpPr>
        <p:spPr>
          <a:xfrm>
            <a:off x="0" y="1847287"/>
            <a:ext cx="12192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245" name="Text Placeholder 6">
            <a:extLst>
              <a:ext uri="{FF2B5EF4-FFF2-40B4-BE49-F238E27FC236}">
                <a16:creationId xmlns:a16="http://schemas.microsoft.com/office/drawing/2014/main" id="{D155474C-5389-7248-85C8-A7CDCFC37463}"/>
              </a:ext>
            </a:extLst>
          </p:cNvPr>
          <p:cNvSpPr>
            <a:spLocks noGrp="1"/>
          </p:cNvSpPr>
          <p:nvPr>
            <p:ph type="body" idx="15" hasCustomPrompt="1"/>
          </p:nvPr>
        </p:nvSpPr>
        <p:spPr>
          <a:xfrm>
            <a:off x="0" y="2463848"/>
            <a:ext cx="12192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246" name="Text Placeholder 6">
            <a:extLst>
              <a:ext uri="{FF2B5EF4-FFF2-40B4-BE49-F238E27FC236}">
                <a16:creationId xmlns:a16="http://schemas.microsoft.com/office/drawing/2014/main" id="{64EC3DD3-A992-F048-A61E-0275830FA953}"/>
              </a:ext>
            </a:extLst>
          </p:cNvPr>
          <p:cNvSpPr>
            <a:spLocks noGrp="1"/>
          </p:cNvSpPr>
          <p:nvPr>
            <p:ph type="body" idx="16" hasCustomPrompt="1"/>
          </p:nvPr>
        </p:nvSpPr>
        <p:spPr>
          <a:xfrm>
            <a:off x="0" y="3080409"/>
            <a:ext cx="12192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247" name="Text Placeholder 6">
            <a:extLst>
              <a:ext uri="{FF2B5EF4-FFF2-40B4-BE49-F238E27FC236}">
                <a16:creationId xmlns:a16="http://schemas.microsoft.com/office/drawing/2014/main" id="{BAA3DB2E-205A-534B-9C44-EFEE5BDB0FBD}"/>
              </a:ext>
            </a:extLst>
          </p:cNvPr>
          <p:cNvSpPr>
            <a:spLocks noGrp="1"/>
          </p:cNvSpPr>
          <p:nvPr>
            <p:ph type="body" idx="17" hasCustomPrompt="1"/>
          </p:nvPr>
        </p:nvSpPr>
        <p:spPr>
          <a:xfrm>
            <a:off x="0" y="3696970"/>
            <a:ext cx="12192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248" name="Text Placeholder 6">
            <a:extLst>
              <a:ext uri="{FF2B5EF4-FFF2-40B4-BE49-F238E27FC236}">
                <a16:creationId xmlns:a16="http://schemas.microsoft.com/office/drawing/2014/main" id="{80869C67-837B-BE42-A9BE-AD3BBDACEB6B}"/>
              </a:ext>
            </a:extLst>
          </p:cNvPr>
          <p:cNvSpPr>
            <a:spLocks noGrp="1"/>
          </p:cNvSpPr>
          <p:nvPr>
            <p:ph type="body" idx="18" hasCustomPrompt="1"/>
          </p:nvPr>
        </p:nvSpPr>
        <p:spPr>
          <a:xfrm>
            <a:off x="0" y="4313531"/>
            <a:ext cx="12192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249" name="Text Placeholder 6">
            <a:extLst>
              <a:ext uri="{FF2B5EF4-FFF2-40B4-BE49-F238E27FC236}">
                <a16:creationId xmlns:a16="http://schemas.microsoft.com/office/drawing/2014/main" id="{6F036C69-95C0-FA4B-BBFA-E942D38EAA0D}"/>
              </a:ext>
            </a:extLst>
          </p:cNvPr>
          <p:cNvSpPr>
            <a:spLocks noGrp="1"/>
          </p:cNvSpPr>
          <p:nvPr>
            <p:ph type="body" idx="19" hasCustomPrompt="1"/>
          </p:nvPr>
        </p:nvSpPr>
        <p:spPr>
          <a:xfrm>
            <a:off x="0" y="4930092"/>
            <a:ext cx="12192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250" name="Text Placeholder 6">
            <a:extLst>
              <a:ext uri="{FF2B5EF4-FFF2-40B4-BE49-F238E27FC236}">
                <a16:creationId xmlns:a16="http://schemas.microsoft.com/office/drawing/2014/main" id="{82CFDAFE-B1BF-ED4F-8D1B-908011FE689B}"/>
              </a:ext>
            </a:extLst>
          </p:cNvPr>
          <p:cNvSpPr>
            <a:spLocks noGrp="1"/>
          </p:cNvSpPr>
          <p:nvPr>
            <p:ph type="body" idx="20" hasCustomPrompt="1"/>
          </p:nvPr>
        </p:nvSpPr>
        <p:spPr>
          <a:xfrm>
            <a:off x="0" y="5546650"/>
            <a:ext cx="12192000" cy="6192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251" name="Text Placeholder 69">
            <a:extLst>
              <a:ext uri="{FF2B5EF4-FFF2-40B4-BE49-F238E27FC236}">
                <a16:creationId xmlns:a16="http://schemas.microsoft.com/office/drawing/2014/main" id="{58C31DAC-7646-7542-AA6F-2194522CE6A9}"/>
              </a:ext>
            </a:extLst>
          </p:cNvPr>
          <p:cNvSpPr>
            <a:spLocks noGrp="1"/>
          </p:cNvSpPr>
          <p:nvPr>
            <p:ph type="body" sz="quarter" idx="21" hasCustomPrompt="1"/>
          </p:nvPr>
        </p:nvSpPr>
        <p:spPr>
          <a:xfrm>
            <a:off x="10381560" y="1230726"/>
            <a:ext cx="1239144"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252" name="Text Placeholder 69">
            <a:extLst>
              <a:ext uri="{FF2B5EF4-FFF2-40B4-BE49-F238E27FC236}">
                <a16:creationId xmlns:a16="http://schemas.microsoft.com/office/drawing/2014/main" id="{F3D6B7F5-A321-C447-9339-ADB40C7B4AAE}"/>
              </a:ext>
            </a:extLst>
          </p:cNvPr>
          <p:cNvSpPr>
            <a:spLocks noGrp="1"/>
          </p:cNvSpPr>
          <p:nvPr>
            <p:ph type="body" sz="quarter" idx="22" hasCustomPrompt="1"/>
          </p:nvPr>
        </p:nvSpPr>
        <p:spPr>
          <a:xfrm>
            <a:off x="10381560" y="1847287"/>
            <a:ext cx="1239144"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253" name="Text Placeholder 69">
            <a:extLst>
              <a:ext uri="{FF2B5EF4-FFF2-40B4-BE49-F238E27FC236}">
                <a16:creationId xmlns:a16="http://schemas.microsoft.com/office/drawing/2014/main" id="{F918A5A2-CBA8-9746-8288-84619ED33FF4}"/>
              </a:ext>
            </a:extLst>
          </p:cNvPr>
          <p:cNvSpPr>
            <a:spLocks noGrp="1"/>
          </p:cNvSpPr>
          <p:nvPr>
            <p:ph type="body" sz="quarter" idx="23" hasCustomPrompt="1"/>
          </p:nvPr>
        </p:nvSpPr>
        <p:spPr>
          <a:xfrm>
            <a:off x="10381560" y="2463848"/>
            <a:ext cx="1239144"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254" name="Text Placeholder 69">
            <a:extLst>
              <a:ext uri="{FF2B5EF4-FFF2-40B4-BE49-F238E27FC236}">
                <a16:creationId xmlns:a16="http://schemas.microsoft.com/office/drawing/2014/main" id="{2110131B-6471-BA4F-83A7-D159CE9B4CF6}"/>
              </a:ext>
            </a:extLst>
          </p:cNvPr>
          <p:cNvSpPr>
            <a:spLocks noGrp="1"/>
          </p:cNvSpPr>
          <p:nvPr>
            <p:ph type="body" sz="quarter" idx="24" hasCustomPrompt="1"/>
          </p:nvPr>
        </p:nvSpPr>
        <p:spPr>
          <a:xfrm>
            <a:off x="10381560" y="3080409"/>
            <a:ext cx="1239144"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255" name="Text Placeholder 69">
            <a:extLst>
              <a:ext uri="{FF2B5EF4-FFF2-40B4-BE49-F238E27FC236}">
                <a16:creationId xmlns:a16="http://schemas.microsoft.com/office/drawing/2014/main" id="{5CE8F1D4-AABD-CF42-B74C-BA69A1DC7828}"/>
              </a:ext>
            </a:extLst>
          </p:cNvPr>
          <p:cNvSpPr>
            <a:spLocks noGrp="1"/>
          </p:cNvSpPr>
          <p:nvPr>
            <p:ph type="body" sz="quarter" idx="25" hasCustomPrompt="1"/>
          </p:nvPr>
        </p:nvSpPr>
        <p:spPr>
          <a:xfrm>
            <a:off x="10381560" y="3696970"/>
            <a:ext cx="1239144"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256" name="Text Placeholder 69">
            <a:extLst>
              <a:ext uri="{FF2B5EF4-FFF2-40B4-BE49-F238E27FC236}">
                <a16:creationId xmlns:a16="http://schemas.microsoft.com/office/drawing/2014/main" id="{D2FA80C7-C380-C54C-AF1E-86248734CA65}"/>
              </a:ext>
            </a:extLst>
          </p:cNvPr>
          <p:cNvSpPr>
            <a:spLocks noGrp="1"/>
          </p:cNvSpPr>
          <p:nvPr>
            <p:ph type="body" sz="quarter" idx="26" hasCustomPrompt="1"/>
          </p:nvPr>
        </p:nvSpPr>
        <p:spPr>
          <a:xfrm>
            <a:off x="10381560" y="4313531"/>
            <a:ext cx="1239144"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257" name="Text Placeholder 69">
            <a:extLst>
              <a:ext uri="{FF2B5EF4-FFF2-40B4-BE49-F238E27FC236}">
                <a16:creationId xmlns:a16="http://schemas.microsoft.com/office/drawing/2014/main" id="{10925F75-A1A8-3744-991C-D7C51B06B026}"/>
              </a:ext>
            </a:extLst>
          </p:cNvPr>
          <p:cNvSpPr>
            <a:spLocks noGrp="1"/>
          </p:cNvSpPr>
          <p:nvPr>
            <p:ph type="body" sz="quarter" idx="27" hasCustomPrompt="1"/>
          </p:nvPr>
        </p:nvSpPr>
        <p:spPr>
          <a:xfrm>
            <a:off x="10381560" y="4930092"/>
            <a:ext cx="1239144"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258" name="Text Placeholder 69">
            <a:extLst>
              <a:ext uri="{FF2B5EF4-FFF2-40B4-BE49-F238E27FC236}">
                <a16:creationId xmlns:a16="http://schemas.microsoft.com/office/drawing/2014/main" id="{748091C7-C5FA-B14E-912F-6F96120CF976}"/>
              </a:ext>
            </a:extLst>
          </p:cNvPr>
          <p:cNvSpPr>
            <a:spLocks noGrp="1"/>
          </p:cNvSpPr>
          <p:nvPr>
            <p:ph type="body" sz="quarter" idx="28" hasCustomPrompt="1"/>
          </p:nvPr>
        </p:nvSpPr>
        <p:spPr>
          <a:xfrm>
            <a:off x="10381560" y="5546650"/>
            <a:ext cx="1239144" cy="6192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4" name="Date Placeholder 13">
            <a:extLst>
              <a:ext uri="{FF2B5EF4-FFF2-40B4-BE49-F238E27FC236}">
                <a16:creationId xmlns:a16="http://schemas.microsoft.com/office/drawing/2014/main" id="{C2848D6D-D4D4-484F-84EB-E19276855D2D}"/>
              </a:ext>
            </a:extLst>
          </p:cNvPr>
          <p:cNvSpPr>
            <a:spLocks noGrp="1"/>
          </p:cNvSpPr>
          <p:nvPr>
            <p:ph type="dt" sz="half" idx="123"/>
          </p:nvPr>
        </p:nvSpPr>
        <p:spPr/>
        <p:txBody>
          <a:bodyPr/>
          <a:lstStyle/>
          <a:p>
            <a:endParaRPr lang="en-US" dirty="0"/>
          </a:p>
        </p:txBody>
      </p:sp>
      <p:sp>
        <p:nvSpPr>
          <p:cNvPr id="15" name="Footer Placeholder 14">
            <a:extLst>
              <a:ext uri="{FF2B5EF4-FFF2-40B4-BE49-F238E27FC236}">
                <a16:creationId xmlns:a16="http://schemas.microsoft.com/office/drawing/2014/main" id="{1CFB29B8-ED2F-0C4F-B216-72AB74C1E9F3}"/>
              </a:ext>
            </a:extLst>
          </p:cNvPr>
          <p:cNvSpPr>
            <a:spLocks noGrp="1"/>
          </p:cNvSpPr>
          <p:nvPr>
            <p:ph type="ftr" sz="quarter" idx="124"/>
          </p:nvPr>
        </p:nvSpPr>
        <p:spPr/>
        <p:txBody>
          <a:bodyPr/>
          <a:lstStyle/>
          <a:p>
            <a:endParaRPr lang="en-US" dirty="0"/>
          </a:p>
        </p:txBody>
      </p:sp>
      <p:sp>
        <p:nvSpPr>
          <p:cNvPr id="16" name="Slide Number Placeholder 15">
            <a:extLst>
              <a:ext uri="{FF2B5EF4-FFF2-40B4-BE49-F238E27FC236}">
                <a16:creationId xmlns:a16="http://schemas.microsoft.com/office/drawing/2014/main" id="{BCF4CEC3-D8BB-F04A-A1D0-780B8D944778}"/>
              </a:ext>
            </a:extLst>
          </p:cNvPr>
          <p:cNvSpPr>
            <a:spLocks noGrp="1"/>
          </p:cNvSpPr>
          <p:nvPr>
            <p:ph type="sldNum" sz="quarter" idx="125"/>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15163085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oC Agenda (14)">
    <p:spTree>
      <p:nvGrpSpPr>
        <p:cNvPr id="1" name=""/>
        <p:cNvGrpSpPr/>
        <p:nvPr/>
      </p:nvGrpSpPr>
      <p:grpSpPr>
        <a:xfrm>
          <a:off x="0" y="0"/>
          <a:ext cx="0" cy="0"/>
          <a:chOff x="0" y="0"/>
          <a:chExt cx="0" cy="0"/>
        </a:xfrm>
      </p:grpSpPr>
      <p:sp>
        <p:nvSpPr>
          <p:cNvPr id="139" name="Rectangle 138">
            <a:extLst>
              <a:ext uri="{FF2B5EF4-FFF2-40B4-BE49-F238E27FC236}">
                <a16:creationId xmlns:a16="http://schemas.microsoft.com/office/drawing/2014/main" id="{0735789A-63DF-F64F-9BFF-A24BA7A397AC}"/>
              </a:ext>
            </a:extLst>
          </p:cNvPr>
          <p:cNvSpPr/>
          <p:nvPr userDrawn="1"/>
        </p:nvSpPr>
        <p:spPr>
          <a:xfrm>
            <a:off x="0" y="614023"/>
            <a:ext cx="12192000" cy="6192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nvGrpSpPr>
          <p:cNvPr id="28" name="Group 27">
            <a:extLst>
              <a:ext uri="{FF2B5EF4-FFF2-40B4-BE49-F238E27FC236}">
                <a16:creationId xmlns:a16="http://schemas.microsoft.com/office/drawing/2014/main" id="{5EBA89B3-0596-F74E-9FA2-DC751E0E88E4}"/>
              </a:ext>
            </a:extLst>
          </p:cNvPr>
          <p:cNvGrpSpPr/>
          <p:nvPr userDrawn="1"/>
        </p:nvGrpSpPr>
        <p:grpSpPr>
          <a:xfrm>
            <a:off x="12532243" y="-1"/>
            <a:ext cx="3836621" cy="8631622"/>
            <a:chOff x="9399182" y="-1"/>
            <a:chExt cx="2877466" cy="8631622"/>
          </a:xfrm>
        </p:grpSpPr>
        <p:sp>
          <p:nvSpPr>
            <p:cNvPr id="36" name="Rectangle 35">
              <a:extLst>
                <a:ext uri="{FF2B5EF4-FFF2-40B4-BE49-F238E27FC236}">
                  <a16:creationId xmlns:a16="http://schemas.microsoft.com/office/drawing/2014/main" id="{F4E83308-CF57-9E47-BA44-7A84C42B5978}"/>
                </a:ext>
              </a:extLst>
            </p:cNvPr>
            <p:cNvSpPr/>
            <p:nvPr userDrawn="1"/>
          </p:nvSpPr>
          <p:spPr>
            <a:xfrm>
              <a:off x="9399182" y="-1"/>
              <a:ext cx="2798651" cy="848185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7" name="TextBox 36">
              <a:extLst>
                <a:ext uri="{FF2B5EF4-FFF2-40B4-BE49-F238E27FC236}">
                  <a16:creationId xmlns:a16="http://schemas.microsoft.com/office/drawing/2014/main" id="{D2A5C2D3-9F21-234B-9F98-3DE702C886F7}"/>
                </a:ext>
              </a:extLst>
            </p:cNvPr>
            <p:cNvSpPr txBox="1">
              <a:spLocks noChangeAspect="1"/>
            </p:cNvSpPr>
            <p:nvPr userDrawn="1"/>
          </p:nvSpPr>
          <p:spPr>
            <a:xfrm>
              <a:off x="9521833" y="16103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38" name="TextBox 37">
              <a:extLst>
                <a:ext uri="{FF2B5EF4-FFF2-40B4-BE49-F238E27FC236}">
                  <a16:creationId xmlns:a16="http://schemas.microsoft.com/office/drawing/2014/main" id="{A02ADF69-BF1B-1A46-8854-22053F603054}"/>
                </a:ext>
              </a:extLst>
            </p:cNvPr>
            <p:cNvSpPr txBox="1">
              <a:spLocks noChangeAspect="1"/>
            </p:cNvSpPr>
            <p:nvPr userDrawn="1"/>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9" name="TextBox 38">
              <a:extLst>
                <a:ext uri="{FF2B5EF4-FFF2-40B4-BE49-F238E27FC236}">
                  <a16:creationId xmlns:a16="http://schemas.microsoft.com/office/drawing/2014/main" id="{A8195510-2A26-3049-8967-D7F2BC33D906}"/>
                </a:ext>
              </a:extLst>
            </p:cNvPr>
            <p:cNvSpPr txBox="1">
              <a:spLocks noChangeAspect="1"/>
            </p:cNvSpPr>
            <p:nvPr userDrawn="1"/>
          </p:nvSpPr>
          <p:spPr>
            <a:xfrm>
              <a:off x="9521833" y="11390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0" name="TextBox 39">
              <a:extLst>
                <a:ext uri="{FF2B5EF4-FFF2-40B4-BE49-F238E27FC236}">
                  <a16:creationId xmlns:a16="http://schemas.microsoft.com/office/drawing/2014/main" id="{D496DEE2-CA7E-AE42-879D-AF53D0749FFE}"/>
                </a:ext>
              </a:extLst>
            </p:cNvPr>
            <p:cNvSpPr txBox="1"/>
            <p:nvPr userDrawn="1"/>
          </p:nvSpPr>
          <p:spPr>
            <a:xfrm>
              <a:off x="9686426" y="513115"/>
              <a:ext cx="2425134" cy="31085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Aft>
                  <a:spcPts val="0"/>
                </a:spcAft>
              </a:pPr>
              <a:r>
                <a:rPr lang="en-US" sz="1050" dirty="0"/>
                <a:t>Enter up to 14 agenda items and their page numbers. </a:t>
              </a:r>
            </a:p>
            <a:p>
              <a:pPr lvl="2"/>
              <a:r>
                <a:rPr lang="en-US" sz="800" dirty="0"/>
                <a:t>Switch to the 8-item agenda if you need fewer. </a:t>
              </a:r>
            </a:p>
          </p:txBody>
        </p:sp>
        <p:sp>
          <p:nvSpPr>
            <p:cNvPr id="41" name="TextBox 40">
              <a:extLst>
                <a:ext uri="{FF2B5EF4-FFF2-40B4-BE49-F238E27FC236}">
                  <a16:creationId xmlns:a16="http://schemas.microsoft.com/office/drawing/2014/main" id="{14E036DD-4A36-4B41-969E-46701BA472FB}"/>
                </a:ext>
              </a:extLst>
            </p:cNvPr>
            <p:cNvSpPr txBox="1"/>
            <p:nvPr userDrawn="1"/>
          </p:nvSpPr>
          <p:spPr>
            <a:xfrm>
              <a:off x="9558507" y="150290"/>
              <a:ext cx="140062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USE THE AGENDA</a:t>
              </a:r>
            </a:p>
          </p:txBody>
        </p:sp>
        <p:cxnSp>
          <p:nvCxnSpPr>
            <p:cNvPr id="42" name="Straight Connector 41">
              <a:extLst>
                <a:ext uri="{FF2B5EF4-FFF2-40B4-BE49-F238E27FC236}">
                  <a16:creationId xmlns:a16="http://schemas.microsoft.com/office/drawing/2014/main" id="{4171E0C5-608B-FF44-A6A5-678877741EBB}"/>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668704FB-F8CC-2D48-82EA-8020021930B4}"/>
                </a:ext>
              </a:extLst>
            </p:cNvPr>
            <p:cNvGrpSpPr/>
            <p:nvPr userDrawn="1"/>
          </p:nvGrpSpPr>
          <p:grpSpPr>
            <a:xfrm>
              <a:off x="9541497" y="5505499"/>
              <a:ext cx="2735151" cy="919215"/>
              <a:chOff x="9296567" y="4150379"/>
              <a:chExt cx="2735151" cy="919215"/>
            </a:xfrm>
          </p:grpSpPr>
          <p:grpSp>
            <p:nvGrpSpPr>
              <p:cNvPr id="68" name="Group 67">
                <a:extLst>
                  <a:ext uri="{FF2B5EF4-FFF2-40B4-BE49-F238E27FC236}">
                    <a16:creationId xmlns:a16="http://schemas.microsoft.com/office/drawing/2014/main" id="{2848AF80-78DE-6B4E-AAFC-ECF1C10CD0B4}"/>
                  </a:ext>
                </a:extLst>
              </p:cNvPr>
              <p:cNvGrpSpPr/>
              <p:nvPr userDrawn="1"/>
            </p:nvGrpSpPr>
            <p:grpSpPr>
              <a:xfrm>
                <a:off x="9296567" y="4150379"/>
                <a:ext cx="2735151" cy="919215"/>
                <a:chOff x="9296567" y="5817858"/>
                <a:chExt cx="2735151" cy="919215"/>
              </a:xfrm>
            </p:grpSpPr>
            <p:sp>
              <p:nvSpPr>
                <p:cNvPr id="85" name="Rectangle 84">
                  <a:extLst>
                    <a:ext uri="{FF2B5EF4-FFF2-40B4-BE49-F238E27FC236}">
                      <a16:creationId xmlns:a16="http://schemas.microsoft.com/office/drawing/2014/main" id="{C98E8FA1-C645-CA4C-9A7D-083293E08816}"/>
                    </a:ext>
                  </a:extLst>
                </p:cNvPr>
                <p:cNvSpPr/>
                <p:nvPr userDrawn="1"/>
              </p:nvSpPr>
              <p:spPr>
                <a:xfrm>
                  <a:off x="9296567" y="5817858"/>
                  <a:ext cx="2733136" cy="919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6" name="TextBox 85">
                  <a:extLst>
                    <a:ext uri="{FF2B5EF4-FFF2-40B4-BE49-F238E27FC236}">
                      <a16:creationId xmlns:a16="http://schemas.microsoft.com/office/drawing/2014/main" id="{70D9BBD7-B8A7-4242-B359-9835E773B97C}"/>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set Placeholders</a:t>
                  </a:r>
                </a:p>
              </p:txBody>
            </p:sp>
            <p:pic>
              <p:nvPicPr>
                <p:cNvPr id="87" name="Graphic 86">
                  <a:extLst>
                    <a:ext uri="{FF2B5EF4-FFF2-40B4-BE49-F238E27FC236}">
                      <a16:creationId xmlns:a16="http://schemas.microsoft.com/office/drawing/2014/main" id="{985CB0FA-7C01-054B-95CD-E445FA2433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88" name="TextBox 87">
                  <a:extLst>
                    <a:ext uri="{FF2B5EF4-FFF2-40B4-BE49-F238E27FC236}">
                      <a16:creationId xmlns:a16="http://schemas.microsoft.com/office/drawing/2014/main" id="{84979134-C3B7-EA40-B6A3-56FD3BE593AA}"/>
                    </a:ext>
                  </a:extLst>
                </p:cNvPr>
                <p:cNvSpPr txBox="1"/>
                <p:nvPr userDrawn="1"/>
              </p:nvSpPr>
              <p:spPr>
                <a:xfrm>
                  <a:off x="9471805" y="6169594"/>
                  <a:ext cx="2491595" cy="441146"/>
                </a:xfrm>
                <a:prstGeom prst="rect">
                  <a:avLst/>
                </a:prstGeom>
              </p:spPr>
              <p:txBody>
                <a:bodyPr vert="horz" wrap="square" lIns="0" tIns="0" rIns="0" bIns="0" rtlCol="0" anchor="t">
                  <a:spAutoFit/>
                </a:bodyPr>
                <a:lstStyle/>
                <a:p>
                  <a:pPr algn="l">
                    <a:spcBef>
                      <a:spcPts val="200"/>
                    </a:spcBef>
                  </a:pPr>
                  <a:r>
                    <a:rPr lang="en-US" sz="900" dirty="0">
                      <a:solidFill>
                        <a:schemeClr val="tx1">
                          <a:lumMod val="50000"/>
                          <a:lumOff val="50000"/>
                        </a:schemeClr>
                      </a:solidFill>
                      <a:latin typeface="Arial" charset="0"/>
                      <a:ea typeface="Arial" charset="0"/>
                      <a:cs typeface="Arial" charset="0"/>
                    </a:rPr>
                    <a:t>Press the Reset (            ) button to bring back placeholders you have deleted if you need them. </a:t>
                  </a:r>
                </a:p>
                <a:p>
                  <a:pPr algn="l">
                    <a:spcBef>
                      <a:spcPts val="200"/>
                    </a:spcBef>
                  </a:pPr>
                  <a:r>
                    <a:rPr lang="en-US" sz="900" dirty="0">
                      <a:solidFill>
                        <a:schemeClr val="tx1">
                          <a:lumMod val="50000"/>
                          <a:lumOff val="50000"/>
                        </a:schemeClr>
                      </a:solidFill>
                      <a:latin typeface="Arial" charset="0"/>
                      <a:ea typeface="Arial" charset="0"/>
                      <a:cs typeface="Arial" charset="0"/>
                    </a:rPr>
                    <a:t>Note: this will also remove your item highlight.</a:t>
                  </a:r>
                </a:p>
              </p:txBody>
            </p:sp>
          </p:grpSp>
          <p:pic>
            <p:nvPicPr>
              <p:cNvPr id="69" name="Picture 68">
                <a:extLst>
                  <a:ext uri="{FF2B5EF4-FFF2-40B4-BE49-F238E27FC236}">
                    <a16:creationId xmlns:a16="http://schemas.microsoft.com/office/drawing/2014/main" id="{9DBFC0E8-D037-9D47-9459-C3C5D94A426B}"/>
                  </a:ext>
                </a:extLst>
              </p:cNvPr>
              <p:cNvPicPr>
                <a:picLocks noChangeAspect="1"/>
              </p:cNvPicPr>
              <p:nvPr userDrawn="1"/>
            </p:nvPicPr>
            <p:blipFill rotWithShape="1">
              <a:blip r:embed="rId5"/>
              <a:srcRect t="-7688" r="11531" b="-1"/>
              <a:stretch/>
            </p:blipFill>
            <p:spPr>
              <a:xfrm>
                <a:off x="10368085" y="4507363"/>
                <a:ext cx="346954" cy="130863"/>
              </a:xfrm>
              <a:prstGeom prst="rect">
                <a:avLst/>
              </a:prstGeom>
            </p:spPr>
          </p:pic>
        </p:grpSp>
        <p:sp>
          <p:nvSpPr>
            <p:cNvPr id="45" name="TextBox 44">
              <a:extLst>
                <a:ext uri="{FF2B5EF4-FFF2-40B4-BE49-F238E27FC236}">
                  <a16:creationId xmlns:a16="http://schemas.microsoft.com/office/drawing/2014/main" id="{26ECECB2-9E9D-9C4A-BC3F-D4B6EF59D7B2}"/>
                </a:ext>
              </a:extLst>
            </p:cNvPr>
            <p:cNvSpPr txBox="1"/>
            <p:nvPr/>
          </p:nvSpPr>
          <p:spPr>
            <a:xfrm>
              <a:off x="9686426" y="1588873"/>
              <a:ext cx="2284506"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sz="1050" dirty="0"/>
                <a:t>Highlight the current item title and page number as follows:</a:t>
              </a:r>
            </a:p>
          </p:txBody>
        </p:sp>
        <p:sp>
          <p:nvSpPr>
            <p:cNvPr id="46" name="TextBox 45">
              <a:extLst>
                <a:ext uri="{FF2B5EF4-FFF2-40B4-BE49-F238E27FC236}">
                  <a16:creationId xmlns:a16="http://schemas.microsoft.com/office/drawing/2014/main" id="{03ED648A-9D4D-4F41-AB76-D687D0E49DFB}"/>
                </a:ext>
              </a:extLst>
            </p:cNvPr>
            <p:cNvSpPr txBox="1"/>
            <p:nvPr/>
          </p:nvSpPr>
          <p:spPr>
            <a:xfrm>
              <a:off x="9686426" y="1111528"/>
              <a:ext cx="2425134"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sz="1050" dirty="0"/>
                <a:t>Select and delete any unused item placeholders to remove the lines.</a:t>
              </a:r>
            </a:p>
          </p:txBody>
        </p:sp>
        <p:sp>
          <p:nvSpPr>
            <p:cNvPr id="47" name="TextBox 46">
              <a:extLst>
                <a:ext uri="{FF2B5EF4-FFF2-40B4-BE49-F238E27FC236}">
                  <a16:creationId xmlns:a16="http://schemas.microsoft.com/office/drawing/2014/main" id="{8271BCEA-EA17-C24E-87BB-934AFBBF87E6}"/>
                </a:ext>
              </a:extLst>
            </p:cNvPr>
            <p:cNvSpPr txBox="1"/>
            <p:nvPr/>
          </p:nvSpPr>
          <p:spPr>
            <a:xfrm>
              <a:off x="9694073" y="2789000"/>
              <a:ext cx="2269212"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e entire element is selected—it won’t work correctly if you have your cursor in the text.</a:t>
              </a:r>
            </a:p>
          </p:txBody>
        </p:sp>
        <p:sp>
          <p:nvSpPr>
            <p:cNvPr id="48" name="TextBox 47">
              <a:extLst>
                <a:ext uri="{FF2B5EF4-FFF2-40B4-BE49-F238E27FC236}">
                  <a16:creationId xmlns:a16="http://schemas.microsoft.com/office/drawing/2014/main" id="{FA5CB92E-0A0F-AC42-8739-C4D22325B31B}"/>
                </a:ext>
              </a:extLst>
            </p:cNvPr>
            <p:cNvSpPr txBox="1"/>
            <p:nvPr/>
          </p:nvSpPr>
          <p:spPr>
            <a:xfrm>
              <a:off x="9686426" y="5004333"/>
              <a:ext cx="212642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dirty="0"/>
                <a:t>Click anywhere on the page number of current agenda item (on the text works here) to apply the highlight style.</a:t>
              </a:r>
            </a:p>
          </p:txBody>
        </p:sp>
        <p:sp>
          <p:nvSpPr>
            <p:cNvPr id="49" name="Rectangle 48">
              <a:extLst>
                <a:ext uri="{FF2B5EF4-FFF2-40B4-BE49-F238E27FC236}">
                  <a16:creationId xmlns:a16="http://schemas.microsoft.com/office/drawing/2014/main" id="{589B837D-7809-FE49-9BC4-51E31160E426}"/>
                </a:ext>
              </a:extLst>
            </p:cNvPr>
            <p:cNvSpPr/>
            <p:nvPr/>
          </p:nvSpPr>
          <p:spPr>
            <a:xfrm>
              <a:off x="9686427" y="234797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nvGrpSpPr>
            <p:cNvPr id="50" name="Group 49">
              <a:extLst>
                <a:ext uri="{FF2B5EF4-FFF2-40B4-BE49-F238E27FC236}">
                  <a16:creationId xmlns:a16="http://schemas.microsoft.com/office/drawing/2014/main" id="{B2F7C5ED-DA74-5D44-A55A-C451CAD6D7F9}"/>
                </a:ext>
              </a:extLst>
            </p:cNvPr>
            <p:cNvGrpSpPr/>
            <p:nvPr/>
          </p:nvGrpSpPr>
          <p:grpSpPr>
            <a:xfrm>
              <a:off x="9686426" y="3062499"/>
              <a:ext cx="2284506" cy="249299"/>
              <a:chOff x="9431244" y="2862535"/>
              <a:chExt cx="2284506" cy="249299"/>
            </a:xfrm>
          </p:grpSpPr>
          <p:pic>
            <p:nvPicPr>
              <p:cNvPr id="62" name="Picture 61">
                <a:extLst>
                  <a:ext uri="{FF2B5EF4-FFF2-40B4-BE49-F238E27FC236}">
                    <a16:creationId xmlns:a16="http://schemas.microsoft.com/office/drawing/2014/main" id="{24774FB4-765A-9E49-A933-097A5BD5D66C}"/>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63" name="TextBox 62">
                <a:extLst>
                  <a:ext uri="{FF2B5EF4-FFF2-40B4-BE49-F238E27FC236}">
                    <a16:creationId xmlns:a16="http://schemas.microsoft.com/office/drawing/2014/main" id="{1B7D5897-54FC-ED4C-878C-E0BBE070F573}"/>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dirty="0"/>
                  <a:t>Click the Format Painter button (           ) to copy the style.</a:t>
                </a:r>
              </a:p>
            </p:txBody>
          </p:sp>
        </p:grpSp>
        <p:sp>
          <p:nvSpPr>
            <p:cNvPr id="51" name="TextBox 50">
              <a:extLst>
                <a:ext uri="{FF2B5EF4-FFF2-40B4-BE49-F238E27FC236}">
                  <a16:creationId xmlns:a16="http://schemas.microsoft.com/office/drawing/2014/main" id="{D10BF092-52C8-A14D-86F5-8BF992C1ECD8}"/>
                </a:ext>
              </a:extLst>
            </p:cNvPr>
            <p:cNvSpPr txBox="1"/>
            <p:nvPr/>
          </p:nvSpPr>
          <p:spPr>
            <a:xfrm>
              <a:off x="9686426" y="3363632"/>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dirty="0"/>
                <a:t>Click anywhere on the current agenda item (on the text works here) to apply the highlight style.</a:t>
              </a:r>
            </a:p>
          </p:txBody>
        </p:sp>
        <p:sp>
          <p:nvSpPr>
            <p:cNvPr id="52" name="Rectangle 51">
              <a:extLst>
                <a:ext uri="{FF2B5EF4-FFF2-40B4-BE49-F238E27FC236}">
                  <a16:creationId xmlns:a16="http://schemas.microsoft.com/office/drawing/2014/main" id="{3BDB51E4-A24F-4342-8A5A-EDD95B943E22}"/>
                </a:ext>
              </a:extLst>
            </p:cNvPr>
            <p:cNvSpPr/>
            <p:nvPr/>
          </p:nvSpPr>
          <p:spPr>
            <a:xfrm>
              <a:off x="9686427" y="420031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sp>
          <p:nvSpPr>
            <p:cNvPr id="53" name="TextBox 52">
              <a:extLst>
                <a:ext uri="{FF2B5EF4-FFF2-40B4-BE49-F238E27FC236}">
                  <a16:creationId xmlns:a16="http://schemas.microsoft.com/office/drawing/2014/main" id="{8C97E8A0-B37A-3044-82A9-7D36673708BC}"/>
                </a:ext>
              </a:extLst>
            </p:cNvPr>
            <p:cNvSpPr txBox="1"/>
            <p:nvPr/>
          </p:nvSpPr>
          <p:spPr>
            <a:xfrm>
              <a:off x="9686426" y="4026515"/>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dirty="0"/>
                <a:t>Select the ‘page # style’ element below:</a:t>
              </a:r>
            </a:p>
          </p:txBody>
        </p:sp>
        <p:sp>
          <p:nvSpPr>
            <p:cNvPr id="54" name="TextBox 53">
              <a:extLst>
                <a:ext uri="{FF2B5EF4-FFF2-40B4-BE49-F238E27FC236}">
                  <a16:creationId xmlns:a16="http://schemas.microsoft.com/office/drawing/2014/main" id="{A80195D2-2D31-7942-B7D0-9F85C7D444AF}"/>
                </a:ext>
              </a:extLst>
            </p:cNvPr>
            <p:cNvSpPr txBox="1"/>
            <p:nvPr/>
          </p:nvSpPr>
          <p:spPr>
            <a:xfrm>
              <a:off x="9686426" y="2184031"/>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dirty="0"/>
                <a:t>Select the ‘title style’ element below:</a:t>
              </a:r>
            </a:p>
          </p:txBody>
        </p:sp>
        <p:sp>
          <p:nvSpPr>
            <p:cNvPr id="55" name="TextBox 54">
              <a:extLst>
                <a:ext uri="{FF2B5EF4-FFF2-40B4-BE49-F238E27FC236}">
                  <a16:creationId xmlns:a16="http://schemas.microsoft.com/office/drawing/2014/main" id="{0A64BF6C-B9BD-1B41-969F-45514CC5BAE1}"/>
                </a:ext>
              </a:extLst>
            </p:cNvPr>
            <p:cNvSpPr txBox="1"/>
            <p:nvPr/>
          </p:nvSpPr>
          <p:spPr>
            <a:xfrm>
              <a:off x="9686426" y="1990139"/>
              <a:ext cx="587902"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TITLE:</a:t>
              </a:r>
            </a:p>
          </p:txBody>
        </p:sp>
        <p:cxnSp>
          <p:nvCxnSpPr>
            <p:cNvPr id="56" name="Straight Connector 55">
              <a:extLst>
                <a:ext uri="{FF2B5EF4-FFF2-40B4-BE49-F238E27FC236}">
                  <a16:creationId xmlns:a16="http://schemas.microsoft.com/office/drawing/2014/main" id="{2EFF5343-F139-D44E-8CF9-F7359DCDB499}"/>
                </a:ext>
              </a:extLst>
            </p:cNvPr>
            <p:cNvCxnSpPr>
              <a:cxnSpLocks/>
            </p:cNvCxnSpPr>
            <p:nvPr/>
          </p:nvCxnSpPr>
          <p:spPr>
            <a:xfrm>
              <a:off x="9679848" y="2113772"/>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661BC977-1E81-D943-96A2-8EC320962EB3}"/>
                </a:ext>
              </a:extLst>
            </p:cNvPr>
            <p:cNvSpPr txBox="1"/>
            <p:nvPr/>
          </p:nvSpPr>
          <p:spPr>
            <a:xfrm>
              <a:off x="9686426" y="3831464"/>
              <a:ext cx="648014" cy="107722"/>
            </a:xfrm>
            <a:prstGeom prst="rect">
              <a:avLst/>
            </a:prstGeom>
          </p:spPr>
          <p:txBody>
            <a:bodyPr vert="horz" wrap="none" lIns="0" tIns="0" rIns="0" bIns="0" rtlCol="0" anchor="ctr">
              <a:spAutoFit/>
            </a:bodyPr>
            <a:lstStyle/>
            <a:p>
              <a:pPr algn="l"/>
              <a:r>
                <a:rPr lang="en-US" sz="700" dirty="0">
                  <a:solidFill>
                    <a:schemeClr val="bg1">
                      <a:lumMod val="85000"/>
                    </a:schemeClr>
                  </a:solidFill>
                </a:rPr>
                <a:t>HIGHLIGHT PAGE #:</a:t>
              </a:r>
            </a:p>
          </p:txBody>
        </p:sp>
        <p:cxnSp>
          <p:nvCxnSpPr>
            <p:cNvPr id="58" name="Straight Connector 57">
              <a:extLst>
                <a:ext uri="{FF2B5EF4-FFF2-40B4-BE49-F238E27FC236}">
                  <a16:creationId xmlns:a16="http://schemas.microsoft.com/office/drawing/2014/main" id="{11E58E32-BCB0-7D4E-97A2-FF92AE046C34}"/>
                </a:ext>
              </a:extLst>
            </p:cNvPr>
            <p:cNvCxnSpPr>
              <a:cxnSpLocks/>
            </p:cNvCxnSpPr>
            <p:nvPr/>
          </p:nvCxnSpPr>
          <p:spPr>
            <a:xfrm>
              <a:off x="9679848" y="3955097"/>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2E08EBDD-4F9E-2F46-94B0-7AEFB64F4D50}"/>
                </a:ext>
              </a:extLst>
            </p:cNvPr>
            <p:cNvGrpSpPr/>
            <p:nvPr/>
          </p:nvGrpSpPr>
          <p:grpSpPr>
            <a:xfrm>
              <a:off x="9686426" y="4692069"/>
              <a:ext cx="2284506" cy="249299"/>
              <a:chOff x="9431244" y="2862535"/>
              <a:chExt cx="2284506" cy="249299"/>
            </a:xfrm>
          </p:grpSpPr>
          <p:pic>
            <p:nvPicPr>
              <p:cNvPr id="60" name="Picture 59">
                <a:extLst>
                  <a:ext uri="{FF2B5EF4-FFF2-40B4-BE49-F238E27FC236}">
                    <a16:creationId xmlns:a16="http://schemas.microsoft.com/office/drawing/2014/main" id="{DC8D70F4-324D-F14D-8D90-4F533C708BEF}"/>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61" name="TextBox 60">
                <a:extLst>
                  <a:ext uri="{FF2B5EF4-FFF2-40B4-BE49-F238E27FC236}">
                    <a16:creationId xmlns:a16="http://schemas.microsoft.com/office/drawing/2014/main" id="{0E162A8C-5CB5-0348-AF65-83FDA753EF06}"/>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dirty="0"/>
                  <a:t>Click the Format Painter button (           ) to copy the style.</a:t>
                </a:r>
              </a:p>
            </p:txBody>
          </p:sp>
        </p:grpSp>
        <p:grpSp>
          <p:nvGrpSpPr>
            <p:cNvPr id="27" name="Group 26">
              <a:extLst>
                <a:ext uri="{FF2B5EF4-FFF2-40B4-BE49-F238E27FC236}">
                  <a16:creationId xmlns:a16="http://schemas.microsoft.com/office/drawing/2014/main" id="{91EE1626-B758-3D4F-9E45-7DFD0CF68876}"/>
                </a:ext>
              </a:extLst>
            </p:cNvPr>
            <p:cNvGrpSpPr/>
            <p:nvPr userDrawn="1"/>
          </p:nvGrpSpPr>
          <p:grpSpPr>
            <a:xfrm>
              <a:off x="9541497" y="6488937"/>
              <a:ext cx="2735151" cy="2142684"/>
              <a:chOff x="9541497" y="1525267"/>
              <a:chExt cx="2735151" cy="2142684"/>
            </a:xfrm>
          </p:grpSpPr>
          <p:grpSp>
            <p:nvGrpSpPr>
              <p:cNvPr id="44" name="Group 43">
                <a:extLst>
                  <a:ext uri="{FF2B5EF4-FFF2-40B4-BE49-F238E27FC236}">
                    <a16:creationId xmlns:a16="http://schemas.microsoft.com/office/drawing/2014/main" id="{EF4513C3-471E-9542-A66F-5928FF17E189}"/>
                  </a:ext>
                </a:extLst>
              </p:cNvPr>
              <p:cNvGrpSpPr/>
              <p:nvPr userDrawn="1"/>
            </p:nvGrpSpPr>
            <p:grpSpPr>
              <a:xfrm>
                <a:off x="9541497" y="1525267"/>
                <a:ext cx="2735151" cy="2142684"/>
                <a:chOff x="9296567" y="5817858"/>
                <a:chExt cx="2735151" cy="2142684"/>
              </a:xfrm>
            </p:grpSpPr>
            <p:sp>
              <p:nvSpPr>
                <p:cNvPr id="64" name="Rectangle 63">
                  <a:extLst>
                    <a:ext uri="{FF2B5EF4-FFF2-40B4-BE49-F238E27FC236}">
                      <a16:creationId xmlns:a16="http://schemas.microsoft.com/office/drawing/2014/main" id="{3BCA6528-B4AD-3B4E-817E-7E37B4801528}"/>
                    </a:ext>
                  </a:extLst>
                </p:cNvPr>
                <p:cNvSpPr/>
                <p:nvPr userDrawn="1"/>
              </p:nvSpPr>
              <p:spPr>
                <a:xfrm>
                  <a:off x="9296567" y="5817858"/>
                  <a:ext cx="2733136" cy="214268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5" name="TextBox 64">
                  <a:extLst>
                    <a:ext uri="{FF2B5EF4-FFF2-40B4-BE49-F238E27FC236}">
                      <a16:creationId xmlns:a16="http://schemas.microsoft.com/office/drawing/2014/main" id="{374FCEAF-1509-4F42-9497-CD879A6A719D}"/>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Drag-select</a:t>
                  </a:r>
                </a:p>
              </p:txBody>
            </p:sp>
            <p:pic>
              <p:nvPicPr>
                <p:cNvPr id="66" name="Graphic 65">
                  <a:extLst>
                    <a:ext uri="{FF2B5EF4-FFF2-40B4-BE49-F238E27FC236}">
                      <a16:creationId xmlns:a16="http://schemas.microsoft.com/office/drawing/2014/main" id="{5DFF07DF-FE13-CC4C-B76D-1D2605070E4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67" name="TextBox 66">
                  <a:extLst>
                    <a:ext uri="{FF2B5EF4-FFF2-40B4-BE49-F238E27FC236}">
                      <a16:creationId xmlns:a16="http://schemas.microsoft.com/office/drawing/2014/main" id="{FED285DC-C61D-0D45-9BC6-5561AE17004B}"/>
                    </a:ext>
                  </a:extLst>
                </p:cNvPr>
                <p:cNvSpPr txBox="1"/>
                <p:nvPr userDrawn="1"/>
              </p:nvSpPr>
              <p:spPr>
                <a:xfrm>
                  <a:off x="9471805" y="6169594"/>
                  <a:ext cx="2444785" cy="138499"/>
                </a:xfrm>
                <a:prstGeom prst="rect">
                  <a:avLst/>
                </a:prstGeom>
              </p:spPr>
              <p:txBody>
                <a:bodyPr vert="horz" wrap="square" lIns="0" tIns="0" rIns="0" bIns="0" rtlCol="0" anchor="t">
                  <a:spAutoFit/>
                </a:bodyPr>
                <a:lstStyle/>
                <a:p>
                  <a:pPr>
                    <a:spcBef>
                      <a:spcPts val="200"/>
                    </a:spcBef>
                  </a:pPr>
                  <a:r>
                    <a:rPr lang="en-US" sz="900" dirty="0">
                      <a:solidFill>
                        <a:schemeClr val="tx1">
                          <a:lumMod val="50000"/>
                          <a:lumOff val="50000"/>
                        </a:schemeClr>
                      </a:solidFill>
                      <a:latin typeface="Arial" charset="0"/>
                      <a:ea typeface="Arial" charset="0"/>
                      <a:cs typeface="Arial" charset="0"/>
                    </a:rPr>
                    <a:t>Easily select multiple placeholders for deletion:</a:t>
                  </a:r>
                </a:p>
              </p:txBody>
            </p:sp>
            <p:sp>
              <p:nvSpPr>
                <p:cNvPr id="135" name="TextBox 134">
                  <a:extLst>
                    <a:ext uri="{FF2B5EF4-FFF2-40B4-BE49-F238E27FC236}">
                      <a16:creationId xmlns:a16="http://schemas.microsoft.com/office/drawing/2014/main" id="{03DC49DC-B6F7-5247-938C-5887557DD711}"/>
                    </a:ext>
                  </a:extLst>
                </p:cNvPr>
                <p:cNvSpPr txBox="1"/>
                <p:nvPr userDrawn="1"/>
              </p:nvSpPr>
              <p:spPr>
                <a:xfrm>
                  <a:off x="9471806" y="6398194"/>
                  <a:ext cx="1174622"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b="1" kern="1200" dirty="0">
                      <a:solidFill>
                        <a:schemeClr val="tx1">
                          <a:lumMod val="50000"/>
                          <a:lumOff val="50000"/>
                        </a:schemeClr>
                      </a:solidFill>
                      <a:latin typeface="Arial" charset="0"/>
                      <a:ea typeface="Arial" charset="0"/>
                      <a:cs typeface="Arial" charset="0"/>
                    </a:rPr>
                    <a:t>Click</a:t>
                  </a:r>
                  <a:r>
                    <a:rPr lang="en-US" sz="900" kern="1200" dirty="0">
                      <a:solidFill>
                        <a:schemeClr val="tx1">
                          <a:lumMod val="50000"/>
                          <a:lumOff val="50000"/>
                        </a:schemeClr>
                      </a:solidFill>
                      <a:latin typeface="Arial" charset="0"/>
                      <a:ea typeface="Arial" charset="0"/>
                      <a:cs typeface="Arial" charset="0"/>
                    </a:rPr>
                    <a:t> above and to the left of the first placeholder you’d like to delete.</a:t>
                  </a:r>
                </a:p>
              </p:txBody>
            </p:sp>
            <p:sp>
              <p:nvSpPr>
                <p:cNvPr id="136" name="TextBox 135">
                  <a:extLst>
                    <a:ext uri="{FF2B5EF4-FFF2-40B4-BE49-F238E27FC236}">
                      <a16:creationId xmlns:a16="http://schemas.microsoft.com/office/drawing/2014/main" id="{1F4843CF-D9EC-4B47-B9A7-B0D9BD1FDA87}"/>
                    </a:ext>
                  </a:extLst>
                </p:cNvPr>
                <p:cNvSpPr txBox="1"/>
                <p:nvPr userDrawn="1"/>
              </p:nvSpPr>
              <p:spPr>
                <a:xfrm>
                  <a:off x="9471805" y="7426396"/>
                  <a:ext cx="2444785" cy="24929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All the placeholders inside the drag area will now be selected. Press Delete on the keyboard to remove them.</a:t>
                  </a:r>
                </a:p>
              </p:txBody>
            </p:sp>
            <p:sp>
              <p:nvSpPr>
                <p:cNvPr id="137" name="TextBox 136">
                  <a:extLst>
                    <a:ext uri="{FF2B5EF4-FFF2-40B4-BE49-F238E27FC236}">
                      <a16:creationId xmlns:a16="http://schemas.microsoft.com/office/drawing/2014/main" id="{6F7F8E90-37AA-3743-BDF9-554E740DFC7B}"/>
                    </a:ext>
                  </a:extLst>
                </p:cNvPr>
                <p:cNvSpPr txBox="1"/>
                <p:nvPr userDrawn="1"/>
              </p:nvSpPr>
              <p:spPr>
                <a:xfrm>
                  <a:off x="9471805" y="6974619"/>
                  <a:ext cx="241440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Then (still holding down the first click) </a:t>
                  </a:r>
                  <a:br>
                    <a:rPr lang="en-US" sz="900" kern="1200" dirty="0">
                      <a:solidFill>
                        <a:schemeClr val="tx1">
                          <a:lumMod val="50000"/>
                          <a:lumOff val="50000"/>
                        </a:schemeClr>
                      </a:solidFill>
                      <a:latin typeface="Arial" charset="0"/>
                      <a:ea typeface="Arial" charset="0"/>
                      <a:cs typeface="Arial" charset="0"/>
                    </a:rPr>
                  </a:br>
                  <a:r>
                    <a:rPr lang="en-US" sz="900" b="1" kern="1200" dirty="0">
                      <a:solidFill>
                        <a:schemeClr val="tx1">
                          <a:lumMod val="50000"/>
                          <a:lumOff val="50000"/>
                        </a:schemeClr>
                      </a:solidFill>
                      <a:latin typeface="Arial" charset="0"/>
                      <a:ea typeface="Arial" charset="0"/>
                      <a:cs typeface="Arial" charset="0"/>
                    </a:rPr>
                    <a:t>drag</a:t>
                  </a:r>
                  <a:r>
                    <a:rPr lang="en-US" sz="900" kern="1200" dirty="0">
                      <a:solidFill>
                        <a:schemeClr val="tx1">
                          <a:lumMod val="50000"/>
                          <a:lumOff val="50000"/>
                        </a:schemeClr>
                      </a:solidFill>
                      <a:latin typeface="Arial" charset="0"/>
                      <a:ea typeface="Arial" charset="0"/>
                      <a:cs typeface="Arial" charset="0"/>
                    </a:rPr>
                    <a:t> the cursor to below and to the right of the last placeholder and </a:t>
                  </a:r>
                  <a:r>
                    <a:rPr lang="en-US" sz="900" b="1" kern="1200" dirty="0">
                      <a:solidFill>
                        <a:schemeClr val="tx1">
                          <a:lumMod val="50000"/>
                          <a:lumOff val="50000"/>
                        </a:schemeClr>
                      </a:solidFill>
                      <a:latin typeface="Arial" charset="0"/>
                      <a:ea typeface="Arial" charset="0"/>
                      <a:cs typeface="Arial" charset="0"/>
                    </a:rPr>
                    <a:t>release</a:t>
                  </a:r>
                  <a:r>
                    <a:rPr lang="en-US" sz="900" kern="1200" dirty="0">
                      <a:solidFill>
                        <a:schemeClr val="tx1">
                          <a:lumMod val="50000"/>
                          <a:lumOff val="50000"/>
                        </a:schemeClr>
                      </a:solidFill>
                      <a:latin typeface="Arial" charset="0"/>
                      <a:ea typeface="Arial" charset="0"/>
                      <a:cs typeface="Arial" charset="0"/>
                    </a:rPr>
                    <a:t> the click.</a:t>
                  </a:r>
                </a:p>
              </p:txBody>
            </p:sp>
          </p:grpSp>
          <p:pic>
            <p:nvPicPr>
              <p:cNvPr id="24" name="Picture 23">
                <a:extLst>
                  <a:ext uri="{FF2B5EF4-FFF2-40B4-BE49-F238E27FC236}">
                    <a16:creationId xmlns:a16="http://schemas.microsoft.com/office/drawing/2014/main" id="{DC5AED72-86C8-4444-90CE-59B076CE4755}"/>
                  </a:ext>
                </a:extLst>
              </p:cNvPr>
              <p:cNvPicPr>
                <a:picLocks noChangeAspect="1"/>
              </p:cNvPicPr>
              <p:nvPr userDrawn="1"/>
            </p:nvPicPr>
            <p:blipFill rotWithShape="1">
              <a:blip r:embed="rId7"/>
              <a:srcRect t="33282" b="9876"/>
              <a:stretch/>
            </p:blipFill>
            <p:spPr>
              <a:xfrm>
                <a:off x="10901855" y="2099340"/>
                <a:ext cx="1237314" cy="517325"/>
              </a:xfrm>
              <a:prstGeom prst="rect">
                <a:avLst/>
              </a:prstGeom>
            </p:spPr>
          </p:pic>
        </p:grpSp>
      </p:grpSp>
      <p:sp>
        <p:nvSpPr>
          <p:cNvPr id="4" name="Title 3">
            <a:extLst>
              <a:ext uri="{FF2B5EF4-FFF2-40B4-BE49-F238E27FC236}">
                <a16:creationId xmlns:a16="http://schemas.microsoft.com/office/drawing/2014/main" id="{E767ABA5-A206-AB44-BDCD-CBEA4F6A3193}"/>
              </a:ext>
            </a:extLst>
          </p:cNvPr>
          <p:cNvSpPr>
            <a:spLocks noGrp="1"/>
          </p:cNvSpPr>
          <p:nvPr>
            <p:ph type="title" hasCustomPrompt="1"/>
          </p:nvPr>
        </p:nvSpPr>
        <p:spPr/>
        <p:txBody>
          <a:bodyPr/>
          <a:lstStyle>
            <a:lvl1pPr>
              <a:defRPr/>
            </a:lvl1pPr>
          </a:lstStyle>
          <a:p>
            <a:r>
              <a:rPr lang="en-US" dirty="0"/>
              <a:t>Click to add agenda title. All caps. Two lines max.</a:t>
            </a:r>
          </a:p>
        </p:txBody>
      </p:sp>
      <p:sp>
        <p:nvSpPr>
          <p:cNvPr id="91" name="Text Placeholder 5">
            <a:extLst>
              <a:ext uri="{FF2B5EF4-FFF2-40B4-BE49-F238E27FC236}">
                <a16:creationId xmlns:a16="http://schemas.microsoft.com/office/drawing/2014/main" id="{E65DF37D-BE32-8D48-B3BD-F72A205AA20A}"/>
              </a:ext>
            </a:extLst>
          </p:cNvPr>
          <p:cNvSpPr>
            <a:spLocks noGrp="1"/>
          </p:cNvSpPr>
          <p:nvPr userDrawn="1">
            <p:ph type="body" sz="quarter" idx="134" hasCustomPrompt="1"/>
          </p:nvPr>
        </p:nvSpPr>
        <p:spPr>
          <a:xfrm>
            <a:off x="12935628" y="2361849"/>
            <a:ext cx="3239224" cy="376755"/>
          </a:xfrm>
          <a:solidFill>
            <a:schemeClr val="accent1"/>
          </a:solidFill>
          <a:ln w="31750">
            <a:solidFill>
              <a:schemeClr val="accent1"/>
            </a:solidFill>
          </a:ln>
          <a:effectLst/>
        </p:spPr>
        <p:txBody>
          <a:bodyPr lIns="432000" tIns="0" rIns="36000" anchor="ctr"/>
          <a:lstStyle>
            <a:lvl1pPr marL="0" indent="0">
              <a:buNone/>
              <a:defRPr b="1">
                <a:solidFill>
                  <a:schemeClr val="bg1"/>
                </a:solidFill>
              </a:defRPr>
            </a:lvl1pPr>
          </a:lstStyle>
          <a:p>
            <a:pPr lvl="0"/>
            <a:r>
              <a:rPr lang="en-US" dirty="0"/>
              <a:t>Select for Title style</a:t>
            </a:r>
          </a:p>
        </p:txBody>
      </p:sp>
      <p:sp>
        <p:nvSpPr>
          <p:cNvPr id="92" name="Text Placeholder 5">
            <a:extLst>
              <a:ext uri="{FF2B5EF4-FFF2-40B4-BE49-F238E27FC236}">
                <a16:creationId xmlns:a16="http://schemas.microsoft.com/office/drawing/2014/main" id="{D92F429B-9DFB-EE41-9601-2CCC105A7E84}"/>
              </a:ext>
            </a:extLst>
          </p:cNvPr>
          <p:cNvSpPr>
            <a:spLocks noGrp="1"/>
          </p:cNvSpPr>
          <p:nvPr userDrawn="1">
            <p:ph type="body" sz="quarter" idx="135" hasCustomPrompt="1"/>
          </p:nvPr>
        </p:nvSpPr>
        <p:spPr>
          <a:xfrm>
            <a:off x="12935628" y="4222583"/>
            <a:ext cx="3239224" cy="376755"/>
          </a:xfrm>
          <a:noFill/>
          <a:ln w="31750">
            <a:noFill/>
          </a:ln>
          <a:effectLst/>
        </p:spPr>
        <p:txBody>
          <a:bodyPr lIns="0" tIns="0" rIns="0" anchor="ctr"/>
          <a:lstStyle>
            <a:lvl1pPr marL="0" indent="0" algn="r">
              <a:buNone/>
              <a:defRPr b="1">
                <a:solidFill>
                  <a:schemeClr val="bg1"/>
                </a:solidFill>
              </a:defRPr>
            </a:lvl1pPr>
          </a:lstStyle>
          <a:p>
            <a:pPr lvl="0"/>
            <a:r>
              <a:rPr lang="en-US" dirty="0"/>
              <a:t>Select for Page # style</a:t>
            </a:r>
          </a:p>
        </p:txBody>
      </p:sp>
      <p:sp>
        <p:nvSpPr>
          <p:cNvPr id="140" name="Text Placeholder 6">
            <a:extLst>
              <a:ext uri="{FF2B5EF4-FFF2-40B4-BE49-F238E27FC236}">
                <a16:creationId xmlns:a16="http://schemas.microsoft.com/office/drawing/2014/main" id="{89312458-EDEA-F145-8A40-F9DE180A0CD5}"/>
              </a:ext>
            </a:extLst>
          </p:cNvPr>
          <p:cNvSpPr>
            <a:spLocks noGrp="1"/>
          </p:cNvSpPr>
          <p:nvPr>
            <p:ph type="body" idx="13" hasCustomPrompt="1"/>
          </p:nvPr>
        </p:nvSpPr>
        <p:spPr>
          <a:xfrm>
            <a:off x="0" y="1230726"/>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41" name="Text Placeholder 6">
            <a:extLst>
              <a:ext uri="{FF2B5EF4-FFF2-40B4-BE49-F238E27FC236}">
                <a16:creationId xmlns:a16="http://schemas.microsoft.com/office/drawing/2014/main" id="{0881407E-5EEA-0645-B564-820137734C4B}"/>
              </a:ext>
            </a:extLst>
          </p:cNvPr>
          <p:cNvSpPr>
            <a:spLocks noGrp="1"/>
          </p:cNvSpPr>
          <p:nvPr>
            <p:ph type="body" idx="14" hasCustomPrompt="1"/>
          </p:nvPr>
        </p:nvSpPr>
        <p:spPr>
          <a:xfrm>
            <a:off x="0" y="1583212"/>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42" name="Text Placeholder 6">
            <a:extLst>
              <a:ext uri="{FF2B5EF4-FFF2-40B4-BE49-F238E27FC236}">
                <a16:creationId xmlns:a16="http://schemas.microsoft.com/office/drawing/2014/main" id="{975DCA04-BA85-B943-AAF1-92DA5F62A968}"/>
              </a:ext>
            </a:extLst>
          </p:cNvPr>
          <p:cNvSpPr>
            <a:spLocks noGrp="1"/>
          </p:cNvSpPr>
          <p:nvPr>
            <p:ph type="body" idx="15" hasCustomPrompt="1"/>
          </p:nvPr>
        </p:nvSpPr>
        <p:spPr>
          <a:xfrm>
            <a:off x="0" y="1935698"/>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43" name="Text Placeholder 6">
            <a:extLst>
              <a:ext uri="{FF2B5EF4-FFF2-40B4-BE49-F238E27FC236}">
                <a16:creationId xmlns:a16="http://schemas.microsoft.com/office/drawing/2014/main" id="{F953D556-C770-7D48-83BE-3EAD34AD583E}"/>
              </a:ext>
            </a:extLst>
          </p:cNvPr>
          <p:cNvSpPr>
            <a:spLocks noGrp="1"/>
          </p:cNvSpPr>
          <p:nvPr>
            <p:ph type="body" idx="16" hasCustomPrompt="1"/>
          </p:nvPr>
        </p:nvSpPr>
        <p:spPr>
          <a:xfrm>
            <a:off x="0" y="2288184"/>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44" name="Text Placeholder 6">
            <a:extLst>
              <a:ext uri="{FF2B5EF4-FFF2-40B4-BE49-F238E27FC236}">
                <a16:creationId xmlns:a16="http://schemas.microsoft.com/office/drawing/2014/main" id="{91CCF692-76BB-6A4A-885F-E120A2711E82}"/>
              </a:ext>
            </a:extLst>
          </p:cNvPr>
          <p:cNvSpPr>
            <a:spLocks noGrp="1"/>
          </p:cNvSpPr>
          <p:nvPr>
            <p:ph type="body" idx="17" hasCustomPrompt="1"/>
          </p:nvPr>
        </p:nvSpPr>
        <p:spPr>
          <a:xfrm>
            <a:off x="0" y="2640670"/>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45" name="Text Placeholder 6">
            <a:extLst>
              <a:ext uri="{FF2B5EF4-FFF2-40B4-BE49-F238E27FC236}">
                <a16:creationId xmlns:a16="http://schemas.microsoft.com/office/drawing/2014/main" id="{0C2671C4-8F73-6846-BED4-E27156554831}"/>
              </a:ext>
            </a:extLst>
          </p:cNvPr>
          <p:cNvSpPr>
            <a:spLocks noGrp="1"/>
          </p:cNvSpPr>
          <p:nvPr>
            <p:ph type="body" idx="18" hasCustomPrompt="1"/>
          </p:nvPr>
        </p:nvSpPr>
        <p:spPr>
          <a:xfrm>
            <a:off x="0" y="2993156"/>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46" name="Text Placeholder 6">
            <a:extLst>
              <a:ext uri="{FF2B5EF4-FFF2-40B4-BE49-F238E27FC236}">
                <a16:creationId xmlns:a16="http://schemas.microsoft.com/office/drawing/2014/main" id="{5FA8609C-9B16-FA4C-9F2C-D1248CCE8ACE}"/>
              </a:ext>
            </a:extLst>
          </p:cNvPr>
          <p:cNvSpPr>
            <a:spLocks noGrp="1"/>
          </p:cNvSpPr>
          <p:nvPr>
            <p:ph type="body" idx="19" hasCustomPrompt="1"/>
          </p:nvPr>
        </p:nvSpPr>
        <p:spPr>
          <a:xfrm>
            <a:off x="0" y="3345642"/>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47" name="Text Placeholder 6">
            <a:extLst>
              <a:ext uri="{FF2B5EF4-FFF2-40B4-BE49-F238E27FC236}">
                <a16:creationId xmlns:a16="http://schemas.microsoft.com/office/drawing/2014/main" id="{1160FF45-12A6-CA4A-AD6A-594E7B625D99}"/>
              </a:ext>
            </a:extLst>
          </p:cNvPr>
          <p:cNvSpPr>
            <a:spLocks noGrp="1"/>
          </p:cNvSpPr>
          <p:nvPr>
            <p:ph type="body" idx="20" hasCustomPrompt="1"/>
          </p:nvPr>
        </p:nvSpPr>
        <p:spPr>
          <a:xfrm>
            <a:off x="0" y="3698128"/>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48" name="Text Placeholder 69">
            <a:extLst>
              <a:ext uri="{FF2B5EF4-FFF2-40B4-BE49-F238E27FC236}">
                <a16:creationId xmlns:a16="http://schemas.microsoft.com/office/drawing/2014/main" id="{36C55682-41D4-2C46-A3E5-75E11CF3010E}"/>
              </a:ext>
            </a:extLst>
          </p:cNvPr>
          <p:cNvSpPr>
            <a:spLocks noGrp="1"/>
          </p:cNvSpPr>
          <p:nvPr>
            <p:ph type="body" sz="quarter" idx="21" hasCustomPrompt="1"/>
          </p:nvPr>
        </p:nvSpPr>
        <p:spPr>
          <a:xfrm>
            <a:off x="10381560" y="1230726"/>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49" name="Text Placeholder 69">
            <a:extLst>
              <a:ext uri="{FF2B5EF4-FFF2-40B4-BE49-F238E27FC236}">
                <a16:creationId xmlns:a16="http://schemas.microsoft.com/office/drawing/2014/main" id="{7A7DE69A-7CAC-2D4F-9EBA-789484126889}"/>
              </a:ext>
            </a:extLst>
          </p:cNvPr>
          <p:cNvSpPr>
            <a:spLocks noGrp="1"/>
          </p:cNvSpPr>
          <p:nvPr>
            <p:ph type="body" sz="quarter" idx="22" hasCustomPrompt="1"/>
          </p:nvPr>
        </p:nvSpPr>
        <p:spPr>
          <a:xfrm>
            <a:off x="10381560" y="1583212"/>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50" name="Text Placeholder 69">
            <a:extLst>
              <a:ext uri="{FF2B5EF4-FFF2-40B4-BE49-F238E27FC236}">
                <a16:creationId xmlns:a16="http://schemas.microsoft.com/office/drawing/2014/main" id="{8C8F8AB9-E553-FD43-9A74-A94070ABC6D9}"/>
              </a:ext>
            </a:extLst>
          </p:cNvPr>
          <p:cNvSpPr>
            <a:spLocks noGrp="1"/>
          </p:cNvSpPr>
          <p:nvPr>
            <p:ph type="body" sz="quarter" idx="23" hasCustomPrompt="1"/>
          </p:nvPr>
        </p:nvSpPr>
        <p:spPr>
          <a:xfrm>
            <a:off x="10381560" y="1935698"/>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51" name="Text Placeholder 69">
            <a:extLst>
              <a:ext uri="{FF2B5EF4-FFF2-40B4-BE49-F238E27FC236}">
                <a16:creationId xmlns:a16="http://schemas.microsoft.com/office/drawing/2014/main" id="{34397210-0F6A-4541-BF87-6238DCF7C31B}"/>
              </a:ext>
            </a:extLst>
          </p:cNvPr>
          <p:cNvSpPr>
            <a:spLocks noGrp="1"/>
          </p:cNvSpPr>
          <p:nvPr>
            <p:ph type="body" sz="quarter" idx="24" hasCustomPrompt="1"/>
          </p:nvPr>
        </p:nvSpPr>
        <p:spPr>
          <a:xfrm>
            <a:off x="10381560" y="2288184"/>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52" name="Text Placeholder 69">
            <a:extLst>
              <a:ext uri="{FF2B5EF4-FFF2-40B4-BE49-F238E27FC236}">
                <a16:creationId xmlns:a16="http://schemas.microsoft.com/office/drawing/2014/main" id="{36CB0180-6E7E-6345-BDFC-A24B6037542B}"/>
              </a:ext>
            </a:extLst>
          </p:cNvPr>
          <p:cNvSpPr>
            <a:spLocks noGrp="1"/>
          </p:cNvSpPr>
          <p:nvPr>
            <p:ph type="body" sz="quarter" idx="25" hasCustomPrompt="1"/>
          </p:nvPr>
        </p:nvSpPr>
        <p:spPr>
          <a:xfrm>
            <a:off x="10381560" y="2640670"/>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53" name="Text Placeholder 69">
            <a:extLst>
              <a:ext uri="{FF2B5EF4-FFF2-40B4-BE49-F238E27FC236}">
                <a16:creationId xmlns:a16="http://schemas.microsoft.com/office/drawing/2014/main" id="{3CDC531E-C59A-6648-B4C3-453444CE827E}"/>
              </a:ext>
            </a:extLst>
          </p:cNvPr>
          <p:cNvSpPr>
            <a:spLocks noGrp="1"/>
          </p:cNvSpPr>
          <p:nvPr>
            <p:ph type="body" sz="quarter" idx="26" hasCustomPrompt="1"/>
          </p:nvPr>
        </p:nvSpPr>
        <p:spPr>
          <a:xfrm>
            <a:off x="10381560" y="2993156"/>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54" name="Text Placeholder 69">
            <a:extLst>
              <a:ext uri="{FF2B5EF4-FFF2-40B4-BE49-F238E27FC236}">
                <a16:creationId xmlns:a16="http://schemas.microsoft.com/office/drawing/2014/main" id="{BB4EABB9-2DDE-734C-86AB-12B8EF0C6145}"/>
              </a:ext>
            </a:extLst>
          </p:cNvPr>
          <p:cNvSpPr>
            <a:spLocks noGrp="1"/>
          </p:cNvSpPr>
          <p:nvPr>
            <p:ph type="body" sz="quarter" idx="27" hasCustomPrompt="1"/>
          </p:nvPr>
        </p:nvSpPr>
        <p:spPr>
          <a:xfrm>
            <a:off x="10381560" y="3345642"/>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55" name="Text Placeholder 69">
            <a:extLst>
              <a:ext uri="{FF2B5EF4-FFF2-40B4-BE49-F238E27FC236}">
                <a16:creationId xmlns:a16="http://schemas.microsoft.com/office/drawing/2014/main" id="{51A31BC1-EC5B-CB48-906F-8A670330B3EE}"/>
              </a:ext>
            </a:extLst>
          </p:cNvPr>
          <p:cNvSpPr>
            <a:spLocks noGrp="1"/>
          </p:cNvSpPr>
          <p:nvPr>
            <p:ph type="body" sz="quarter" idx="28" hasCustomPrompt="1"/>
          </p:nvPr>
        </p:nvSpPr>
        <p:spPr>
          <a:xfrm>
            <a:off x="10381560" y="3698128"/>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56" name="Text Placeholder 6">
            <a:extLst>
              <a:ext uri="{FF2B5EF4-FFF2-40B4-BE49-F238E27FC236}">
                <a16:creationId xmlns:a16="http://schemas.microsoft.com/office/drawing/2014/main" id="{CA10688B-9A84-134D-8815-3C14EE382980}"/>
              </a:ext>
            </a:extLst>
          </p:cNvPr>
          <p:cNvSpPr>
            <a:spLocks noGrp="1"/>
          </p:cNvSpPr>
          <p:nvPr>
            <p:ph type="body" idx="29" hasCustomPrompt="1"/>
          </p:nvPr>
        </p:nvSpPr>
        <p:spPr>
          <a:xfrm>
            <a:off x="0" y="4050614"/>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57" name="Text Placeholder 69">
            <a:extLst>
              <a:ext uri="{FF2B5EF4-FFF2-40B4-BE49-F238E27FC236}">
                <a16:creationId xmlns:a16="http://schemas.microsoft.com/office/drawing/2014/main" id="{2CC5EBD5-D4B3-9A4D-9E40-19DDAE3DAEFC}"/>
              </a:ext>
            </a:extLst>
          </p:cNvPr>
          <p:cNvSpPr>
            <a:spLocks noGrp="1"/>
          </p:cNvSpPr>
          <p:nvPr>
            <p:ph type="body" sz="quarter" idx="30" hasCustomPrompt="1"/>
          </p:nvPr>
        </p:nvSpPr>
        <p:spPr>
          <a:xfrm>
            <a:off x="10381560" y="4050614"/>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58" name="Text Placeholder 6">
            <a:extLst>
              <a:ext uri="{FF2B5EF4-FFF2-40B4-BE49-F238E27FC236}">
                <a16:creationId xmlns:a16="http://schemas.microsoft.com/office/drawing/2014/main" id="{FB2BCC6B-9E0C-6B4D-BFAF-3D33A4C41128}"/>
              </a:ext>
            </a:extLst>
          </p:cNvPr>
          <p:cNvSpPr>
            <a:spLocks noGrp="1"/>
          </p:cNvSpPr>
          <p:nvPr>
            <p:ph type="body" idx="31" hasCustomPrompt="1"/>
          </p:nvPr>
        </p:nvSpPr>
        <p:spPr>
          <a:xfrm>
            <a:off x="0" y="4403100"/>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59" name="Text Placeholder 69">
            <a:extLst>
              <a:ext uri="{FF2B5EF4-FFF2-40B4-BE49-F238E27FC236}">
                <a16:creationId xmlns:a16="http://schemas.microsoft.com/office/drawing/2014/main" id="{1AF143A3-F8D7-B34D-9F19-6EA9A69EE4F0}"/>
              </a:ext>
            </a:extLst>
          </p:cNvPr>
          <p:cNvSpPr>
            <a:spLocks noGrp="1"/>
          </p:cNvSpPr>
          <p:nvPr>
            <p:ph type="body" sz="quarter" idx="32" hasCustomPrompt="1"/>
          </p:nvPr>
        </p:nvSpPr>
        <p:spPr>
          <a:xfrm>
            <a:off x="10381560" y="4403100"/>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60" name="Text Placeholder 6">
            <a:extLst>
              <a:ext uri="{FF2B5EF4-FFF2-40B4-BE49-F238E27FC236}">
                <a16:creationId xmlns:a16="http://schemas.microsoft.com/office/drawing/2014/main" id="{F9389DF8-3B53-1B40-A060-E67F5DE54FBC}"/>
              </a:ext>
            </a:extLst>
          </p:cNvPr>
          <p:cNvSpPr>
            <a:spLocks noGrp="1"/>
          </p:cNvSpPr>
          <p:nvPr>
            <p:ph type="body" idx="33" hasCustomPrompt="1"/>
          </p:nvPr>
        </p:nvSpPr>
        <p:spPr>
          <a:xfrm>
            <a:off x="0" y="4755586"/>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61" name="Text Placeholder 69">
            <a:extLst>
              <a:ext uri="{FF2B5EF4-FFF2-40B4-BE49-F238E27FC236}">
                <a16:creationId xmlns:a16="http://schemas.microsoft.com/office/drawing/2014/main" id="{8FB5E79E-4CE6-7348-93FF-FB68EFF84A06}"/>
              </a:ext>
            </a:extLst>
          </p:cNvPr>
          <p:cNvSpPr>
            <a:spLocks noGrp="1"/>
          </p:cNvSpPr>
          <p:nvPr>
            <p:ph type="body" sz="quarter" idx="34" hasCustomPrompt="1"/>
          </p:nvPr>
        </p:nvSpPr>
        <p:spPr>
          <a:xfrm>
            <a:off x="10381560" y="4755586"/>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62" name="Text Placeholder 6">
            <a:extLst>
              <a:ext uri="{FF2B5EF4-FFF2-40B4-BE49-F238E27FC236}">
                <a16:creationId xmlns:a16="http://schemas.microsoft.com/office/drawing/2014/main" id="{87654A3A-847F-514C-80BD-916D718925CF}"/>
              </a:ext>
            </a:extLst>
          </p:cNvPr>
          <p:cNvSpPr>
            <a:spLocks noGrp="1"/>
          </p:cNvSpPr>
          <p:nvPr>
            <p:ph type="body" idx="35" hasCustomPrompt="1"/>
          </p:nvPr>
        </p:nvSpPr>
        <p:spPr>
          <a:xfrm>
            <a:off x="0" y="5108072"/>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63" name="Text Placeholder 69">
            <a:extLst>
              <a:ext uri="{FF2B5EF4-FFF2-40B4-BE49-F238E27FC236}">
                <a16:creationId xmlns:a16="http://schemas.microsoft.com/office/drawing/2014/main" id="{EAC4FBD6-5E88-E34F-8DC2-FB0F2C077716}"/>
              </a:ext>
            </a:extLst>
          </p:cNvPr>
          <p:cNvSpPr>
            <a:spLocks noGrp="1"/>
          </p:cNvSpPr>
          <p:nvPr>
            <p:ph type="body" sz="quarter" idx="36" hasCustomPrompt="1"/>
          </p:nvPr>
        </p:nvSpPr>
        <p:spPr>
          <a:xfrm>
            <a:off x="10381560" y="5108072"/>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64" name="Text Placeholder 6">
            <a:extLst>
              <a:ext uri="{FF2B5EF4-FFF2-40B4-BE49-F238E27FC236}">
                <a16:creationId xmlns:a16="http://schemas.microsoft.com/office/drawing/2014/main" id="{4169DB4D-BE6F-E041-BBF4-2D644201504F}"/>
              </a:ext>
            </a:extLst>
          </p:cNvPr>
          <p:cNvSpPr>
            <a:spLocks noGrp="1"/>
          </p:cNvSpPr>
          <p:nvPr>
            <p:ph type="body" idx="37" hasCustomPrompt="1"/>
          </p:nvPr>
        </p:nvSpPr>
        <p:spPr>
          <a:xfrm>
            <a:off x="0" y="5460558"/>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dirty="0"/>
              <a:t>Click to add agenda item</a:t>
            </a:r>
          </a:p>
        </p:txBody>
      </p:sp>
      <p:sp>
        <p:nvSpPr>
          <p:cNvPr id="165" name="Text Placeholder 69">
            <a:extLst>
              <a:ext uri="{FF2B5EF4-FFF2-40B4-BE49-F238E27FC236}">
                <a16:creationId xmlns:a16="http://schemas.microsoft.com/office/drawing/2014/main" id="{EF574AB8-FA67-6841-815F-020BC196CFE4}"/>
              </a:ext>
            </a:extLst>
          </p:cNvPr>
          <p:cNvSpPr>
            <a:spLocks noGrp="1"/>
          </p:cNvSpPr>
          <p:nvPr>
            <p:ph type="body" sz="quarter" idx="38" hasCustomPrompt="1"/>
          </p:nvPr>
        </p:nvSpPr>
        <p:spPr>
          <a:xfrm>
            <a:off x="10381560" y="5460558"/>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166" name="Text Placeholder 6">
            <a:extLst>
              <a:ext uri="{FF2B5EF4-FFF2-40B4-BE49-F238E27FC236}">
                <a16:creationId xmlns:a16="http://schemas.microsoft.com/office/drawing/2014/main" id="{0459AF7C-F9C3-8848-B7D8-3D970B0ABB9C}"/>
              </a:ext>
            </a:extLst>
          </p:cNvPr>
          <p:cNvSpPr>
            <a:spLocks noGrp="1"/>
          </p:cNvSpPr>
          <p:nvPr>
            <p:ph type="body" idx="39" hasCustomPrompt="1"/>
          </p:nvPr>
        </p:nvSpPr>
        <p:spPr>
          <a:xfrm>
            <a:off x="0" y="5813050"/>
            <a:ext cx="12192000" cy="352800"/>
          </a:xfrm>
          <a:blipFill dpi="0" rotWithShape="1">
            <a:blip r:embed="rId2"/>
            <a:srcRect/>
            <a:stretch>
              <a:fillRect/>
            </a:stretch>
          </a:blipFill>
          <a:ln>
            <a:noFill/>
          </a:ln>
          <a:effectLst/>
        </p:spPr>
        <p:txBody>
          <a:bodyPr lIns="432000" rIns="36000" anchor="ctr"/>
          <a:lstStyle>
            <a:lvl1pPr marL="0" indent="0">
              <a:spcBef>
                <a:spcPts val="0"/>
              </a:spcBef>
              <a:spcAft>
                <a:spcPts val="0"/>
              </a:spcAft>
              <a:buFontTx/>
              <a:buNone/>
              <a:tabLst/>
              <a:defRPr b="0">
                <a:solidFill>
                  <a:schemeClr val="accent1"/>
                </a:solidFill>
              </a:defRPr>
            </a:lvl1pPr>
            <a:lvl2pPr marL="0" indent="0">
              <a:spcBef>
                <a:spcPts val="0"/>
              </a:spcBef>
              <a:spcAft>
                <a:spcPts val="0"/>
              </a:spcAft>
              <a:buFontTx/>
              <a:buNone/>
              <a:tabLst/>
              <a:defRPr>
                <a:solidFill>
                  <a:schemeClr val="accent1"/>
                </a:solidFill>
              </a:defRPr>
            </a:lvl2pPr>
            <a:lvl3pPr marL="0" indent="0">
              <a:spcBef>
                <a:spcPts val="0"/>
              </a:spcBef>
              <a:spcAft>
                <a:spcPts val="0"/>
              </a:spcAft>
              <a:buFontTx/>
              <a:buNone/>
              <a:tabLst/>
              <a:defRPr>
                <a:solidFill>
                  <a:schemeClr val="accent1"/>
                </a:solidFill>
              </a:defRPr>
            </a:lvl3pPr>
            <a:lvl4pPr marL="0" indent="0">
              <a:spcBef>
                <a:spcPts val="0"/>
              </a:spcBef>
              <a:spcAft>
                <a:spcPts val="0"/>
              </a:spcAft>
              <a:buFontTx/>
              <a:buNone/>
              <a:tabLst/>
              <a:defRPr>
                <a:solidFill>
                  <a:schemeClr val="accent1"/>
                </a:solidFill>
              </a:defRPr>
            </a:lvl4pPr>
            <a:lvl5pPr marL="0" indent="0">
              <a:spcBef>
                <a:spcPts val="0"/>
              </a:spcBef>
              <a:spcAft>
                <a:spcPts val="0"/>
              </a:spcAft>
              <a:buFontTx/>
              <a:buNone/>
              <a:tabLst/>
              <a:defRPr>
                <a:solidFill>
                  <a:schemeClr val="accent1"/>
                </a:solidFill>
              </a:defRPr>
            </a:lvl5pPr>
            <a:lvl6pPr marL="0" indent="0">
              <a:spcBef>
                <a:spcPts val="0"/>
              </a:spcBef>
              <a:spcAft>
                <a:spcPts val="0"/>
              </a:spcAft>
              <a:buFontTx/>
              <a:buNone/>
              <a:tabLst/>
              <a:defRPr>
                <a:solidFill>
                  <a:schemeClr val="accent1"/>
                </a:solidFill>
              </a:defRPr>
            </a:lvl6pPr>
            <a:lvl7pPr marL="0" indent="0">
              <a:spcBef>
                <a:spcPts val="0"/>
              </a:spcBef>
              <a:spcAft>
                <a:spcPts val="0"/>
              </a:spcAft>
              <a:buFontTx/>
              <a:buNone/>
              <a:tabLst/>
              <a:defRPr>
                <a:solidFill>
                  <a:schemeClr val="accent1"/>
                </a:solidFill>
              </a:defRPr>
            </a:lvl7pPr>
            <a:lvl8pPr marL="0" indent="0">
              <a:spcBef>
                <a:spcPts val="0"/>
              </a:spcBef>
              <a:spcAft>
                <a:spcPts val="0"/>
              </a:spcAft>
              <a:buFontTx/>
              <a:buNone/>
              <a:tabLst/>
              <a:defRPr>
                <a:solidFill>
                  <a:schemeClr val="accent1"/>
                </a:solidFill>
              </a:defRPr>
            </a:lvl8pPr>
            <a:lvl9pPr marL="0" indent="0">
              <a:spcBef>
                <a:spcPts val="0"/>
              </a:spcBef>
              <a:spcAft>
                <a:spcPts val="0"/>
              </a:spcAft>
              <a:buFontTx/>
              <a:buNone/>
              <a:tabLst/>
              <a:defRPr>
                <a:solidFill>
                  <a:schemeClr val="accent1"/>
                </a:solidFill>
              </a:defRPr>
            </a:lvl9pPr>
          </a:lstStyle>
          <a:p>
            <a:pPr lvl="0"/>
            <a:r>
              <a:rPr lang="en-US" dirty="0"/>
              <a:t>Click to add agenda item</a:t>
            </a:r>
          </a:p>
        </p:txBody>
      </p:sp>
      <p:sp>
        <p:nvSpPr>
          <p:cNvPr id="167" name="Text Placeholder 69">
            <a:extLst>
              <a:ext uri="{FF2B5EF4-FFF2-40B4-BE49-F238E27FC236}">
                <a16:creationId xmlns:a16="http://schemas.microsoft.com/office/drawing/2014/main" id="{A130898E-B3C8-8D4A-86AB-EE7C88D7DE71}"/>
              </a:ext>
            </a:extLst>
          </p:cNvPr>
          <p:cNvSpPr>
            <a:spLocks noGrp="1"/>
          </p:cNvSpPr>
          <p:nvPr>
            <p:ph type="body" sz="quarter" idx="40" hasCustomPrompt="1"/>
          </p:nvPr>
        </p:nvSpPr>
        <p:spPr>
          <a:xfrm>
            <a:off x="10381560" y="5813050"/>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dirty="0"/>
              <a:t>#</a:t>
            </a:r>
          </a:p>
        </p:txBody>
      </p:sp>
      <p:sp>
        <p:nvSpPr>
          <p:cNvPr id="9" name="Date Placeholder 8">
            <a:extLst>
              <a:ext uri="{FF2B5EF4-FFF2-40B4-BE49-F238E27FC236}">
                <a16:creationId xmlns:a16="http://schemas.microsoft.com/office/drawing/2014/main" id="{1BD1BB5F-2891-C741-80FB-ACCBFEFCAA72}"/>
              </a:ext>
            </a:extLst>
          </p:cNvPr>
          <p:cNvSpPr>
            <a:spLocks noGrp="1"/>
          </p:cNvSpPr>
          <p:nvPr>
            <p:ph type="dt" sz="half" idx="136"/>
          </p:nvPr>
        </p:nvSpPr>
        <p:spPr/>
        <p:txBody>
          <a:bodyPr/>
          <a:lstStyle/>
          <a:p>
            <a:endParaRPr lang="en-US" dirty="0"/>
          </a:p>
        </p:txBody>
      </p:sp>
      <p:sp>
        <p:nvSpPr>
          <p:cNvPr id="10" name="Footer Placeholder 9">
            <a:extLst>
              <a:ext uri="{FF2B5EF4-FFF2-40B4-BE49-F238E27FC236}">
                <a16:creationId xmlns:a16="http://schemas.microsoft.com/office/drawing/2014/main" id="{9FD48C64-B26D-4248-ADFF-B57DB1CAC3A7}"/>
              </a:ext>
            </a:extLst>
          </p:cNvPr>
          <p:cNvSpPr>
            <a:spLocks noGrp="1"/>
          </p:cNvSpPr>
          <p:nvPr>
            <p:ph type="ftr" sz="quarter" idx="137"/>
          </p:nvPr>
        </p:nvSpPr>
        <p:spPr/>
        <p:txBody>
          <a:bodyPr/>
          <a:lstStyle/>
          <a:p>
            <a:endParaRPr lang="en-US" dirty="0"/>
          </a:p>
        </p:txBody>
      </p:sp>
      <p:sp>
        <p:nvSpPr>
          <p:cNvPr id="11" name="Slide Number Placeholder 10">
            <a:extLst>
              <a:ext uri="{FF2B5EF4-FFF2-40B4-BE49-F238E27FC236}">
                <a16:creationId xmlns:a16="http://schemas.microsoft.com/office/drawing/2014/main" id="{B1FDB9A5-CCD3-A540-98D5-77F33D645D45}"/>
              </a:ext>
            </a:extLst>
          </p:cNvPr>
          <p:cNvSpPr>
            <a:spLocks noGrp="1"/>
          </p:cNvSpPr>
          <p:nvPr>
            <p:ph type="sldNum" sz="quarter" idx="13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386707808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ection Agenda (Photo)">
    <p:bg>
      <p:bgPr>
        <a:solidFill>
          <a:schemeClr val="bg1"/>
        </a:solidFill>
        <a:effectLst/>
      </p:bgPr>
    </p:bg>
    <p:spTree>
      <p:nvGrpSpPr>
        <p:cNvPr id="1" name=""/>
        <p:cNvGrpSpPr/>
        <p:nvPr/>
      </p:nvGrpSpPr>
      <p:grpSpPr>
        <a:xfrm>
          <a:off x="0" y="0"/>
          <a:ext cx="0" cy="0"/>
          <a:chOff x="0" y="0"/>
          <a:chExt cx="0" cy="0"/>
        </a:xfrm>
      </p:grpSpPr>
      <p:sp>
        <p:nvSpPr>
          <p:cNvPr id="59" name="Picture Placeholder 58">
            <a:extLst>
              <a:ext uri="{FF2B5EF4-FFF2-40B4-BE49-F238E27FC236}">
                <a16:creationId xmlns:a16="http://schemas.microsoft.com/office/drawing/2014/main" id="{9D16650F-B8A3-FC4A-A2ED-7C5C7D17A2AE}"/>
              </a:ext>
            </a:extLst>
          </p:cNvPr>
          <p:cNvSpPr>
            <a:spLocks noGrp="1"/>
          </p:cNvSpPr>
          <p:nvPr>
            <p:ph type="pic" sz="quarter" idx="10" hasCustomPrompt="1"/>
          </p:nvPr>
        </p:nvSpPr>
        <p:spPr>
          <a:xfrm>
            <a:off x="0" y="1112838"/>
            <a:ext cx="12192000" cy="5745162"/>
          </a:xfrm>
          <a:custGeom>
            <a:avLst/>
            <a:gdLst>
              <a:gd name="connsiteX0" fmla="*/ 8381735 w 9144000"/>
              <a:gd name="connsiteY0" fmla="*/ 5463184 h 5745162"/>
              <a:gd name="connsiteX1" fmla="*/ 8398942 w 9144000"/>
              <a:gd name="connsiteY1" fmla="*/ 5465039 h 5745162"/>
              <a:gd name="connsiteX2" fmla="*/ 8407847 w 9144000"/>
              <a:gd name="connsiteY2" fmla="*/ 5471828 h 5745162"/>
              <a:gd name="connsiteX3" fmla="*/ 8413547 w 9144000"/>
              <a:gd name="connsiteY3" fmla="*/ 5482153 h 5745162"/>
              <a:gd name="connsiteX4" fmla="*/ 8415584 w 9144000"/>
              <a:gd name="connsiteY4" fmla="*/ 5495365 h 5745162"/>
              <a:gd name="connsiteX5" fmla="*/ 8413646 w 9144000"/>
              <a:gd name="connsiteY5" fmla="*/ 5508436 h 5745162"/>
              <a:gd name="connsiteX6" fmla="*/ 8407947 w 9144000"/>
              <a:gd name="connsiteY6" fmla="*/ 5518831 h 5745162"/>
              <a:gd name="connsiteX7" fmla="*/ 8375887 w 9144000"/>
              <a:gd name="connsiteY7" fmla="*/ 5525676 h 5745162"/>
              <a:gd name="connsiteX8" fmla="*/ 8366910 w 9144000"/>
              <a:gd name="connsiteY8" fmla="*/ 5518831 h 5745162"/>
              <a:gd name="connsiteX9" fmla="*/ 8361211 w 9144000"/>
              <a:gd name="connsiteY9" fmla="*/ 5508436 h 5745162"/>
              <a:gd name="connsiteX10" fmla="*/ 8359045 w 9144000"/>
              <a:gd name="connsiteY10" fmla="*/ 5495365 h 5745162"/>
              <a:gd name="connsiteX11" fmla="*/ 8361097 w 9144000"/>
              <a:gd name="connsiteY11" fmla="*/ 5482153 h 5745162"/>
              <a:gd name="connsiteX12" fmla="*/ 8366796 w 9144000"/>
              <a:gd name="connsiteY12" fmla="*/ 5471828 h 5745162"/>
              <a:gd name="connsiteX13" fmla="*/ 8381735 w 9144000"/>
              <a:gd name="connsiteY13" fmla="*/ 5463184 h 5745162"/>
              <a:gd name="connsiteX14" fmla="*/ 8525633 w 9144000"/>
              <a:gd name="connsiteY14" fmla="*/ 5440648 h 5745162"/>
              <a:gd name="connsiteX15" fmla="*/ 8525633 w 9144000"/>
              <a:gd name="connsiteY15" fmla="*/ 5486594 h 5745162"/>
              <a:gd name="connsiteX16" fmla="*/ 8525633 w 9144000"/>
              <a:gd name="connsiteY16" fmla="*/ 5549935 h 5745162"/>
              <a:gd name="connsiteX17" fmla="*/ 8595623 w 9144000"/>
              <a:gd name="connsiteY17" fmla="*/ 5549935 h 5745162"/>
              <a:gd name="connsiteX18" fmla="*/ 8596022 w 9144000"/>
              <a:gd name="connsiteY18" fmla="*/ 5549935 h 5745162"/>
              <a:gd name="connsiteX19" fmla="*/ 8596022 w 9144000"/>
              <a:gd name="connsiteY19" fmla="*/ 5532934 h 5745162"/>
              <a:gd name="connsiteX20" fmla="*/ 8595623 w 9144000"/>
              <a:gd name="connsiteY20" fmla="*/ 5532934 h 5745162"/>
              <a:gd name="connsiteX21" fmla="*/ 8595623 w 9144000"/>
              <a:gd name="connsiteY21" fmla="*/ 5526836 h 5745162"/>
              <a:gd name="connsiteX22" fmla="*/ 8551295 w 9144000"/>
              <a:gd name="connsiteY22" fmla="*/ 5526836 h 5745162"/>
              <a:gd name="connsiteX23" fmla="*/ 8551295 w 9144000"/>
              <a:gd name="connsiteY23" fmla="*/ 5505511 h 5745162"/>
              <a:gd name="connsiteX24" fmla="*/ 8591705 w 9144000"/>
              <a:gd name="connsiteY24" fmla="*/ 5505511 h 5745162"/>
              <a:gd name="connsiteX25" fmla="*/ 8591705 w 9144000"/>
              <a:gd name="connsiteY25" fmla="*/ 5483439 h 5745162"/>
              <a:gd name="connsiteX26" fmla="*/ 8551295 w 9144000"/>
              <a:gd name="connsiteY26" fmla="*/ 5483439 h 5745162"/>
              <a:gd name="connsiteX27" fmla="*/ 8551295 w 9144000"/>
              <a:gd name="connsiteY27" fmla="*/ 5463917 h 5745162"/>
              <a:gd name="connsiteX28" fmla="*/ 8595623 w 9144000"/>
              <a:gd name="connsiteY28" fmla="*/ 5463917 h 5745162"/>
              <a:gd name="connsiteX29" fmla="*/ 8595623 w 9144000"/>
              <a:gd name="connsiteY29" fmla="*/ 5457649 h 5745162"/>
              <a:gd name="connsiteX30" fmla="*/ 8596022 w 9144000"/>
              <a:gd name="connsiteY30" fmla="*/ 5457649 h 5745162"/>
              <a:gd name="connsiteX31" fmla="*/ 8596022 w 9144000"/>
              <a:gd name="connsiteY31" fmla="*/ 5440648 h 5745162"/>
              <a:gd name="connsiteX32" fmla="*/ 8595623 w 9144000"/>
              <a:gd name="connsiteY32" fmla="*/ 5440648 h 5745162"/>
              <a:gd name="connsiteX33" fmla="*/ 8547362 w 9144000"/>
              <a:gd name="connsiteY33" fmla="*/ 5440648 h 5745162"/>
              <a:gd name="connsiteX34" fmla="*/ 8448177 w 9144000"/>
              <a:gd name="connsiteY34" fmla="*/ 5440648 h 5745162"/>
              <a:gd name="connsiteX35" fmla="*/ 8448177 w 9144000"/>
              <a:gd name="connsiteY35" fmla="*/ 5486594 h 5745162"/>
              <a:gd name="connsiteX36" fmla="*/ 8448177 w 9144000"/>
              <a:gd name="connsiteY36" fmla="*/ 5549935 h 5745162"/>
              <a:gd name="connsiteX37" fmla="*/ 8518167 w 9144000"/>
              <a:gd name="connsiteY37" fmla="*/ 5549935 h 5745162"/>
              <a:gd name="connsiteX38" fmla="*/ 8518552 w 9144000"/>
              <a:gd name="connsiteY38" fmla="*/ 5549935 h 5745162"/>
              <a:gd name="connsiteX39" fmla="*/ 8518552 w 9144000"/>
              <a:gd name="connsiteY39" fmla="*/ 5532934 h 5745162"/>
              <a:gd name="connsiteX40" fmla="*/ 8518167 w 9144000"/>
              <a:gd name="connsiteY40" fmla="*/ 5532934 h 5745162"/>
              <a:gd name="connsiteX41" fmla="*/ 8518167 w 9144000"/>
              <a:gd name="connsiteY41" fmla="*/ 5526836 h 5745162"/>
              <a:gd name="connsiteX42" fmla="*/ 8473825 w 9144000"/>
              <a:gd name="connsiteY42" fmla="*/ 5526836 h 5745162"/>
              <a:gd name="connsiteX43" fmla="*/ 8473825 w 9144000"/>
              <a:gd name="connsiteY43" fmla="*/ 5505511 h 5745162"/>
              <a:gd name="connsiteX44" fmla="*/ 8514235 w 9144000"/>
              <a:gd name="connsiteY44" fmla="*/ 5505511 h 5745162"/>
              <a:gd name="connsiteX45" fmla="*/ 8514235 w 9144000"/>
              <a:gd name="connsiteY45" fmla="*/ 5483439 h 5745162"/>
              <a:gd name="connsiteX46" fmla="*/ 8473825 w 9144000"/>
              <a:gd name="connsiteY46" fmla="*/ 5483439 h 5745162"/>
              <a:gd name="connsiteX47" fmla="*/ 8473825 w 9144000"/>
              <a:gd name="connsiteY47" fmla="*/ 5463917 h 5745162"/>
              <a:gd name="connsiteX48" fmla="*/ 8518167 w 9144000"/>
              <a:gd name="connsiteY48" fmla="*/ 5463917 h 5745162"/>
              <a:gd name="connsiteX49" fmla="*/ 8518167 w 9144000"/>
              <a:gd name="connsiteY49" fmla="*/ 5457649 h 5745162"/>
              <a:gd name="connsiteX50" fmla="*/ 8518552 w 9144000"/>
              <a:gd name="connsiteY50" fmla="*/ 5457649 h 5745162"/>
              <a:gd name="connsiteX51" fmla="*/ 8518552 w 9144000"/>
              <a:gd name="connsiteY51" fmla="*/ 5440648 h 5745162"/>
              <a:gd name="connsiteX52" fmla="*/ 8518167 w 9144000"/>
              <a:gd name="connsiteY52" fmla="*/ 5440648 h 5745162"/>
              <a:gd name="connsiteX53" fmla="*/ 8469892 w 9144000"/>
              <a:gd name="connsiteY53" fmla="*/ 5440648 h 5745162"/>
              <a:gd name="connsiteX54" fmla="*/ 8387913 w 9144000"/>
              <a:gd name="connsiteY54" fmla="*/ 5440615 h 5745162"/>
              <a:gd name="connsiteX55" fmla="*/ 8365286 w 9144000"/>
              <a:gd name="connsiteY55" fmla="*/ 5444841 h 5745162"/>
              <a:gd name="connsiteX56" fmla="*/ 8357150 w 9144000"/>
              <a:gd name="connsiteY56" fmla="*/ 5448968 h 5745162"/>
              <a:gd name="connsiteX57" fmla="*/ 8332784 w 9144000"/>
              <a:gd name="connsiteY57" fmla="*/ 5500534 h 5745162"/>
              <a:gd name="connsiteX58" fmla="*/ 8336389 w 9144000"/>
              <a:gd name="connsiteY58" fmla="*/ 5517014 h 5745162"/>
              <a:gd name="connsiteX59" fmla="*/ 8364431 w 9144000"/>
              <a:gd name="connsiteY59" fmla="*/ 5545747 h 5745162"/>
              <a:gd name="connsiteX60" fmla="*/ 8386916 w 9144000"/>
              <a:gd name="connsiteY60" fmla="*/ 5549973 h 5745162"/>
              <a:gd name="connsiteX61" fmla="*/ 8409486 w 9144000"/>
              <a:gd name="connsiteY61" fmla="*/ 5545747 h 5745162"/>
              <a:gd name="connsiteX62" fmla="*/ 8426926 w 9144000"/>
              <a:gd name="connsiteY62" fmla="*/ 5534268 h 5745162"/>
              <a:gd name="connsiteX63" fmla="*/ 8438240 w 9144000"/>
              <a:gd name="connsiteY63" fmla="*/ 5517014 h 5745162"/>
              <a:gd name="connsiteX64" fmla="*/ 8442258 w 9144000"/>
              <a:gd name="connsiteY64" fmla="*/ 5495365 h 5745162"/>
              <a:gd name="connsiteX65" fmla="*/ 8438397 w 9144000"/>
              <a:gd name="connsiteY65" fmla="*/ 5473631 h 5745162"/>
              <a:gd name="connsiteX66" fmla="*/ 8427439 w 9144000"/>
              <a:gd name="connsiteY66" fmla="*/ 5456320 h 5745162"/>
              <a:gd name="connsiteX67" fmla="*/ 8410341 w 9144000"/>
              <a:gd name="connsiteY67" fmla="*/ 5444841 h 5745162"/>
              <a:gd name="connsiteX68" fmla="*/ 8387913 w 9144000"/>
              <a:gd name="connsiteY68" fmla="*/ 5440615 h 5745162"/>
              <a:gd name="connsiteX69" fmla="*/ 8245203 w 9144000"/>
              <a:gd name="connsiteY69" fmla="*/ 5440268 h 5745162"/>
              <a:gd name="connsiteX70" fmla="*/ 8261546 w 9144000"/>
              <a:gd name="connsiteY70" fmla="*/ 5474340 h 5745162"/>
              <a:gd name="connsiteX71" fmla="*/ 8288505 w 9144000"/>
              <a:gd name="connsiteY71" fmla="*/ 5474340 h 5745162"/>
              <a:gd name="connsiteX72" fmla="*/ 8274156 w 9144000"/>
              <a:gd name="connsiteY72" fmla="*/ 5440268 h 5745162"/>
              <a:gd name="connsiteX73" fmla="*/ 8325053 w 9144000"/>
              <a:gd name="connsiteY73" fmla="*/ 5440254 h 5745162"/>
              <a:gd name="connsiteX74" fmla="*/ 8299363 w 9144000"/>
              <a:gd name="connsiteY74" fmla="*/ 5499384 h 5745162"/>
              <a:gd name="connsiteX75" fmla="*/ 8292395 w 9144000"/>
              <a:gd name="connsiteY75" fmla="*/ 5483045 h 5745162"/>
              <a:gd name="connsiteX76" fmla="*/ 8265650 w 9144000"/>
              <a:gd name="connsiteY76" fmla="*/ 5483045 h 5745162"/>
              <a:gd name="connsiteX77" fmla="*/ 8297582 w 9144000"/>
              <a:gd name="connsiteY77" fmla="*/ 5549710 h 5745162"/>
              <a:gd name="connsiteX78" fmla="*/ 8300545 w 9144000"/>
              <a:gd name="connsiteY78" fmla="*/ 5549710 h 5745162"/>
              <a:gd name="connsiteX79" fmla="*/ 8352283 w 9144000"/>
              <a:gd name="connsiteY79" fmla="*/ 5440254 h 5745162"/>
              <a:gd name="connsiteX80" fmla="*/ 8704282 w 9144000"/>
              <a:gd name="connsiteY80" fmla="*/ 5402716 h 5745162"/>
              <a:gd name="connsiteX81" fmla="*/ 8704282 w 9144000"/>
              <a:gd name="connsiteY81" fmla="*/ 5577644 h 5745162"/>
              <a:gd name="connsiteX82" fmla="*/ 8723671 w 9144000"/>
              <a:gd name="connsiteY82" fmla="*/ 5577644 h 5745162"/>
              <a:gd name="connsiteX83" fmla="*/ 8723671 w 9144000"/>
              <a:gd name="connsiteY83" fmla="*/ 5402716 h 5745162"/>
              <a:gd name="connsiteX84" fmla="*/ 0 w 9144000"/>
              <a:gd name="connsiteY84" fmla="*/ 0 h 5745162"/>
              <a:gd name="connsiteX85" fmla="*/ 9144000 w 9144000"/>
              <a:gd name="connsiteY85" fmla="*/ 0 h 5745162"/>
              <a:gd name="connsiteX86" fmla="*/ 9144000 w 9144000"/>
              <a:gd name="connsiteY86" fmla="*/ 5101843 h 5745162"/>
              <a:gd name="connsiteX87" fmla="*/ 9144000 w 9144000"/>
              <a:gd name="connsiteY87" fmla="*/ 5284313 h 5745162"/>
              <a:gd name="connsiteX88" fmla="*/ 9144000 w 9144000"/>
              <a:gd name="connsiteY88" fmla="*/ 5288954 h 5745162"/>
              <a:gd name="connsiteX89" fmla="*/ 9144000 w 9144000"/>
              <a:gd name="connsiteY89" fmla="*/ 5322124 h 5745162"/>
              <a:gd name="connsiteX90" fmla="*/ 9144000 w 9144000"/>
              <a:gd name="connsiteY90" fmla="*/ 5745162 h 5745162"/>
              <a:gd name="connsiteX91" fmla="*/ 8995529 w 9144000"/>
              <a:gd name="connsiteY91" fmla="*/ 5745162 h 5745162"/>
              <a:gd name="connsiteX92" fmla="*/ 7924718 w 9144000"/>
              <a:gd name="connsiteY92" fmla="*/ 5745162 h 5745162"/>
              <a:gd name="connsiteX93" fmla="*/ 0 w 9144000"/>
              <a:gd name="connsiteY93" fmla="*/ 5745162 h 5745162"/>
              <a:gd name="connsiteX94" fmla="*/ 0 w 9144000"/>
              <a:gd name="connsiteY94" fmla="*/ 5322124 h 5745162"/>
              <a:gd name="connsiteX95" fmla="*/ 0 w 9144000"/>
              <a:gd name="connsiteY95" fmla="*/ 5288954 h 5745162"/>
              <a:gd name="connsiteX96" fmla="*/ 0 w 9144000"/>
              <a:gd name="connsiteY96" fmla="*/ 5284313 h 5745162"/>
              <a:gd name="connsiteX97" fmla="*/ 0 w 9144000"/>
              <a:gd name="connsiteY97" fmla="*/ 5101843 h 57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144000" h="5745162">
                <a:moveTo>
                  <a:pt x="8381735" y="5463184"/>
                </a:moveTo>
                <a:cubicBezTo>
                  <a:pt x="8387385" y="5461991"/>
                  <a:pt x="8393413" y="5462547"/>
                  <a:pt x="8398942" y="5465039"/>
                </a:cubicBezTo>
                <a:cubicBezTo>
                  <a:pt x="8402361" y="5466657"/>
                  <a:pt x="8405396" y="5468970"/>
                  <a:pt x="8407847" y="5471828"/>
                </a:cubicBezTo>
                <a:cubicBezTo>
                  <a:pt x="8410387" y="5474885"/>
                  <a:pt x="8412320" y="5478388"/>
                  <a:pt x="8413547" y="5482153"/>
                </a:cubicBezTo>
                <a:cubicBezTo>
                  <a:pt x="8414952" y="5486417"/>
                  <a:pt x="8415640" y="5490880"/>
                  <a:pt x="8415584" y="5495365"/>
                </a:cubicBezTo>
                <a:cubicBezTo>
                  <a:pt x="8415665" y="5499797"/>
                  <a:pt x="8415011" y="5504213"/>
                  <a:pt x="8413646" y="5508436"/>
                </a:cubicBezTo>
                <a:cubicBezTo>
                  <a:pt x="8412411" y="5512218"/>
                  <a:pt x="8410478" y="5515742"/>
                  <a:pt x="8407947" y="5518831"/>
                </a:cubicBezTo>
                <a:cubicBezTo>
                  <a:pt x="8399972" y="5527877"/>
                  <a:pt x="8386928" y="5530662"/>
                  <a:pt x="8375887" y="5525676"/>
                </a:cubicBezTo>
                <a:cubicBezTo>
                  <a:pt x="8372423" y="5524073"/>
                  <a:pt x="8369358" y="5521736"/>
                  <a:pt x="8366910" y="5518831"/>
                </a:cubicBezTo>
                <a:cubicBezTo>
                  <a:pt x="8364379" y="5515742"/>
                  <a:pt x="8362446" y="5512218"/>
                  <a:pt x="8361211" y="5508436"/>
                </a:cubicBezTo>
                <a:cubicBezTo>
                  <a:pt x="8359769" y="5504225"/>
                  <a:pt x="8359038" y="5499809"/>
                  <a:pt x="8359045" y="5495365"/>
                </a:cubicBezTo>
                <a:cubicBezTo>
                  <a:pt x="8358993" y="5490879"/>
                  <a:pt x="8359686" y="5486416"/>
                  <a:pt x="8361097" y="5482153"/>
                </a:cubicBezTo>
                <a:cubicBezTo>
                  <a:pt x="8362323" y="5478388"/>
                  <a:pt x="8364257" y="5474885"/>
                  <a:pt x="8366796" y="5471828"/>
                </a:cubicBezTo>
                <a:cubicBezTo>
                  <a:pt x="8370813" y="5467320"/>
                  <a:pt x="8376085" y="5464377"/>
                  <a:pt x="8381735" y="5463184"/>
                </a:cubicBezTo>
                <a:close/>
                <a:moveTo>
                  <a:pt x="8525633" y="5440648"/>
                </a:moveTo>
                <a:lnTo>
                  <a:pt x="8525633" y="5486594"/>
                </a:lnTo>
                <a:lnTo>
                  <a:pt x="8525633" y="5549935"/>
                </a:lnTo>
                <a:lnTo>
                  <a:pt x="8595623" y="5549935"/>
                </a:lnTo>
                <a:lnTo>
                  <a:pt x="8596022" y="5549935"/>
                </a:lnTo>
                <a:lnTo>
                  <a:pt x="8596022" y="5532934"/>
                </a:lnTo>
                <a:lnTo>
                  <a:pt x="8595623" y="5532934"/>
                </a:lnTo>
                <a:lnTo>
                  <a:pt x="8595623" y="5526836"/>
                </a:lnTo>
                <a:lnTo>
                  <a:pt x="8551295" y="5526836"/>
                </a:lnTo>
                <a:lnTo>
                  <a:pt x="8551295" y="5505511"/>
                </a:lnTo>
                <a:lnTo>
                  <a:pt x="8591705" y="5505511"/>
                </a:lnTo>
                <a:lnTo>
                  <a:pt x="8591705" y="5483439"/>
                </a:lnTo>
                <a:lnTo>
                  <a:pt x="8551295" y="5483439"/>
                </a:lnTo>
                <a:lnTo>
                  <a:pt x="8551295" y="5463917"/>
                </a:lnTo>
                <a:lnTo>
                  <a:pt x="8595623" y="5463917"/>
                </a:lnTo>
                <a:lnTo>
                  <a:pt x="8595623" y="5457649"/>
                </a:lnTo>
                <a:lnTo>
                  <a:pt x="8596022" y="5457649"/>
                </a:lnTo>
                <a:lnTo>
                  <a:pt x="8596022" y="5440648"/>
                </a:lnTo>
                <a:lnTo>
                  <a:pt x="8595623" y="5440648"/>
                </a:lnTo>
                <a:lnTo>
                  <a:pt x="8547362" y="5440648"/>
                </a:lnTo>
                <a:close/>
                <a:moveTo>
                  <a:pt x="8448177" y="5440648"/>
                </a:moveTo>
                <a:lnTo>
                  <a:pt x="8448177" y="5486594"/>
                </a:lnTo>
                <a:lnTo>
                  <a:pt x="8448177" y="5549935"/>
                </a:lnTo>
                <a:lnTo>
                  <a:pt x="8518167" y="5549935"/>
                </a:lnTo>
                <a:lnTo>
                  <a:pt x="8518552" y="5549935"/>
                </a:lnTo>
                <a:lnTo>
                  <a:pt x="8518552" y="5532934"/>
                </a:lnTo>
                <a:lnTo>
                  <a:pt x="8518167" y="5532934"/>
                </a:lnTo>
                <a:lnTo>
                  <a:pt x="8518167" y="5526836"/>
                </a:lnTo>
                <a:lnTo>
                  <a:pt x="8473825" y="5526836"/>
                </a:lnTo>
                <a:lnTo>
                  <a:pt x="8473825" y="5505511"/>
                </a:lnTo>
                <a:lnTo>
                  <a:pt x="8514235" y="5505511"/>
                </a:lnTo>
                <a:lnTo>
                  <a:pt x="8514235" y="5483439"/>
                </a:lnTo>
                <a:lnTo>
                  <a:pt x="8473825" y="5483439"/>
                </a:lnTo>
                <a:lnTo>
                  <a:pt x="8473825" y="5463917"/>
                </a:lnTo>
                <a:lnTo>
                  <a:pt x="8518167" y="5463917"/>
                </a:lnTo>
                <a:lnTo>
                  <a:pt x="8518167" y="5457649"/>
                </a:lnTo>
                <a:lnTo>
                  <a:pt x="8518552" y="5457649"/>
                </a:lnTo>
                <a:lnTo>
                  <a:pt x="8518552" y="5440648"/>
                </a:lnTo>
                <a:lnTo>
                  <a:pt x="8518167" y="5440648"/>
                </a:lnTo>
                <a:lnTo>
                  <a:pt x="8469892" y="5440648"/>
                </a:lnTo>
                <a:close/>
                <a:moveTo>
                  <a:pt x="8387913" y="5440615"/>
                </a:moveTo>
                <a:cubicBezTo>
                  <a:pt x="8380162" y="5440531"/>
                  <a:pt x="8372471" y="5441967"/>
                  <a:pt x="8365286" y="5444841"/>
                </a:cubicBezTo>
                <a:cubicBezTo>
                  <a:pt x="8362463" y="5445992"/>
                  <a:pt x="8359742" y="5447373"/>
                  <a:pt x="8357150" y="5448968"/>
                </a:cubicBezTo>
                <a:lnTo>
                  <a:pt x="8332784" y="5500534"/>
                </a:lnTo>
                <a:cubicBezTo>
                  <a:pt x="8333178" y="5506170"/>
                  <a:pt x="8334392" y="5511720"/>
                  <a:pt x="8336389" y="5517014"/>
                </a:cubicBezTo>
                <a:cubicBezTo>
                  <a:pt x="8341193" y="5530088"/>
                  <a:pt x="8351385" y="5540532"/>
                  <a:pt x="8364431" y="5545747"/>
                </a:cubicBezTo>
                <a:cubicBezTo>
                  <a:pt x="8371564" y="5548631"/>
                  <a:pt x="8379210" y="5550068"/>
                  <a:pt x="8386916" y="5549973"/>
                </a:cubicBezTo>
                <a:cubicBezTo>
                  <a:pt x="8394648" y="5550060"/>
                  <a:pt x="8402321" y="5548624"/>
                  <a:pt x="8409486" y="5545747"/>
                </a:cubicBezTo>
                <a:cubicBezTo>
                  <a:pt x="8416013" y="5543105"/>
                  <a:pt x="8421943" y="5539203"/>
                  <a:pt x="8426926" y="5534268"/>
                </a:cubicBezTo>
                <a:cubicBezTo>
                  <a:pt x="8431850" y="5529341"/>
                  <a:pt x="8435700" y="5523468"/>
                  <a:pt x="8438240" y="5517014"/>
                </a:cubicBezTo>
                <a:cubicBezTo>
                  <a:pt x="8440974" y="5510120"/>
                  <a:pt x="8442338" y="5502769"/>
                  <a:pt x="8442258" y="5495365"/>
                </a:cubicBezTo>
                <a:cubicBezTo>
                  <a:pt x="8442328" y="5487947"/>
                  <a:pt x="8441019" y="5480581"/>
                  <a:pt x="8438397" y="5473631"/>
                </a:cubicBezTo>
                <a:cubicBezTo>
                  <a:pt x="8435967" y="5467187"/>
                  <a:pt x="8432239" y="5461298"/>
                  <a:pt x="8427439" y="5456320"/>
                </a:cubicBezTo>
                <a:cubicBezTo>
                  <a:pt x="8422597" y="5451374"/>
                  <a:pt x="8416777" y="5447467"/>
                  <a:pt x="8410341" y="5444841"/>
                </a:cubicBezTo>
                <a:cubicBezTo>
                  <a:pt x="8403230" y="5441951"/>
                  <a:pt x="8395601" y="5440514"/>
                  <a:pt x="8387913" y="5440615"/>
                </a:cubicBezTo>
                <a:close/>
                <a:moveTo>
                  <a:pt x="8245203" y="5440268"/>
                </a:moveTo>
                <a:lnTo>
                  <a:pt x="8261546" y="5474340"/>
                </a:lnTo>
                <a:lnTo>
                  <a:pt x="8288505" y="5474340"/>
                </a:lnTo>
                <a:lnTo>
                  <a:pt x="8274156" y="5440268"/>
                </a:lnTo>
                <a:close/>
                <a:moveTo>
                  <a:pt x="8325053" y="5440254"/>
                </a:moveTo>
                <a:lnTo>
                  <a:pt x="8299363" y="5499384"/>
                </a:lnTo>
                <a:lnTo>
                  <a:pt x="8292395" y="5483045"/>
                </a:lnTo>
                <a:lnTo>
                  <a:pt x="8265650" y="5483045"/>
                </a:lnTo>
                <a:lnTo>
                  <a:pt x="8297582" y="5549710"/>
                </a:lnTo>
                <a:lnTo>
                  <a:pt x="8300545" y="5549710"/>
                </a:lnTo>
                <a:lnTo>
                  <a:pt x="8352283" y="5440254"/>
                </a:lnTo>
                <a:close/>
                <a:moveTo>
                  <a:pt x="8704282" y="5402716"/>
                </a:moveTo>
                <a:lnTo>
                  <a:pt x="8704282" y="5577644"/>
                </a:lnTo>
                <a:lnTo>
                  <a:pt x="8723671" y="5577644"/>
                </a:lnTo>
                <a:lnTo>
                  <a:pt x="8723671" y="5402716"/>
                </a:lnTo>
                <a:close/>
                <a:moveTo>
                  <a:pt x="0" y="0"/>
                </a:moveTo>
                <a:lnTo>
                  <a:pt x="9144000" y="0"/>
                </a:lnTo>
                <a:lnTo>
                  <a:pt x="9144000" y="5101843"/>
                </a:lnTo>
                <a:lnTo>
                  <a:pt x="9144000" y="5284313"/>
                </a:lnTo>
                <a:lnTo>
                  <a:pt x="9144000" y="5288954"/>
                </a:lnTo>
                <a:lnTo>
                  <a:pt x="9144000" y="5322124"/>
                </a:lnTo>
                <a:lnTo>
                  <a:pt x="9144000" y="5745162"/>
                </a:lnTo>
                <a:lnTo>
                  <a:pt x="8995529" y="5745162"/>
                </a:lnTo>
                <a:lnTo>
                  <a:pt x="7924718" y="5745162"/>
                </a:lnTo>
                <a:lnTo>
                  <a:pt x="0" y="5745162"/>
                </a:lnTo>
                <a:lnTo>
                  <a:pt x="0" y="5322124"/>
                </a:lnTo>
                <a:lnTo>
                  <a:pt x="0" y="5288954"/>
                </a:lnTo>
                <a:lnTo>
                  <a:pt x="0" y="5284313"/>
                </a:lnTo>
                <a:lnTo>
                  <a:pt x="0" y="5101843"/>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 Drag image onto slide to add photo </a:t>
            </a:r>
          </a:p>
        </p:txBody>
      </p:sp>
      <p:grpSp>
        <p:nvGrpSpPr>
          <p:cNvPr id="41" name="Group 40">
            <a:extLst>
              <a:ext uri="{FF2B5EF4-FFF2-40B4-BE49-F238E27FC236}">
                <a16:creationId xmlns:a16="http://schemas.microsoft.com/office/drawing/2014/main" id="{270AAB3A-1F8E-7547-BC5B-D622E7ABEECC}"/>
              </a:ext>
            </a:extLst>
          </p:cNvPr>
          <p:cNvGrpSpPr/>
          <p:nvPr userDrawn="1"/>
        </p:nvGrpSpPr>
        <p:grpSpPr>
          <a:xfrm>
            <a:off x="12532243" y="0"/>
            <a:ext cx="3832280" cy="9929814"/>
            <a:chOff x="9399182" y="0"/>
            <a:chExt cx="2874210" cy="9929814"/>
          </a:xfrm>
        </p:grpSpPr>
        <p:sp>
          <p:nvSpPr>
            <p:cNvPr id="20" name="Rectangle 19">
              <a:extLst>
                <a:ext uri="{FF2B5EF4-FFF2-40B4-BE49-F238E27FC236}">
                  <a16:creationId xmlns:a16="http://schemas.microsoft.com/office/drawing/2014/main" id="{853DAC75-2764-F94B-801B-7E41553AA7A9}"/>
                </a:ext>
              </a:extLst>
            </p:cNvPr>
            <p:cNvSpPr/>
            <p:nvPr userDrawn="1"/>
          </p:nvSpPr>
          <p:spPr>
            <a:xfrm>
              <a:off x="9399182" y="0"/>
              <a:ext cx="2798651" cy="974407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1" name="TextBox 20">
              <a:extLst>
                <a:ext uri="{FF2B5EF4-FFF2-40B4-BE49-F238E27FC236}">
                  <a16:creationId xmlns:a16="http://schemas.microsoft.com/office/drawing/2014/main" id="{666BA62E-8407-214E-9983-5B95C260B124}"/>
                </a:ext>
              </a:extLst>
            </p:cNvPr>
            <p:cNvSpPr txBox="1"/>
            <p:nvPr userDrawn="1"/>
          </p:nvSpPr>
          <p:spPr>
            <a:xfrm>
              <a:off x="9558507" y="150290"/>
              <a:ext cx="140062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USE THE AGENDA</a:t>
              </a:r>
            </a:p>
          </p:txBody>
        </p:sp>
        <p:cxnSp>
          <p:nvCxnSpPr>
            <p:cNvPr id="22" name="Straight Connector 21">
              <a:extLst>
                <a:ext uri="{FF2B5EF4-FFF2-40B4-BE49-F238E27FC236}">
                  <a16:creationId xmlns:a16="http://schemas.microsoft.com/office/drawing/2014/main" id="{3EC19388-C76B-7448-9EDE-BDA3BAB9D416}"/>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7D14489D-EBF9-F043-8D0D-58D847FBFD92}"/>
                </a:ext>
              </a:extLst>
            </p:cNvPr>
            <p:cNvSpPr/>
            <p:nvPr/>
          </p:nvSpPr>
          <p:spPr>
            <a:xfrm>
              <a:off x="9686427" y="1588636"/>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nvGrpSpPr>
            <p:cNvPr id="24" name="Group 23">
              <a:extLst>
                <a:ext uri="{FF2B5EF4-FFF2-40B4-BE49-F238E27FC236}">
                  <a16:creationId xmlns:a16="http://schemas.microsoft.com/office/drawing/2014/main" id="{669A9012-D270-2448-A4FD-E180D5741CB9}"/>
                </a:ext>
              </a:extLst>
            </p:cNvPr>
            <p:cNvGrpSpPr/>
            <p:nvPr/>
          </p:nvGrpSpPr>
          <p:grpSpPr>
            <a:xfrm>
              <a:off x="9686426" y="2097613"/>
              <a:ext cx="2284506" cy="249299"/>
              <a:chOff x="9431244" y="2862535"/>
              <a:chExt cx="2284506" cy="249299"/>
            </a:xfrm>
          </p:grpSpPr>
          <p:sp>
            <p:nvSpPr>
              <p:cNvPr id="40" name="TextBox 39">
                <a:extLst>
                  <a:ext uri="{FF2B5EF4-FFF2-40B4-BE49-F238E27FC236}">
                    <a16:creationId xmlns:a16="http://schemas.microsoft.com/office/drawing/2014/main" id="{5AA31A6C-B76D-D84E-926A-385AA59C712C}"/>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dirty="0"/>
                  <a:t>Click the Format Painter button (           ) to copy the style.</a:t>
                </a:r>
              </a:p>
            </p:txBody>
          </p:sp>
          <p:pic>
            <p:nvPicPr>
              <p:cNvPr id="39" name="Picture 38">
                <a:extLst>
                  <a:ext uri="{FF2B5EF4-FFF2-40B4-BE49-F238E27FC236}">
                    <a16:creationId xmlns:a16="http://schemas.microsoft.com/office/drawing/2014/main" id="{1CC21A02-B792-AF47-96A4-A59105B11793}"/>
                  </a:ext>
                </a:extLst>
              </p:cNvPr>
              <p:cNvPicPr>
                <a:picLocks noChangeAspect="1"/>
              </p:cNvPicPr>
              <p:nvPr/>
            </p:nvPicPr>
            <p:blipFill>
              <a:blip r:embed="rId2"/>
              <a:stretch>
                <a:fillRect/>
              </a:stretch>
            </p:blipFill>
            <p:spPr>
              <a:xfrm>
                <a:off x="11216812" y="2866153"/>
                <a:ext cx="340854" cy="113618"/>
              </a:xfrm>
              <a:prstGeom prst="rect">
                <a:avLst/>
              </a:prstGeom>
            </p:spPr>
          </p:pic>
        </p:grpSp>
        <p:sp>
          <p:nvSpPr>
            <p:cNvPr id="25" name="TextBox 24">
              <a:extLst>
                <a:ext uri="{FF2B5EF4-FFF2-40B4-BE49-F238E27FC236}">
                  <a16:creationId xmlns:a16="http://schemas.microsoft.com/office/drawing/2014/main" id="{594CFB75-D1BB-CC4A-B543-DF9749A36F98}"/>
                </a:ext>
              </a:extLst>
            </p:cNvPr>
            <p:cNvSpPr txBox="1"/>
            <p:nvPr/>
          </p:nvSpPr>
          <p:spPr>
            <a:xfrm>
              <a:off x="9686426" y="2398746"/>
              <a:ext cx="2294082"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dirty="0"/>
                <a:t>Click anywhere on the current agenda item (on the text works here) to apply the highlight style.</a:t>
              </a:r>
            </a:p>
          </p:txBody>
        </p:sp>
        <p:sp>
          <p:nvSpPr>
            <p:cNvPr id="26" name="TextBox 25">
              <a:extLst>
                <a:ext uri="{FF2B5EF4-FFF2-40B4-BE49-F238E27FC236}">
                  <a16:creationId xmlns:a16="http://schemas.microsoft.com/office/drawing/2014/main" id="{23193EDF-0188-094A-8A3E-60EB6775D122}"/>
                </a:ext>
              </a:extLst>
            </p:cNvPr>
            <p:cNvSpPr txBox="1">
              <a:spLocks noChangeAspect="1"/>
            </p:cNvSpPr>
            <p:nvPr/>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27" name="TextBox 26">
              <a:extLst>
                <a:ext uri="{FF2B5EF4-FFF2-40B4-BE49-F238E27FC236}">
                  <a16:creationId xmlns:a16="http://schemas.microsoft.com/office/drawing/2014/main" id="{AC0A9960-B8B4-3D4C-981C-922D7EC98DE6}"/>
                </a:ext>
              </a:extLst>
            </p:cNvPr>
            <p:cNvSpPr txBox="1">
              <a:spLocks noChangeAspect="1"/>
            </p:cNvSpPr>
            <p:nvPr/>
          </p:nvSpPr>
          <p:spPr>
            <a:xfrm>
              <a:off x="9521833" y="86224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28" name="TextBox 27">
              <a:extLst>
                <a:ext uri="{FF2B5EF4-FFF2-40B4-BE49-F238E27FC236}">
                  <a16:creationId xmlns:a16="http://schemas.microsoft.com/office/drawing/2014/main" id="{E879CA51-8AA7-5B46-8B51-CCC7D4DEF501}"/>
                </a:ext>
              </a:extLst>
            </p:cNvPr>
            <p:cNvSpPr txBox="1"/>
            <p:nvPr/>
          </p:nvSpPr>
          <p:spPr>
            <a:xfrm>
              <a:off x="9811647" y="1339804"/>
              <a:ext cx="2234098"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b="1" dirty="0">
                  <a:solidFill>
                    <a:schemeClr val="bg1">
                      <a:lumMod val="85000"/>
                    </a:schemeClr>
                  </a:solidFill>
                </a:rPr>
                <a:t>Click the element border to select the shape</a:t>
              </a:r>
              <a:r>
                <a:rPr lang="en-US" sz="700" dirty="0">
                  <a:solidFill>
                    <a:schemeClr val="bg1">
                      <a:lumMod val="85000"/>
                    </a:schemeClr>
                  </a:solidFill>
                </a:rPr>
                <a:t>—it won’t work correctly if you have your cursor in the text.</a:t>
              </a:r>
            </a:p>
          </p:txBody>
        </p:sp>
        <p:sp>
          <p:nvSpPr>
            <p:cNvPr id="29" name="TextBox 28">
              <a:extLst>
                <a:ext uri="{FF2B5EF4-FFF2-40B4-BE49-F238E27FC236}">
                  <a16:creationId xmlns:a16="http://schemas.microsoft.com/office/drawing/2014/main" id="{2F0D17E0-6EFC-8B4C-BB2F-25990B9D14AE}"/>
                </a:ext>
              </a:extLst>
            </p:cNvPr>
            <p:cNvSpPr txBox="1"/>
            <p:nvPr userDrawn="1"/>
          </p:nvSpPr>
          <p:spPr>
            <a:xfrm>
              <a:off x="9686426" y="513115"/>
              <a:ext cx="2327834" cy="81458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Enter agenda items as needed.</a:t>
              </a:r>
            </a:p>
            <a:p>
              <a:pPr lvl="0"/>
              <a:r>
                <a:rPr lang="en-US" sz="1050" dirty="0"/>
                <a:t>Apply the highlight marker to the current agenda item.</a:t>
              </a:r>
            </a:p>
            <a:p>
              <a:pPr lvl="1"/>
              <a:r>
                <a:rPr lang="en-US" sz="900" dirty="0"/>
                <a:t>Select the element below:</a:t>
              </a:r>
            </a:p>
          </p:txBody>
        </p:sp>
        <p:grpSp>
          <p:nvGrpSpPr>
            <p:cNvPr id="30" name="Group 29">
              <a:extLst>
                <a:ext uri="{FF2B5EF4-FFF2-40B4-BE49-F238E27FC236}">
                  <a16:creationId xmlns:a16="http://schemas.microsoft.com/office/drawing/2014/main" id="{1B35E7F5-A8FC-E341-928F-8F1C42C01FE4}"/>
                </a:ext>
              </a:extLst>
            </p:cNvPr>
            <p:cNvGrpSpPr/>
            <p:nvPr/>
          </p:nvGrpSpPr>
          <p:grpSpPr>
            <a:xfrm>
              <a:off x="9521833" y="2859865"/>
              <a:ext cx="2545476" cy="898708"/>
              <a:chOff x="9266651" y="2105587"/>
              <a:chExt cx="2545476" cy="898708"/>
            </a:xfrm>
          </p:grpSpPr>
          <p:sp>
            <p:nvSpPr>
              <p:cNvPr id="36" name="TextBox 35">
                <a:extLst>
                  <a:ext uri="{FF2B5EF4-FFF2-40B4-BE49-F238E27FC236}">
                    <a16:creationId xmlns:a16="http://schemas.microsoft.com/office/drawing/2014/main" id="{CC0F517F-CFE4-1D43-9DEA-FE4CA6FDDFEC}"/>
                  </a:ext>
                </a:extLst>
              </p:cNvPr>
              <p:cNvSpPr txBox="1">
                <a:spLocks noChangeAspect="1"/>
              </p:cNvSpPr>
              <p:nvPr/>
            </p:nvSpPr>
            <p:spPr>
              <a:xfrm>
                <a:off x="9266651" y="21244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37" name="TextBox 36">
                <a:extLst>
                  <a:ext uri="{FF2B5EF4-FFF2-40B4-BE49-F238E27FC236}">
                    <a16:creationId xmlns:a16="http://schemas.microsoft.com/office/drawing/2014/main" id="{0A403294-57CC-B74C-A9E2-F6DA8B35535D}"/>
                  </a:ext>
                </a:extLst>
              </p:cNvPr>
              <p:cNvSpPr txBox="1"/>
              <p:nvPr/>
            </p:nvSpPr>
            <p:spPr>
              <a:xfrm>
                <a:off x="9431244" y="2105587"/>
                <a:ext cx="2380883" cy="898708"/>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Duplicate the slide to create the</a:t>
                </a:r>
                <a:br>
                  <a:rPr lang="en-US" sz="1050" dirty="0"/>
                </a:br>
                <a:r>
                  <a:rPr lang="en-US" sz="1050" dirty="0"/>
                  <a:t>other section dividers.</a:t>
                </a:r>
              </a:p>
              <a:p>
                <a:pPr lvl="1"/>
                <a:r>
                  <a:rPr lang="en-US" sz="900" dirty="0"/>
                  <a:t>Use Format Painter to copy the normal style onto the previous highlighted item.</a:t>
                </a:r>
              </a:p>
              <a:p>
                <a:pPr lvl="1"/>
                <a:r>
                  <a:rPr lang="en-US" sz="900" dirty="0"/>
                  <a:t>Then repeat step 2 to highlight the new current agenda item.</a:t>
                </a:r>
              </a:p>
            </p:txBody>
          </p:sp>
        </p:grpSp>
        <p:grpSp>
          <p:nvGrpSpPr>
            <p:cNvPr id="79" name="Group 78">
              <a:extLst>
                <a:ext uri="{FF2B5EF4-FFF2-40B4-BE49-F238E27FC236}">
                  <a16:creationId xmlns:a16="http://schemas.microsoft.com/office/drawing/2014/main" id="{1F7C72B2-FE96-1A47-B6A2-F9EF2CE88FD7}"/>
                </a:ext>
              </a:extLst>
            </p:cNvPr>
            <p:cNvGrpSpPr/>
            <p:nvPr userDrawn="1"/>
          </p:nvGrpSpPr>
          <p:grpSpPr>
            <a:xfrm>
              <a:off x="9518577" y="3853669"/>
              <a:ext cx="2754815" cy="6076145"/>
              <a:chOff x="9266651" y="185338"/>
              <a:chExt cx="2754815" cy="6076145"/>
            </a:xfrm>
          </p:grpSpPr>
          <p:sp>
            <p:nvSpPr>
              <p:cNvPr id="80" name="TextBox 79">
                <a:extLst>
                  <a:ext uri="{FF2B5EF4-FFF2-40B4-BE49-F238E27FC236}">
                    <a16:creationId xmlns:a16="http://schemas.microsoft.com/office/drawing/2014/main" id="{BDDFA1E5-2D54-1F4E-923A-1EBF3193D53E}"/>
                  </a:ext>
                </a:extLst>
              </p:cNvPr>
              <p:cNvSpPr txBox="1"/>
              <p:nvPr userDrawn="1"/>
            </p:nvSpPr>
            <p:spPr>
              <a:xfrm>
                <a:off x="9303325" y="18533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81" name="Straight Connector 80">
                <a:extLst>
                  <a:ext uri="{FF2B5EF4-FFF2-40B4-BE49-F238E27FC236}">
                    <a16:creationId xmlns:a16="http://schemas.microsoft.com/office/drawing/2014/main" id="{0BE3F141-44E1-284B-B8E2-CC13393265B4}"/>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3991E50F-278F-5C43-8750-BC1E56B6BC1D}"/>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98" name="Group 97">
                <a:extLst>
                  <a:ext uri="{FF2B5EF4-FFF2-40B4-BE49-F238E27FC236}">
                    <a16:creationId xmlns:a16="http://schemas.microsoft.com/office/drawing/2014/main" id="{83F30A99-B1CD-AB4C-82B9-107FF3C5DE2E}"/>
                  </a:ext>
                </a:extLst>
              </p:cNvPr>
              <p:cNvGrpSpPr/>
              <p:nvPr userDrawn="1"/>
            </p:nvGrpSpPr>
            <p:grpSpPr>
              <a:xfrm>
                <a:off x="9286315" y="4787849"/>
                <a:ext cx="2735151" cy="1473634"/>
                <a:chOff x="9296567" y="4910412"/>
                <a:chExt cx="2735151" cy="1473634"/>
              </a:xfrm>
            </p:grpSpPr>
            <p:sp>
              <p:nvSpPr>
                <p:cNvPr id="100" name="Rectangle 99">
                  <a:extLst>
                    <a:ext uri="{FF2B5EF4-FFF2-40B4-BE49-F238E27FC236}">
                      <a16:creationId xmlns:a16="http://schemas.microsoft.com/office/drawing/2014/main" id="{F72F3191-3FD2-CD4E-BA75-7160E4514679}"/>
                    </a:ext>
                  </a:extLst>
                </p:cNvPr>
                <p:cNvSpPr/>
                <p:nvPr userDrawn="1"/>
              </p:nvSpPr>
              <p:spPr>
                <a:xfrm>
                  <a:off x="9296567" y="4910412"/>
                  <a:ext cx="2735151" cy="147363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01" name="TextBox 100">
                  <a:extLst>
                    <a:ext uri="{FF2B5EF4-FFF2-40B4-BE49-F238E27FC236}">
                      <a16:creationId xmlns:a16="http://schemas.microsoft.com/office/drawing/2014/main" id="{324B7A18-40EA-AC4F-814A-1584DE95586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02" name="Graphic 101">
                  <a:extLst>
                    <a:ext uri="{FF2B5EF4-FFF2-40B4-BE49-F238E27FC236}">
                      <a16:creationId xmlns:a16="http://schemas.microsoft.com/office/drawing/2014/main" id="{824C424F-47CC-5B4E-9503-43961DF4F9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049494"/>
                  <a:ext cx="155227" cy="155227"/>
                </a:xfrm>
                <a:prstGeom prst="rect">
                  <a:avLst/>
                </a:prstGeom>
              </p:spPr>
            </p:pic>
            <p:sp>
              <p:nvSpPr>
                <p:cNvPr id="103" name="TextBox 102">
                  <a:extLst>
                    <a:ext uri="{FF2B5EF4-FFF2-40B4-BE49-F238E27FC236}">
                      <a16:creationId xmlns:a16="http://schemas.microsoft.com/office/drawing/2014/main" id="{960DA147-99F9-6D46-940D-A010FCA6A940}"/>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04" name="TextBox 103">
                  <a:extLst>
                    <a:ext uri="{FF2B5EF4-FFF2-40B4-BE49-F238E27FC236}">
                      <a16:creationId xmlns:a16="http://schemas.microsoft.com/office/drawing/2014/main" id="{081D9AF4-EBB7-BF4C-B301-A60743D4AF62}"/>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05" name="TextBox 104">
                  <a:extLst>
                    <a:ext uri="{FF2B5EF4-FFF2-40B4-BE49-F238E27FC236}">
                      <a16:creationId xmlns:a16="http://schemas.microsoft.com/office/drawing/2014/main" id="{F85957B1-8118-9A45-9222-78DA6A1E692E}"/>
                    </a:ext>
                  </a:extLst>
                </p:cNvPr>
                <p:cNvSpPr txBox="1"/>
                <p:nvPr userDrawn="1"/>
              </p:nvSpPr>
              <p:spPr>
                <a:xfrm>
                  <a:off x="9471805" y="6076239"/>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84" name="Group 83">
                <a:extLst>
                  <a:ext uri="{FF2B5EF4-FFF2-40B4-BE49-F238E27FC236}">
                    <a16:creationId xmlns:a16="http://schemas.microsoft.com/office/drawing/2014/main" id="{2451E775-897C-3240-87F1-FE1B59EC3995}"/>
                  </a:ext>
                </a:extLst>
              </p:cNvPr>
              <p:cNvGrpSpPr/>
              <p:nvPr userDrawn="1"/>
            </p:nvGrpSpPr>
            <p:grpSpPr>
              <a:xfrm>
                <a:off x="9286315" y="3431192"/>
                <a:ext cx="2735151" cy="1280928"/>
                <a:chOff x="9286315" y="6976989"/>
                <a:chExt cx="2735151" cy="1280928"/>
              </a:xfrm>
            </p:grpSpPr>
            <p:sp>
              <p:nvSpPr>
                <p:cNvPr id="93" name="Rectangle 92">
                  <a:extLst>
                    <a:ext uri="{FF2B5EF4-FFF2-40B4-BE49-F238E27FC236}">
                      <a16:creationId xmlns:a16="http://schemas.microsoft.com/office/drawing/2014/main" id="{BB7CAF8A-39AD-C546-8915-185237EB5B1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94" name="TextBox 93">
                  <a:extLst>
                    <a:ext uri="{FF2B5EF4-FFF2-40B4-BE49-F238E27FC236}">
                      <a16:creationId xmlns:a16="http://schemas.microsoft.com/office/drawing/2014/main" id="{C07F080B-FE36-C347-BD87-97C6AD55ADF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95" name="Graphic 94">
                  <a:extLst>
                    <a:ext uri="{FF2B5EF4-FFF2-40B4-BE49-F238E27FC236}">
                      <a16:creationId xmlns:a16="http://schemas.microsoft.com/office/drawing/2014/main" id="{AC53915D-6A22-0A40-8A2B-4B3226EA5B9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46538" y="7116071"/>
                  <a:ext cx="155227" cy="155227"/>
                </a:xfrm>
                <a:prstGeom prst="rect">
                  <a:avLst/>
                </a:prstGeom>
              </p:spPr>
            </p:pic>
            <p:sp>
              <p:nvSpPr>
                <p:cNvPr id="96" name="TextBox 95">
                  <a:extLst>
                    <a:ext uri="{FF2B5EF4-FFF2-40B4-BE49-F238E27FC236}">
                      <a16:creationId xmlns:a16="http://schemas.microsoft.com/office/drawing/2014/main" id="{EE04E77D-44DF-3D4F-8CB4-3D9B1228C4A8}"/>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97" name="Picture 96">
                  <a:extLst>
                    <a:ext uri="{FF2B5EF4-FFF2-40B4-BE49-F238E27FC236}">
                      <a16:creationId xmlns:a16="http://schemas.microsoft.com/office/drawing/2014/main" id="{5E0CC428-D7B2-C14A-B7B1-DA955AE9FA5B}"/>
                    </a:ext>
                  </a:extLst>
                </p:cNvPr>
                <p:cNvPicPr>
                  <a:picLocks noChangeAspect="1"/>
                </p:cNvPicPr>
                <p:nvPr userDrawn="1"/>
              </p:nvPicPr>
              <p:blipFill rotWithShape="1">
                <a:blip r:embed="rId5"/>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85" name="Group 84">
                <a:extLst>
                  <a:ext uri="{FF2B5EF4-FFF2-40B4-BE49-F238E27FC236}">
                    <a16:creationId xmlns:a16="http://schemas.microsoft.com/office/drawing/2014/main" id="{F58B63AF-D922-CD49-BC43-4169636672FA}"/>
                  </a:ext>
                </a:extLst>
              </p:cNvPr>
              <p:cNvGrpSpPr/>
              <p:nvPr userDrawn="1"/>
            </p:nvGrpSpPr>
            <p:grpSpPr>
              <a:xfrm>
                <a:off x="9266651" y="510458"/>
                <a:ext cx="2617883" cy="651460"/>
                <a:chOff x="12352022" y="513115"/>
                <a:chExt cx="2617883" cy="651460"/>
              </a:xfrm>
            </p:grpSpPr>
            <p:sp>
              <p:nvSpPr>
                <p:cNvPr id="90" name="TextBox 89">
                  <a:extLst>
                    <a:ext uri="{FF2B5EF4-FFF2-40B4-BE49-F238E27FC236}">
                      <a16:creationId xmlns:a16="http://schemas.microsoft.com/office/drawing/2014/main" id="{FC2CEFD3-F990-E046-992D-8FEABF5829F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1" name="TextBox 90">
                  <a:extLst>
                    <a:ext uri="{FF2B5EF4-FFF2-40B4-BE49-F238E27FC236}">
                      <a16:creationId xmlns:a16="http://schemas.microsoft.com/office/drawing/2014/main" id="{7F412C02-87CB-E340-8BE6-07A1D513485E}"/>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2" name="TextBox 91">
                  <a:extLst>
                    <a:ext uri="{FF2B5EF4-FFF2-40B4-BE49-F238E27FC236}">
                      <a16:creationId xmlns:a16="http://schemas.microsoft.com/office/drawing/2014/main" id="{798508BC-3719-F043-963D-F484982CF8A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86" name="TextBox 85">
                <a:extLst>
                  <a:ext uri="{FF2B5EF4-FFF2-40B4-BE49-F238E27FC236}">
                    <a16:creationId xmlns:a16="http://schemas.microsoft.com/office/drawing/2014/main" id="{74207B05-5316-FE4E-BDED-E91DB8AF1403}"/>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87" name="TextBox 86">
                <a:extLst>
                  <a:ext uri="{FF2B5EF4-FFF2-40B4-BE49-F238E27FC236}">
                    <a16:creationId xmlns:a16="http://schemas.microsoft.com/office/drawing/2014/main" id="{F8455CF3-6D2B-5345-A527-CD6EF4176CE7}"/>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8" name="TextBox 87">
                <a:extLst>
                  <a:ext uri="{FF2B5EF4-FFF2-40B4-BE49-F238E27FC236}">
                    <a16:creationId xmlns:a16="http://schemas.microsoft.com/office/drawing/2014/main" id="{0E69DB1A-1E4B-7947-AEE8-1AD1A0CEE871}"/>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9" name="TextBox 88">
                <a:extLst>
                  <a:ext uri="{FF2B5EF4-FFF2-40B4-BE49-F238E27FC236}">
                    <a16:creationId xmlns:a16="http://schemas.microsoft.com/office/drawing/2014/main" id="{328EEF89-7454-7C46-865B-2C0F34935AD3}"/>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71" name="Subtitle 70">
            <a:extLst>
              <a:ext uri="{FF2B5EF4-FFF2-40B4-BE49-F238E27FC236}">
                <a16:creationId xmlns:a16="http://schemas.microsoft.com/office/drawing/2014/main" id="{2902DD29-5760-7741-8B06-89111BC5AEA1}"/>
              </a:ext>
            </a:extLst>
          </p:cNvPr>
          <p:cNvSpPr>
            <a:spLocks noGrp="1"/>
          </p:cNvSpPr>
          <p:nvPr>
            <p:ph type="subTitle" sz="quarter" idx="100" hasCustomPrompt="1"/>
          </p:nvPr>
        </p:nvSpPr>
        <p:spPr>
          <a:xfrm>
            <a:off x="-1" y="1112839"/>
            <a:ext cx="9675365" cy="5745162"/>
          </a:xfrm>
          <a:custGeom>
            <a:avLst/>
            <a:gdLst>
              <a:gd name="connsiteX0" fmla="*/ 363188 w 7217022"/>
              <a:gd name="connsiteY0" fmla="*/ 0 h 5713887"/>
              <a:gd name="connsiteX1" fmla="*/ 4505496 w 7217022"/>
              <a:gd name="connsiteY1" fmla="*/ 0 h 5713887"/>
              <a:gd name="connsiteX2" fmla="*/ 7217022 w 7217022"/>
              <a:gd name="connsiteY2" fmla="*/ 5713887 h 5713887"/>
              <a:gd name="connsiteX3" fmla="*/ 1311018 w 7217022"/>
              <a:gd name="connsiteY3" fmla="*/ 5713887 h 5713887"/>
              <a:gd name="connsiteX4" fmla="*/ 363188 w 7217022"/>
              <a:gd name="connsiteY4" fmla="*/ 5713887 h 5713887"/>
              <a:gd name="connsiteX5" fmla="*/ 0 w 7217022"/>
              <a:gd name="connsiteY5" fmla="*/ 5713887 h 5713887"/>
              <a:gd name="connsiteX6" fmla="*/ 0 w 7217022"/>
              <a:gd name="connsiteY6" fmla="*/ 5186837 h 5713887"/>
              <a:gd name="connsiteX7" fmla="*/ 0 w 7217022"/>
              <a:gd name="connsiteY7" fmla="*/ 4697887 h 5713887"/>
              <a:gd name="connsiteX8" fmla="*/ 0 w 7217022"/>
              <a:gd name="connsiteY8" fmla="*/ 1293 h 5713887"/>
              <a:gd name="connsiteX9" fmla="*/ 363188 w 7217022"/>
              <a:gd name="connsiteY9" fmla="*/ 1293 h 5713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217022" h="5713887">
                <a:moveTo>
                  <a:pt x="363188" y="0"/>
                </a:moveTo>
                <a:lnTo>
                  <a:pt x="4505496" y="0"/>
                </a:lnTo>
                <a:lnTo>
                  <a:pt x="7217022" y="5713887"/>
                </a:lnTo>
                <a:lnTo>
                  <a:pt x="1311018" y="5713887"/>
                </a:lnTo>
                <a:lnTo>
                  <a:pt x="363188" y="5713887"/>
                </a:lnTo>
                <a:lnTo>
                  <a:pt x="0" y="5713887"/>
                </a:lnTo>
                <a:lnTo>
                  <a:pt x="0" y="5186837"/>
                </a:lnTo>
                <a:lnTo>
                  <a:pt x="0" y="4697887"/>
                </a:lnTo>
                <a:lnTo>
                  <a:pt x="0" y="1293"/>
                </a:lnTo>
                <a:lnTo>
                  <a:pt x="363188" y="1293"/>
                </a:lnTo>
                <a:close/>
              </a:path>
            </a:pathLst>
          </a:custGeom>
          <a:gradFill>
            <a:gsLst>
              <a:gs pos="0">
                <a:schemeClr val="accent1">
                  <a:alpha val="95000"/>
                </a:schemeClr>
              </a:gs>
              <a:gs pos="97000">
                <a:schemeClr val="accent1">
                  <a:alpha val="80000"/>
                </a:schemeClr>
              </a:gs>
            </a:gsLst>
            <a:lin ang="5400000" scaled="0"/>
          </a:gradFill>
          <a:ln>
            <a:solidFill>
              <a:schemeClr val="accent1">
                <a:alpha val="0"/>
              </a:schemeClr>
            </a:solidFill>
          </a:ln>
        </p:spPr>
        <p:txBody>
          <a:bodyPr wrap="square" lIns="432000" bIns="522000" anchor="b">
            <a:noAutofit/>
          </a:bodyPr>
          <a:lstStyle>
            <a:lvl1pPr marL="0" indent="0">
              <a:spcBef>
                <a:spcPts val="200"/>
              </a:spcBef>
              <a:spcAft>
                <a:spcPts val="0"/>
              </a:spcAft>
              <a:buSzPct val="75000"/>
              <a:buFont typeface="+mj-lt"/>
              <a:buNone/>
              <a:tabLst/>
              <a:defRPr sz="1100">
                <a:solidFill>
                  <a:schemeClr val="bg1">
                    <a:alpha val="0"/>
                  </a:schemeClr>
                </a:solidFill>
              </a:defRPr>
            </a:lvl1pPr>
            <a:lvl2pPr marL="9525" indent="0">
              <a:spcBef>
                <a:spcPts val="400"/>
              </a:spcBef>
              <a:spcAft>
                <a:spcPts val="100"/>
              </a:spcAft>
              <a:buNone/>
              <a:tabLst/>
              <a:defRPr sz="1100" i="1">
                <a:solidFill>
                  <a:schemeClr val="bg1">
                    <a:alpha val="80000"/>
                  </a:schemeClr>
                </a:solidFill>
              </a:defRPr>
            </a:lvl2pPr>
            <a:lvl3pPr>
              <a:spcBef>
                <a:spcPts val="100"/>
              </a:spcBef>
              <a:spcAft>
                <a:spcPts val="100"/>
              </a:spcAft>
              <a:defRPr sz="1100">
                <a:solidFill>
                  <a:schemeClr val="accent6"/>
                </a:solidFill>
              </a:defRPr>
            </a:lvl3pPr>
            <a:lvl4pPr>
              <a:spcBef>
                <a:spcPts val="100"/>
              </a:spcBef>
              <a:spcAft>
                <a:spcPts val="100"/>
              </a:spcAft>
              <a:defRPr sz="1100">
                <a:solidFill>
                  <a:schemeClr val="accent6"/>
                </a:solidFill>
              </a:defRPr>
            </a:lvl4pPr>
            <a:lvl5pPr>
              <a:spcBef>
                <a:spcPts val="100"/>
              </a:spcBef>
              <a:spcAft>
                <a:spcPts val="100"/>
              </a:spcAft>
              <a:defRPr sz="1100">
                <a:solidFill>
                  <a:schemeClr val="accent6"/>
                </a:solidFill>
              </a:defRPr>
            </a:lvl5pPr>
          </a:lstStyle>
          <a:p>
            <a:pPr lvl="0"/>
            <a:endParaRPr/>
          </a:p>
        </p:txBody>
      </p:sp>
      <p:sp>
        <p:nvSpPr>
          <p:cNvPr id="7" name="Text Placeholder 6">
            <a:extLst>
              <a:ext uri="{FF2B5EF4-FFF2-40B4-BE49-F238E27FC236}">
                <a16:creationId xmlns:a16="http://schemas.microsoft.com/office/drawing/2014/main" id="{31D0EBE1-B4D6-4047-83E5-6123C3DC2687}"/>
              </a:ext>
            </a:extLst>
          </p:cNvPr>
          <p:cNvSpPr>
            <a:spLocks noGrp="1"/>
          </p:cNvSpPr>
          <p:nvPr>
            <p:ph type="body" idx="13" hasCustomPrompt="1"/>
          </p:nvPr>
        </p:nvSpPr>
        <p:spPr>
          <a:xfrm>
            <a:off x="0" y="1652565"/>
            <a:ext cx="6096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dirty="0"/>
              <a:t>Click to add agenda item</a:t>
            </a:r>
          </a:p>
        </p:txBody>
      </p:sp>
      <p:sp>
        <p:nvSpPr>
          <p:cNvPr id="10" name="Text Placeholder 6">
            <a:extLst>
              <a:ext uri="{FF2B5EF4-FFF2-40B4-BE49-F238E27FC236}">
                <a16:creationId xmlns:a16="http://schemas.microsoft.com/office/drawing/2014/main" id="{CC577686-36A2-F643-B3D4-C5A2921D5F7D}"/>
              </a:ext>
            </a:extLst>
          </p:cNvPr>
          <p:cNvSpPr>
            <a:spLocks noGrp="1"/>
          </p:cNvSpPr>
          <p:nvPr>
            <p:ph type="body" idx="14" hasCustomPrompt="1"/>
          </p:nvPr>
        </p:nvSpPr>
        <p:spPr>
          <a:xfrm>
            <a:off x="0" y="2200592"/>
            <a:ext cx="6096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dirty="0"/>
              <a:t>Click to add agenda item</a:t>
            </a:r>
          </a:p>
        </p:txBody>
      </p:sp>
      <p:sp>
        <p:nvSpPr>
          <p:cNvPr id="11" name="Text Placeholder 6">
            <a:extLst>
              <a:ext uri="{FF2B5EF4-FFF2-40B4-BE49-F238E27FC236}">
                <a16:creationId xmlns:a16="http://schemas.microsoft.com/office/drawing/2014/main" id="{46DB1FB2-683E-9B4E-ACC6-B46A2F011140}"/>
              </a:ext>
            </a:extLst>
          </p:cNvPr>
          <p:cNvSpPr>
            <a:spLocks noGrp="1"/>
          </p:cNvSpPr>
          <p:nvPr>
            <p:ph type="body" idx="15" hasCustomPrompt="1"/>
          </p:nvPr>
        </p:nvSpPr>
        <p:spPr>
          <a:xfrm>
            <a:off x="0" y="2748619"/>
            <a:ext cx="6096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dirty="0"/>
              <a:t>Click to add agenda item</a:t>
            </a:r>
          </a:p>
        </p:txBody>
      </p:sp>
      <p:sp>
        <p:nvSpPr>
          <p:cNvPr id="12" name="Text Placeholder 6">
            <a:extLst>
              <a:ext uri="{FF2B5EF4-FFF2-40B4-BE49-F238E27FC236}">
                <a16:creationId xmlns:a16="http://schemas.microsoft.com/office/drawing/2014/main" id="{7006F5B0-C97C-BA41-841A-D54DE5C3469E}"/>
              </a:ext>
            </a:extLst>
          </p:cNvPr>
          <p:cNvSpPr>
            <a:spLocks noGrp="1"/>
          </p:cNvSpPr>
          <p:nvPr>
            <p:ph type="body" idx="16" hasCustomPrompt="1"/>
          </p:nvPr>
        </p:nvSpPr>
        <p:spPr>
          <a:xfrm>
            <a:off x="0" y="3296646"/>
            <a:ext cx="6096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dirty="0"/>
              <a:t>Click to add agenda item</a:t>
            </a:r>
          </a:p>
        </p:txBody>
      </p:sp>
      <p:sp>
        <p:nvSpPr>
          <p:cNvPr id="13" name="Text Placeholder 6">
            <a:extLst>
              <a:ext uri="{FF2B5EF4-FFF2-40B4-BE49-F238E27FC236}">
                <a16:creationId xmlns:a16="http://schemas.microsoft.com/office/drawing/2014/main" id="{85A21497-54A9-774D-B270-BB2E796805E7}"/>
              </a:ext>
            </a:extLst>
          </p:cNvPr>
          <p:cNvSpPr>
            <a:spLocks noGrp="1"/>
          </p:cNvSpPr>
          <p:nvPr>
            <p:ph type="body" idx="17" hasCustomPrompt="1"/>
          </p:nvPr>
        </p:nvSpPr>
        <p:spPr>
          <a:xfrm>
            <a:off x="0" y="3844673"/>
            <a:ext cx="6096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dirty="0"/>
              <a:t>Click to add agenda item</a:t>
            </a:r>
          </a:p>
        </p:txBody>
      </p:sp>
      <p:sp>
        <p:nvSpPr>
          <p:cNvPr id="14" name="Text Placeholder 6">
            <a:extLst>
              <a:ext uri="{FF2B5EF4-FFF2-40B4-BE49-F238E27FC236}">
                <a16:creationId xmlns:a16="http://schemas.microsoft.com/office/drawing/2014/main" id="{6E099CDA-61FC-6346-826F-84D1E7C935C1}"/>
              </a:ext>
            </a:extLst>
          </p:cNvPr>
          <p:cNvSpPr>
            <a:spLocks noGrp="1"/>
          </p:cNvSpPr>
          <p:nvPr>
            <p:ph type="body" idx="18" hasCustomPrompt="1"/>
          </p:nvPr>
        </p:nvSpPr>
        <p:spPr>
          <a:xfrm>
            <a:off x="0" y="4392700"/>
            <a:ext cx="6096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dirty="0"/>
              <a:t>Click to add agenda item</a:t>
            </a:r>
          </a:p>
        </p:txBody>
      </p:sp>
      <p:sp>
        <p:nvSpPr>
          <p:cNvPr id="15" name="Text Placeholder 6">
            <a:extLst>
              <a:ext uri="{FF2B5EF4-FFF2-40B4-BE49-F238E27FC236}">
                <a16:creationId xmlns:a16="http://schemas.microsoft.com/office/drawing/2014/main" id="{D3BE9B67-1FCF-0A49-9AA8-CCF0BC3A843D}"/>
              </a:ext>
            </a:extLst>
          </p:cNvPr>
          <p:cNvSpPr>
            <a:spLocks noGrp="1"/>
          </p:cNvSpPr>
          <p:nvPr>
            <p:ph type="body" idx="19" hasCustomPrompt="1"/>
          </p:nvPr>
        </p:nvSpPr>
        <p:spPr>
          <a:xfrm>
            <a:off x="0" y="4940727"/>
            <a:ext cx="6096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dirty="0"/>
              <a:t>Click to add agenda item</a:t>
            </a:r>
          </a:p>
        </p:txBody>
      </p:sp>
      <p:sp>
        <p:nvSpPr>
          <p:cNvPr id="16" name="Text Placeholder 6">
            <a:extLst>
              <a:ext uri="{FF2B5EF4-FFF2-40B4-BE49-F238E27FC236}">
                <a16:creationId xmlns:a16="http://schemas.microsoft.com/office/drawing/2014/main" id="{7AF93A84-8DAC-D44B-87D4-386F989CA395}"/>
              </a:ext>
            </a:extLst>
          </p:cNvPr>
          <p:cNvSpPr>
            <a:spLocks noGrp="1"/>
          </p:cNvSpPr>
          <p:nvPr>
            <p:ph type="body" idx="20" hasCustomPrompt="1"/>
          </p:nvPr>
        </p:nvSpPr>
        <p:spPr>
          <a:xfrm>
            <a:off x="0" y="5488751"/>
            <a:ext cx="6096000" cy="223141"/>
          </a:xfrm>
          <a:noFill/>
          <a:ln>
            <a:noFill/>
          </a:ln>
          <a:effectLst/>
        </p:spPr>
        <p:txBody>
          <a:bodyPr lIns="432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dirty="0"/>
              <a:t>Click to add agenda item</a:t>
            </a:r>
          </a:p>
        </p:txBody>
      </p:sp>
      <p:sp>
        <p:nvSpPr>
          <p:cNvPr id="6" name="Text Placeholder 5">
            <a:extLst>
              <a:ext uri="{FF2B5EF4-FFF2-40B4-BE49-F238E27FC236}">
                <a16:creationId xmlns:a16="http://schemas.microsoft.com/office/drawing/2014/main" id="{AF45B143-DDF1-6B4E-B0B2-7907B8C48F2D}"/>
              </a:ext>
            </a:extLst>
          </p:cNvPr>
          <p:cNvSpPr>
            <a:spLocks noGrp="1"/>
          </p:cNvSpPr>
          <p:nvPr userDrawn="1">
            <p:ph type="body" sz="quarter" idx="110" hasCustomPrompt="1"/>
          </p:nvPr>
        </p:nvSpPr>
        <p:spPr>
          <a:xfrm>
            <a:off x="12935628" y="1607862"/>
            <a:ext cx="3239224" cy="376755"/>
          </a:xfrm>
          <a:blipFill>
            <a:blip r:embed="rId6"/>
            <a:stretch>
              <a:fillRect/>
            </a:stretch>
          </a:blipFill>
          <a:effectLst/>
        </p:spPr>
        <p:txBody>
          <a:bodyPr lIns="432000" tIns="18000" rIns="144000" anchor="ctr"/>
          <a:lstStyle>
            <a:lvl1pPr marL="0" indent="0">
              <a:spcBef>
                <a:spcPts val="0"/>
              </a:spcBef>
              <a:spcAft>
                <a:spcPts val="0"/>
              </a:spcAft>
              <a:buFontTx/>
              <a:buNone/>
              <a:defRPr b="1">
                <a:solidFill>
                  <a:schemeClr val="bg1"/>
                </a:solidFill>
              </a:defRPr>
            </a:lvl1pPr>
            <a:lvl2pPr marL="0">
              <a:spcBef>
                <a:spcPts val="0"/>
              </a:spcBef>
              <a:spcAft>
                <a:spcPts val="0"/>
              </a:spcAft>
              <a:buFontTx/>
              <a:buNone/>
              <a:defRPr b="1">
                <a:solidFill>
                  <a:schemeClr val="bg1"/>
                </a:solidFill>
              </a:defRPr>
            </a:lvl2pPr>
            <a:lvl3pPr marL="0" indent="0">
              <a:spcBef>
                <a:spcPts val="0"/>
              </a:spcBef>
              <a:spcAft>
                <a:spcPts val="0"/>
              </a:spcAft>
              <a:buFontTx/>
              <a:buNone/>
              <a:defRPr b="1">
                <a:solidFill>
                  <a:schemeClr val="bg1"/>
                </a:solidFill>
              </a:defRPr>
            </a:lvl3pPr>
            <a:lvl4pPr marL="0" indent="0">
              <a:spcBef>
                <a:spcPts val="0"/>
              </a:spcBef>
              <a:spcAft>
                <a:spcPts val="0"/>
              </a:spcAft>
              <a:buFontTx/>
              <a:buNone/>
              <a:defRPr b="1">
                <a:solidFill>
                  <a:schemeClr val="bg1"/>
                </a:solidFill>
              </a:defRPr>
            </a:lvl4pPr>
            <a:lvl5pPr marL="0" indent="0">
              <a:spcBef>
                <a:spcPts val="0"/>
              </a:spcBef>
              <a:spcAft>
                <a:spcPts val="0"/>
              </a:spcAft>
              <a:buFontTx/>
              <a:buNone/>
              <a:defRPr b="1">
                <a:solidFill>
                  <a:schemeClr val="bg1"/>
                </a:solidFill>
              </a:defRPr>
            </a:lvl5pPr>
            <a:lvl6pPr marL="0" indent="0">
              <a:spcBef>
                <a:spcPts val="0"/>
              </a:spcBef>
              <a:spcAft>
                <a:spcPts val="0"/>
              </a:spcAft>
              <a:buFontTx/>
              <a:buNone/>
              <a:defRPr b="1">
                <a:solidFill>
                  <a:schemeClr val="bg1"/>
                </a:solidFill>
              </a:defRPr>
            </a:lvl6pPr>
            <a:lvl7pPr marL="0" indent="0">
              <a:spcBef>
                <a:spcPts val="0"/>
              </a:spcBef>
              <a:spcAft>
                <a:spcPts val="0"/>
              </a:spcAft>
              <a:buFontTx/>
              <a:buNone/>
              <a:defRPr b="1">
                <a:solidFill>
                  <a:schemeClr val="bg1"/>
                </a:solidFill>
              </a:defRPr>
            </a:lvl7pPr>
            <a:lvl8pPr marL="0" indent="0">
              <a:spcBef>
                <a:spcPts val="0"/>
              </a:spcBef>
              <a:spcAft>
                <a:spcPts val="0"/>
              </a:spcAft>
              <a:buFontTx/>
              <a:buNone/>
              <a:defRPr b="1">
                <a:solidFill>
                  <a:schemeClr val="bg1"/>
                </a:solidFill>
              </a:defRPr>
            </a:lvl8pPr>
            <a:lvl9pPr marL="0" indent="0">
              <a:spcBef>
                <a:spcPts val="0"/>
              </a:spcBef>
              <a:spcAft>
                <a:spcPts val="0"/>
              </a:spcAft>
              <a:buFontTx/>
              <a:buNone/>
              <a:defRPr b="1">
                <a:solidFill>
                  <a:schemeClr val="bg1"/>
                </a:solidFill>
              </a:defRPr>
            </a:lvl9pPr>
          </a:lstStyle>
          <a:p>
            <a:pPr lvl="0"/>
            <a:r>
              <a:rPr lang="en-US" dirty="0"/>
              <a:t>Select this element</a:t>
            </a:r>
          </a:p>
        </p:txBody>
      </p:sp>
      <p:sp>
        <p:nvSpPr>
          <p:cNvPr id="5" name="Title 4">
            <a:extLst>
              <a:ext uri="{FF2B5EF4-FFF2-40B4-BE49-F238E27FC236}">
                <a16:creationId xmlns:a16="http://schemas.microsoft.com/office/drawing/2014/main" id="{B0403EB9-9CA5-F144-8CC3-6564291F2A72}"/>
              </a:ext>
            </a:extLst>
          </p:cNvPr>
          <p:cNvSpPr>
            <a:spLocks noGrp="1"/>
          </p:cNvSpPr>
          <p:nvPr userDrawn="1">
            <p:ph type="title" hasCustomPrompt="1"/>
          </p:nvPr>
        </p:nvSpPr>
        <p:spPr/>
        <p:txBody>
          <a:bodyPr/>
          <a:lstStyle/>
          <a:p>
            <a:r>
              <a:rPr lang="en-US" dirty="0"/>
              <a:t>CLICK TO ADD Slide TITLE. ALL CAPS. TWO LINES max.</a:t>
            </a:r>
          </a:p>
        </p:txBody>
      </p:sp>
      <p:sp>
        <p:nvSpPr>
          <p:cNvPr id="500" name="Caption">
            <a:extLst>
              <a:ext uri="{FF2B5EF4-FFF2-40B4-BE49-F238E27FC236}">
                <a16:creationId xmlns:a16="http://schemas.microsoft.com/office/drawing/2014/main" id="{6BEA4198-478B-E14D-8C70-FD4227A8A468}"/>
              </a:ext>
            </a:extLst>
          </p:cNvPr>
          <p:cNvSpPr>
            <a:spLocks noGrp="1"/>
          </p:cNvSpPr>
          <p:nvPr>
            <p:ph type="body" sz="quarter" idx="500" hasCustomPrompt="1"/>
          </p:nvPr>
        </p:nvSpPr>
        <p:spPr>
          <a:xfrm>
            <a:off x="9675364" y="6200776"/>
            <a:ext cx="1928848"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Aft>
                <a:spcPts val="0"/>
              </a:spcAft>
              <a:buFontTx/>
              <a:buNone/>
              <a:tabLst/>
              <a:defRPr sz="1100">
                <a:solidFill>
                  <a:schemeClr val="bg1"/>
                </a:solidFill>
              </a:defRPr>
            </a:lvl2pPr>
            <a:lvl3pPr marL="0" indent="0" algn="r">
              <a:spcAft>
                <a:spcPts val="0"/>
              </a:spcAft>
              <a:buFontTx/>
              <a:buNone/>
              <a:tabLst/>
              <a:defRPr sz="1100">
                <a:solidFill>
                  <a:schemeClr val="bg1"/>
                </a:solidFill>
              </a:defRPr>
            </a:lvl3pPr>
            <a:lvl4pPr marL="0" indent="0" algn="r">
              <a:spcAft>
                <a:spcPts val="0"/>
              </a:spcAft>
              <a:buFontTx/>
              <a:buNone/>
              <a:tabLst/>
              <a:defRPr sz="1100">
                <a:solidFill>
                  <a:schemeClr val="bg1"/>
                </a:solidFill>
              </a:defRPr>
            </a:lvl4pPr>
            <a:lvl5pPr marL="0" indent="0" algn="r">
              <a:spcAft>
                <a:spcPts val="0"/>
              </a:spcAft>
              <a:buFontTx/>
              <a:buNone/>
              <a:tabLst/>
              <a:defRPr sz="1100">
                <a:solidFill>
                  <a:schemeClr val="bg1"/>
                </a:solidFill>
              </a:defRPr>
            </a:lvl5pPr>
            <a:lvl6pPr marL="0" indent="0" algn="r">
              <a:spcAft>
                <a:spcPts val="0"/>
              </a:spcAft>
              <a:buFontTx/>
              <a:buNone/>
              <a:tabLst/>
              <a:defRPr sz="1100">
                <a:solidFill>
                  <a:schemeClr val="bg1"/>
                </a:solidFill>
              </a:defRPr>
            </a:lvl6pPr>
            <a:lvl7pPr marL="0" indent="0" algn="r">
              <a:spcAft>
                <a:spcPts val="0"/>
              </a:spcAft>
              <a:buFontTx/>
              <a:buNone/>
              <a:tabLst/>
              <a:defRPr sz="1100">
                <a:solidFill>
                  <a:schemeClr val="bg1"/>
                </a:solidFill>
              </a:defRPr>
            </a:lvl7pPr>
            <a:lvl8pPr marL="0" indent="0" algn="r">
              <a:spcAft>
                <a:spcPts val="0"/>
              </a:spcAft>
              <a:buFontTx/>
              <a:buNone/>
              <a:tabLst/>
              <a:defRPr sz="1100">
                <a:solidFill>
                  <a:schemeClr val="bg1"/>
                </a:solidFill>
              </a:defRPr>
            </a:lvl8pPr>
            <a:lvl9pPr marL="0" indent="0" algn="r">
              <a:spcAft>
                <a:spcPts val="0"/>
              </a:spcAft>
              <a:buFontTx/>
              <a:buNone/>
              <a:tabLst/>
              <a:defRPr sz="1100">
                <a:solidFill>
                  <a:schemeClr val="bg1"/>
                </a:solidFill>
              </a:defRPr>
            </a:lvl9pPr>
          </a:lstStyle>
          <a:p>
            <a:pPr lvl="0"/>
            <a:r>
              <a:rPr lang="en-US" dirty="0"/>
              <a:t>Click to add photo caption</a:t>
            </a:r>
          </a:p>
        </p:txBody>
      </p:sp>
      <p:sp>
        <p:nvSpPr>
          <p:cNvPr id="2" name="Date Placeholder 1">
            <a:extLst>
              <a:ext uri="{FF2B5EF4-FFF2-40B4-BE49-F238E27FC236}">
                <a16:creationId xmlns:a16="http://schemas.microsoft.com/office/drawing/2014/main" id="{E05B8C93-D828-C84E-9755-475E2DD5D8AF}"/>
              </a:ext>
            </a:extLst>
          </p:cNvPr>
          <p:cNvSpPr>
            <a:spLocks noGrp="1"/>
          </p:cNvSpPr>
          <p:nvPr>
            <p:ph type="dt" sz="half" idx="115"/>
          </p:nvPr>
        </p:nvSpPr>
        <p:spPr/>
        <p:txBody>
          <a:bodyPr/>
          <a:lstStyle/>
          <a:p>
            <a:endParaRPr lang="en-US" dirty="0"/>
          </a:p>
        </p:txBody>
      </p:sp>
      <p:sp>
        <p:nvSpPr>
          <p:cNvPr id="3" name="Footer Placeholder 2">
            <a:extLst>
              <a:ext uri="{FF2B5EF4-FFF2-40B4-BE49-F238E27FC236}">
                <a16:creationId xmlns:a16="http://schemas.microsoft.com/office/drawing/2014/main" id="{0459B6D8-C4E6-704C-8857-5CD7CA3BEE1D}"/>
              </a:ext>
            </a:extLst>
          </p:cNvPr>
          <p:cNvSpPr>
            <a:spLocks noGrp="1"/>
          </p:cNvSpPr>
          <p:nvPr>
            <p:ph type="ftr" sz="quarter" idx="116"/>
          </p:nvPr>
        </p:nvSpPr>
        <p:spPr/>
        <p:txBody>
          <a:bodyPr/>
          <a:lstStyle/>
          <a:p>
            <a:endParaRPr lang="en-US" dirty="0"/>
          </a:p>
        </p:txBody>
      </p:sp>
      <p:sp>
        <p:nvSpPr>
          <p:cNvPr id="4" name="Slide Number Placeholder 3">
            <a:extLst>
              <a:ext uri="{FF2B5EF4-FFF2-40B4-BE49-F238E27FC236}">
                <a16:creationId xmlns:a16="http://schemas.microsoft.com/office/drawing/2014/main" id="{F88C9A36-7012-864C-8C5E-DEC51C83883E}"/>
              </a:ext>
            </a:extLst>
          </p:cNvPr>
          <p:cNvSpPr>
            <a:spLocks noGrp="1"/>
          </p:cNvSpPr>
          <p:nvPr>
            <p:ph type="sldNum" sz="quarter" idx="117"/>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spTree>
    <p:extLst>
      <p:ext uri="{BB962C8B-B14F-4D97-AF65-F5344CB8AC3E}">
        <p14:creationId xmlns:p14="http://schemas.microsoft.com/office/powerpoint/2010/main" val="224786488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bg1"/>
        </a:solidFill>
        <a:effectLst/>
      </p:bgPr>
    </p:bg>
    <p:spTree>
      <p:nvGrpSpPr>
        <p:cNvPr id="1" name=""/>
        <p:cNvGrpSpPr/>
        <p:nvPr/>
      </p:nvGrpSpPr>
      <p:grpSpPr>
        <a:xfrm>
          <a:off x="0" y="0"/>
          <a:ext cx="0" cy="0"/>
          <a:chOff x="0" y="0"/>
          <a:chExt cx="0" cy="0"/>
        </a:xfrm>
      </p:grpSpPr>
      <p:sp>
        <p:nvSpPr>
          <p:cNvPr id="61" name="Picture Placeholder 60">
            <a:extLst>
              <a:ext uri="{FF2B5EF4-FFF2-40B4-BE49-F238E27FC236}">
                <a16:creationId xmlns:a16="http://schemas.microsoft.com/office/drawing/2014/main" id="{CF7DB4E3-860A-7649-B01C-09F1FF325704}"/>
              </a:ext>
            </a:extLst>
          </p:cNvPr>
          <p:cNvSpPr>
            <a:spLocks noGrp="1"/>
          </p:cNvSpPr>
          <p:nvPr>
            <p:ph type="pic" sz="quarter" idx="10" hasCustomPrompt="1"/>
          </p:nvPr>
        </p:nvSpPr>
        <p:spPr>
          <a:xfrm>
            <a:off x="0" y="0"/>
            <a:ext cx="12192000" cy="6858000"/>
          </a:xfrm>
          <a:custGeom>
            <a:avLst/>
            <a:gdLst>
              <a:gd name="connsiteX0" fmla="*/ 8381735 w 9144000"/>
              <a:gd name="connsiteY0" fmla="*/ 6576022 h 6858000"/>
              <a:gd name="connsiteX1" fmla="*/ 8398942 w 9144000"/>
              <a:gd name="connsiteY1" fmla="*/ 6577877 h 6858000"/>
              <a:gd name="connsiteX2" fmla="*/ 8407847 w 9144000"/>
              <a:gd name="connsiteY2" fmla="*/ 6584666 h 6858000"/>
              <a:gd name="connsiteX3" fmla="*/ 8413547 w 9144000"/>
              <a:gd name="connsiteY3" fmla="*/ 6594991 h 6858000"/>
              <a:gd name="connsiteX4" fmla="*/ 8415584 w 9144000"/>
              <a:gd name="connsiteY4" fmla="*/ 6608203 h 6858000"/>
              <a:gd name="connsiteX5" fmla="*/ 8413646 w 9144000"/>
              <a:gd name="connsiteY5" fmla="*/ 6621274 h 6858000"/>
              <a:gd name="connsiteX6" fmla="*/ 8407947 w 9144000"/>
              <a:gd name="connsiteY6" fmla="*/ 6631669 h 6858000"/>
              <a:gd name="connsiteX7" fmla="*/ 8375887 w 9144000"/>
              <a:gd name="connsiteY7" fmla="*/ 6638514 h 6858000"/>
              <a:gd name="connsiteX8" fmla="*/ 8366910 w 9144000"/>
              <a:gd name="connsiteY8" fmla="*/ 6631669 h 6858000"/>
              <a:gd name="connsiteX9" fmla="*/ 8361211 w 9144000"/>
              <a:gd name="connsiteY9" fmla="*/ 6621274 h 6858000"/>
              <a:gd name="connsiteX10" fmla="*/ 8359045 w 9144000"/>
              <a:gd name="connsiteY10" fmla="*/ 6608203 h 6858000"/>
              <a:gd name="connsiteX11" fmla="*/ 8361097 w 9144000"/>
              <a:gd name="connsiteY11" fmla="*/ 6594991 h 6858000"/>
              <a:gd name="connsiteX12" fmla="*/ 8366796 w 9144000"/>
              <a:gd name="connsiteY12" fmla="*/ 6584666 h 6858000"/>
              <a:gd name="connsiteX13" fmla="*/ 8381735 w 9144000"/>
              <a:gd name="connsiteY13" fmla="*/ 6576022 h 6858000"/>
              <a:gd name="connsiteX14" fmla="*/ 8525633 w 9144000"/>
              <a:gd name="connsiteY14" fmla="*/ 6553486 h 6858000"/>
              <a:gd name="connsiteX15" fmla="*/ 8525633 w 9144000"/>
              <a:gd name="connsiteY15" fmla="*/ 6599432 h 6858000"/>
              <a:gd name="connsiteX16" fmla="*/ 8525633 w 9144000"/>
              <a:gd name="connsiteY16" fmla="*/ 6662773 h 6858000"/>
              <a:gd name="connsiteX17" fmla="*/ 8595623 w 9144000"/>
              <a:gd name="connsiteY17" fmla="*/ 6662773 h 6858000"/>
              <a:gd name="connsiteX18" fmla="*/ 8596022 w 9144000"/>
              <a:gd name="connsiteY18" fmla="*/ 6662773 h 6858000"/>
              <a:gd name="connsiteX19" fmla="*/ 8596022 w 9144000"/>
              <a:gd name="connsiteY19" fmla="*/ 6645772 h 6858000"/>
              <a:gd name="connsiteX20" fmla="*/ 8595623 w 9144000"/>
              <a:gd name="connsiteY20" fmla="*/ 6645772 h 6858000"/>
              <a:gd name="connsiteX21" fmla="*/ 8595623 w 9144000"/>
              <a:gd name="connsiteY21" fmla="*/ 6639674 h 6858000"/>
              <a:gd name="connsiteX22" fmla="*/ 8551295 w 9144000"/>
              <a:gd name="connsiteY22" fmla="*/ 6639674 h 6858000"/>
              <a:gd name="connsiteX23" fmla="*/ 8551295 w 9144000"/>
              <a:gd name="connsiteY23" fmla="*/ 6618349 h 6858000"/>
              <a:gd name="connsiteX24" fmla="*/ 8591705 w 9144000"/>
              <a:gd name="connsiteY24" fmla="*/ 6618349 h 6858000"/>
              <a:gd name="connsiteX25" fmla="*/ 8591705 w 9144000"/>
              <a:gd name="connsiteY25" fmla="*/ 6596277 h 6858000"/>
              <a:gd name="connsiteX26" fmla="*/ 8551295 w 9144000"/>
              <a:gd name="connsiteY26" fmla="*/ 6596277 h 6858000"/>
              <a:gd name="connsiteX27" fmla="*/ 8551295 w 9144000"/>
              <a:gd name="connsiteY27" fmla="*/ 6576755 h 6858000"/>
              <a:gd name="connsiteX28" fmla="*/ 8595623 w 9144000"/>
              <a:gd name="connsiteY28" fmla="*/ 6576755 h 6858000"/>
              <a:gd name="connsiteX29" fmla="*/ 8595623 w 9144000"/>
              <a:gd name="connsiteY29" fmla="*/ 6570487 h 6858000"/>
              <a:gd name="connsiteX30" fmla="*/ 8596022 w 9144000"/>
              <a:gd name="connsiteY30" fmla="*/ 6570487 h 6858000"/>
              <a:gd name="connsiteX31" fmla="*/ 8596022 w 9144000"/>
              <a:gd name="connsiteY31" fmla="*/ 6553486 h 6858000"/>
              <a:gd name="connsiteX32" fmla="*/ 8595623 w 9144000"/>
              <a:gd name="connsiteY32" fmla="*/ 6553486 h 6858000"/>
              <a:gd name="connsiteX33" fmla="*/ 8547362 w 9144000"/>
              <a:gd name="connsiteY33" fmla="*/ 6553486 h 6858000"/>
              <a:gd name="connsiteX34" fmla="*/ 8448177 w 9144000"/>
              <a:gd name="connsiteY34" fmla="*/ 6553486 h 6858000"/>
              <a:gd name="connsiteX35" fmla="*/ 8448177 w 9144000"/>
              <a:gd name="connsiteY35" fmla="*/ 6599432 h 6858000"/>
              <a:gd name="connsiteX36" fmla="*/ 8448177 w 9144000"/>
              <a:gd name="connsiteY36" fmla="*/ 6662773 h 6858000"/>
              <a:gd name="connsiteX37" fmla="*/ 8518167 w 9144000"/>
              <a:gd name="connsiteY37" fmla="*/ 6662773 h 6858000"/>
              <a:gd name="connsiteX38" fmla="*/ 8518552 w 9144000"/>
              <a:gd name="connsiteY38" fmla="*/ 6662773 h 6858000"/>
              <a:gd name="connsiteX39" fmla="*/ 8518552 w 9144000"/>
              <a:gd name="connsiteY39" fmla="*/ 6645772 h 6858000"/>
              <a:gd name="connsiteX40" fmla="*/ 8518167 w 9144000"/>
              <a:gd name="connsiteY40" fmla="*/ 6645772 h 6858000"/>
              <a:gd name="connsiteX41" fmla="*/ 8518167 w 9144000"/>
              <a:gd name="connsiteY41" fmla="*/ 6639674 h 6858000"/>
              <a:gd name="connsiteX42" fmla="*/ 8473825 w 9144000"/>
              <a:gd name="connsiteY42" fmla="*/ 6639674 h 6858000"/>
              <a:gd name="connsiteX43" fmla="*/ 8473825 w 9144000"/>
              <a:gd name="connsiteY43" fmla="*/ 6618349 h 6858000"/>
              <a:gd name="connsiteX44" fmla="*/ 8514235 w 9144000"/>
              <a:gd name="connsiteY44" fmla="*/ 6618349 h 6858000"/>
              <a:gd name="connsiteX45" fmla="*/ 8514235 w 9144000"/>
              <a:gd name="connsiteY45" fmla="*/ 6596277 h 6858000"/>
              <a:gd name="connsiteX46" fmla="*/ 8473825 w 9144000"/>
              <a:gd name="connsiteY46" fmla="*/ 6596277 h 6858000"/>
              <a:gd name="connsiteX47" fmla="*/ 8473825 w 9144000"/>
              <a:gd name="connsiteY47" fmla="*/ 6576755 h 6858000"/>
              <a:gd name="connsiteX48" fmla="*/ 8518167 w 9144000"/>
              <a:gd name="connsiteY48" fmla="*/ 6576755 h 6858000"/>
              <a:gd name="connsiteX49" fmla="*/ 8518167 w 9144000"/>
              <a:gd name="connsiteY49" fmla="*/ 6570487 h 6858000"/>
              <a:gd name="connsiteX50" fmla="*/ 8518552 w 9144000"/>
              <a:gd name="connsiteY50" fmla="*/ 6570487 h 6858000"/>
              <a:gd name="connsiteX51" fmla="*/ 8518552 w 9144000"/>
              <a:gd name="connsiteY51" fmla="*/ 6553486 h 6858000"/>
              <a:gd name="connsiteX52" fmla="*/ 8518167 w 9144000"/>
              <a:gd name="connsiteY52" fmla="*/ 6553486 h 6858000"/>
              <a:gd name="connsiteX53" fmla="*/ 8469892 w 9144000"/>
              <a:gd name="connsiteY53" fmla="*/ 6553486 h 6858000"/>
              <a:gd name="connsiteX54" fmla="*/ 8387913 w 9144000"/>
              <a:gd name="connsiteY54" fmla="*/ 6553453 h 6858000"/>
              <a:gd name="connsiteX55" fmla="*/ 8365286 w 9144000"/>
              <a:gd name="connsiteY55" fmla="*/ 6557679 h 6858000"/>
              <a:gd name="connsiteX56" fmla="*/ 8357150 w 9144000"/>
              <a:gd name="connsiteY56" fmla="*/ 6561806 h 6858000"/>
              <a:gd name="connsiteX57" fmla="*/ 8332784 w 9144000"/>
              <a:gd name="connsiteY57" fmla="*/ 6613372 h 6858000"/>
              <a:gd name="connsiteX58" fmla="*/ 8336389 w 9144000"/>
              <a:gd name="connsiteY58" fmla="*/ 6629852 h 6858000"/>
              <a:gd name="connsiteX59" fmla="*/ 8364431 w 9144000"/>
              <a:gd name="connsiteY59" fmla="*/ 6658585 h 6858000"/>
              <a:gd name="connsiteX60" fmla="*/ 8386916 w 9144000"/>
              <a:gd name="connsiteY60" fmla="*/ 6662811 h 6858000"/>
              <a:gd name="connsiteX61" fmla="*/ 8409486 w 9144000"/>
              <a:gd name="connsiteY61" fmla="*/ 6658585 h 6858000"/>
              <a:gd name="connsiteX62" fmla="*/ 8426926 w 9144000"/>
              <a:gd name="connsiteY62" fmla="*/ 6647106 h 6858000"/>
              <a:gd name="connsiteX63" fmla="*/ 8438240 w 9144000"/>
              <a:gd name="connsiteY63" fmla="*/ 6629852 h 6858000"/>
              <a:gd name="connsiteX64" fmla="*/ 8442258 w 9144000"/>
              <a:gd name="connsiteY64" fmla="*/ 6608203 h 6858000"/>
              <a:gd name="connsiteX65" fmla="*/ 8438397 w 9144000"/>
              <a:gd name="connsiteY65" fmla="*/ 6586469 h 6858000"/>
              <a:gd name="connsiteX66" fmla="*/ 8427439 w 9144000"/>
              <a:gd name="connsiteY66" fmla="*/ 6569158 h 6858000"/>
              <a:gd name="connsiteX67" fmla="*/ 8410341 w 9144000"/>
              <a:gd name="connsiteY67" fmla="*/ 6557679 h 6858000"/>
              <a:gd name="connsiteX68" fmla="*/ 8387913 w 9144000"/>
              <a:gd name="connsiteY68" fmla="*/ 6553453 h 6858000"/>
              <a:gd name="connsiteX69" fmla="*/ 8245203 w 9144000"/>
              <a:gd name="connsiteY69" fmla="*/ 6553106 h 6858000"/>
              <a:gd name="connsiteX70" fmla="*/ 8261546 w 9144000"/>
              <a:gd name="connsiteY70" fmla="*/ 6587178 h 6858000"/>
              <a:gd name="connsiteX71" fmla="*/ 8288505 w 9144000"/>
              <a:gd name="connsiteY71" fmla="*/ 6587178 h 6858000"/>
              <a:gd name="connsiteX72" fmla="*/ 8274156 w 9144000"/>
              <a:gd name="connsiteY72" fmla="*/ 6553106 h 6858000"/>
              <a:gd name="connsiteX73" fmla="*/ 8325053 w 9144000"/>
              <a:gd name="connsiteY73" fmla="*/ 6553092 h 6858000"/>
              <a:gd name="connsiteX74" fmla="*/ 8299363 w 9144000"/>
              <a:gd name="connsiteY74" fmla="*/ 6612222 h 6858000"/>
              <a:gd name="connsiteX75" fmla="*/ 8292395 w 9144000"/>
              <a:gd name="connsiteY75" fmla="*/ 6595883 h 6858000"/>
              <a:gd name="connsiteX76" fmla="*/ 8265650 w 9144000"/>
              <a:gd name="connsiteY76" fmla="*/ 6595883 h 6858000"/>
              <a:gd name="connsiteX77" fmla="*/ 8297582 w 9144000"/>
              <a:gd name="connsiteY77" fmla="*/ 6662548 h 6858000"/>
              <a:gd name="connsiteX78" fmla="*/ 8300545 w 9144000"/>
              <a:gd name="connsiteY78" fmla="*/ 6662548 h 6858000"/>
              <a:gd name="connsiteX79" fmla="*/ 8352283 w 9144000"/>
              <a:gd name="connsiteY79" fmla="*/ 6553092 h 6858000"/>
              <a:gd name="connsiteX80" fmla="*/ 8704282 w 9144000"/>
              <a:gd name="connsiteY80" fmla="*/ 6515554 h 6858000"/>
              <a:gd name="connsiteX81" fmla="*/ 8704282 w 9144000"/>
              <a:gd name="connsiteY81" fmla="*/ 6690482 h 6858000"/>
              <a:gd name="connsiteX82" fmla="*/ 8723671 w 9144000"/>
              <a:gd name="connsiteY82" fmla="*/ 6690482 h 6858000"/>
              <a:gd name="connsiteX83" fmla="*/ 8723671 w 9144000"/>
              <a:gd name="connsiteY83" fmla="*/ 6515554 h 6858000"/>
              <a:gd name="connsiteX84" fmla="*/ 0 w 9144000"/>
              <a:gd name="connsiteY84" fmla="*/ 0 h 6858000"/>
              <a:gd name="connsiteX85" fmla="*/ 9144000 w 9144000"/>
              <a:gd name="connsiteY85" fmla="*/ 0 h 6858000"/>
              <a:gd name="connsiteX86" fmla="*/ 9144000 w 9144000"/>
              <a:gd name="connsiteY86" fmla="*/ 6214681 h 6858000"/>
              <a:gd name="connsiteX87" fmla="*/ 9144000 w 9144000"/>
              <a:gd name="connsiteY87" fmla="*/ 6397151 h 6858000"/>
              <a:gd name="connsiteX88" fmla="*/ 9144000 w 9144000"/>
              <a:gd name="connsiteY88" fmla="*/ 6401792 h 6858000"/>
              <a:gd name="connsiteX89" fmla="*/ 9144000 w 9144000"/>
              <a:gd name="connsiteY89" fmla="*/ 6434962 h 6858000"/>
              <a:gd name="connsiteX90" fmla="*/ 9144000 w 9144000"/>
              <a:gd name="connsiteY90" fmla="*/ 6858000 h 6858000"/>
              <a:gd name="connsiteX91" fmla="*/ 8995529 w 9144000"/>
              <a:gd name="connsiteY91" fmla="*/ 6858000 h 6858000"/>
              <a:gd name="connsiteX92" fmla="*/ 7924718 w 9144000"/>
              <a:gd name="connsiteY92" fmla="*/ 6858000 h 6858000"/>
              <a:gd name="connsiteX93" fmla="*/ 0 w 9144000"/>
              <a:gd name="connsiteY93" fmla="*/ 6858000 h 6858000"/>
              <a:gd name="connsiteX94" fmla="*/ 0 w 9144000"/>
              <a:gd name="connsiteY94" fmla="*/ 6434962 h 6858000"/>
              <a:gd name="connsiteX95" fmla="*/ 0 w 9144000"/>
              <a:gd name="connsiteY95" fmla="*/ 6401792 h 6858000"/>
              <a:gd name="connsiteX96" fmla="*/ 0 w 9144000"/>
              <a:gd name="connsiteY96" fmla="*/ 6397151 h 6858000"/>
              <a:gd name="connsiteX97" fmla="*/ 0 w 9144000"/>
              <a:gd name="connsiteY97" fmla="*/ 62146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144000" h="6858000">
                <a:moveTo>
                  <a:pt x="8381735" y="6576022"/>
                </a:moveTo>
                <a:cubicBezTo>
                  <a:pt x="8387385" y="6574829"/>
                  <a:pt x="8393413" y="6575385"/>
                  <a:pt x="8398942" y="6577877"/>
                </a:cubicBezTo>
                <a:cubicBezTo>
                  <a:pt x="8402361" y="6579495"/>
                  <a:pt x="8405396" y="6581808"/>
                  <a:pt x="8407847" y="6584666"/>
                </a:cubicBezTo>
                <a:cubicBezTo>
                  <a:pt x="8410387" y="6587723"/>
                  <a:pt x="8412320" y="6591226"/>
                  <a:pt x="8413547" y="6594991"/>
                </a:cubicBezTo>
                <a:cubicBezTo>
                  <a:pt x="8414952" y="6599255"/>
                  <a:pt x="8415640" y="6603718"/>
                  <a:pt x="8415584" y="6608203"/>
                </a:cubicBezTo>
                <a:cubicBezTo>
                  <a:pt x="8415665" y="6612635"/>
                  <a:pt x="8415011" y="6617051"/>
                  <a:pt x="8413646" y="6621274"/>
                </a:cubicBezTo>
                <a:cubicBezTo>
                  <a:pt x="8412411" y="6625056"/>
                  <a:pt x="8410478" y="6628580"/>
                  <a:pt x="8407947" y="6631669"/>
                </a:cubicBezTo>
                <a:cubicBezTo>
                  <a:pt x="8399972" y="6640715"/>
                  <a:pt x="8386928" y="6643500"/>
                  <a:pt x="8375887" y="6638514"/>
                </a:cubicBezTo>
                <a:cubicBezTo>
                  <a:pt x="8372423" y="6636911"/>
                  <a:pt x="8369358" y="6634574"/>
                  <a:pt x="8366910" y="6631669"/>
                </a:cubicBezTo>
                <a:cubicBezTo>
                  <a:pt x="8364379" y="6628580"/>
                  <a:pt x="8362446" y="6625056"/>
                  <a:pt x="8361211" y="6621274"/>
                </a:cubicBezTo>
                <a:cubicBezTo>
                  <a:pt x="8359769" y="6617063"/>
                  <a:pt x="8359038" y="6612647"/>
                  <a:pt x="8359045" y="6608203"/>
                </a:cubicBezTo>
                <a:cubicBezTo>
                  <a:pt x="8358993" y="6603717"/>
                  <a:pt x="8359686" y="6599254"/>
                  <a:pt x="8361097" y="6594991"/>
                </a:cubicBezTo>
                <a:cubicBezTo>
                  <a:pt x="8362323" y="6591226"/>
                  <a:pt x="8364257" y="6587723"/>
                  <a:pt x="8366796" y="6584666"/>
                </a:cubicBezTo>
                <a:cubicBezTo>
                  <a:pt x="8370813" y="6580158"/>
                  <a:pt x="8376085" y="6577215"/>
                  <a:pt x="8381735" y="6576022"/>
                </a:cubicBezTo>
                <a:close/>
                <a:moveTo>
                  <a:pt x="8525633" y="6553486"/>
                </a:moveTo>
                <a:lnTo>
                  <a:pt x="8525633" y="6599432"/>
                </a:lnTo>
                <a:lnTo>
                  <a:pt x="8525633" y="6662773"/>
                </a:lnTo>
                <a:lnTo>
                  <a:pt x="8595623" y="6662773"/>
                </a:lnTo>
                <a:lnTo>
                  <a:pt x="8596022" y="6662773"/>
                </a:lnTo>
                <a:lnTo>
                  <a:pt x="8596022" y="6645772"/>
                </a:lnTo>
                <a:lnTo>
                  <a:pt x="8595623" y="6645772"/>
                </a:lnTo>
                <a:lnTo>
                  <a:pt x="8595623" y="6639674"/>
                </a:lnTo>
                <a:lnTo>
                  <a:pt x="8551295" y="6639674"/>
                </a:lnTo>
                <a:lnTo>
                  <a:pt x="8551295" y="6618349"/>
                </a:lnTo>
                <a:lnTo>
                  <a:pt x="8591705" y="6618349"/>
                </a:lnTo>
                <a:lnTo>
                  <a:pt x="8591705" y="6596277"/>
                </a:lnTo>
                <a:lnTo>
                  <a:pt x="8551295" y="6596277"/>
                </a:lnTo>
                <a:lnTo>
                  <a:pt x="8551295" y="6576755"/>
                </a:lnTo>
                <a:lnTo>
                  <a:pt x="8595623" y="6576755"/>
                </a:lnTo>
                <a:lnTo>
                  <a:pt x="8595623" y="6570487"/>
                </a:lnTo>
                <a:lnTo>
                  <a:pt x="8596022" y="6570487"/>
                </a:lnTo>
                <a:lnTo>
                  <a:pt x="8596022" y="6553486"/>
                </a:lnTo>
                <a:lnTo>
                  <a:pt x="8595623" y="6553486"/>
                </a:lnTo>
                <a:lnTo>
                  <a:pt x="8547362" y="6553486"/>
                </a:lnTo>
                <a:close/>
                <a:moveTo>
                  <a:pt x="8448177" y="6553486"/>
                </a:moveTo>
                <a:lnTo>
                  <a:pt x="8448177" y="6599432"/>
                </a:lnTo>
                <a:lnTo>
                  <a:pt x="8448177" y="6662773"/>
                </a:lnTo>
                <a:lnTo>
                  <a:pt x="8518167" y="6662773"/>
                </a:lnTo>
                <a:lnTo>
                  <a:pt x="8518552" y="6662773"/>
                </a:lnTo>
                <a:lnTo>
                  <a:pt x="8518552" y="6645772"/>
                </a:lnTo>
                <a:lnTo>
                  <a:pt x="8518167" y="6645772"/>
                </a:lnTo>
                <a:lnTo>
                  <a:pt x="8518167" y="6639674"/>
                </a:lnTo>
                <a:lnTo>
                  <a:pt x="8473825" y="6639674"/>
                </a:lnTo>
                <a:lnTo>
                  <a:pt x="8473825" y="6618349"/>
                </a:lnTo>
                <a:lnTo>
                  <a:pt x="8514235" y="6618349"/>
                </a:lnTo>
                <a:lnTo>
                  <a:pt x="8514235" y="6596277"/>
                </a:lnTo>
                <a:lnTo>
                  <a:pt x="8473825" y="6596277"/>
                </a:lnTo>
                <a:lnTo>
                  <a:pt x="8473825" y="6576755"/>
                </a:lnTo>
                <a:lnTo>
                  <a:pt x="8518167" y="6576755"/>
                </a:lnTo>
                <a:lnTo>
                  <a:pt x="8518167" y="6570487"/>
                </a:lnTo>
                <a:lnTo>
                  <a:pt x="8518552" y="6570487"/>
                </a:lnTo>
                <a:lnTo>
                  <a:pt x="8518552" y="6553486"/>
                </a:lnTo>
                <a:lnTo>
                  <a:pt x="8518167" y="6553486"/>
                </a:lnTo>
                <a:lnTo>
                  <a:pt x="8469892" y="6553486"/>
                </a:lnTo>
                <a:close/>
                <a:moveTo>
                  <a:pt x="8387913" y="6553453"/>
                </a:moveTo>
                <a:cubicBezTo>
                  <a:pt x="8380162" y="6553369"/>
                  <a:pt x="8372471" y="6554805"/>
                  <a:pt x="8365286" y="6557679"/>
                </a:cubicBezTo>
                <a:cubicBezTo>
                  <a:pt x="8362463" y="6558830"/>
                  <a:pt x="8359742" y="6560211"/>
                  <a:pt x="8357150" y="6561806"/>
                </a:cubicBezTo>
                <a:lnTo>
                  <a:pt x="8332784" y="6613372"/>
                </a:lnTo>
                <a:cubicBezTo>
                  <a:pt x="8333178" y="6619008"/>
                  <a:pt x="8334392" y="6624558"/>
                  <a:pt x="8336389" y="6629852"/>
                </a:cubicBezTo>
                <a:cubicBezTo>
                  <a:pt x="8341193" y="6642926"/>
                  <a:pt x="8351385" y="6653370"/>
                  <a:pt x="8364431" y="6658585"/>
                </a:cubicBezTo>
                <a:cubicBezTo>
                  <a:pt x="8371564" y="6661469"/>
                  <a:pt x="8379210" y="6662906"/>
                  <a:pt x="8386916" y="6662811"/>
                </a:cubicBezTo>
                <a:cubicBezTo>
                  <a:pt x="8394648" y="6662898"/>
                  <a:pt x="8402321" y="6661462"/>
                  <a:pt x="8409486" y="6658585"/>
                </a:cubicBezTo>
                <a:cubicBezTo>
                  <a:pt x="8416013" y="6655943"/>
                  <a:pt x="8421943" y="6652041"/>
                  <a:pt x="8426926" y="6647106"/>
                </a:cubicBezTo>
                <a:cubicBezTo>
                  <a:pt x="8431850" y="6642179"/>
                  <a:pt x="8435700" y="6636306"/>
                  <a:pt x="8438240" y="6629852"/>
                </a:cubicBezTo>
                <a:cubicBezTo>
                  <a:pt x="8440974" y="6622958"/>
                  <a:pt x="8442338" y="6615607"/>
                  <a:pt x="8442258" y="6608203"/>
                </a:cubicBezTo>
                <a:cubicBezTo>
                  <a:pt x="8442328" y="6600785"/>
                  <a:pt x="8441019" y="6593419"/>
                  <a:pt x="8438397" y="6586469"/>
                </a:cubicBezTo>
                <a:cubicBezTo>
                  <a:pt x="8435967" y="6580025"/>
                  <a:pt x="8432239" y="6574136"/>
                  <a:pt x="8427439" y="6569158"/>
                </a:cubicBezTo>
                <a:cubicBezTo>
                  <a:pt x="8422597" y="6564212"/>
                  <a:pt x="8416777" y="6560305"/>
                  <a:pt x="8410341" y="6557679"/>
                </a:cubicBezTo>
                <a:cubicBezTo>
                  <a:pt x="8403230" y="6554789"/>
                  <a:pt x="8395601" y="6553352"/>
                  <a:pt x="8387913" y="6553453"/>
                </a:cubicBezTo>
                <a:close/>
                <a:moveTo>
                  <a:pt x="8245203" y="6553106"/>
                </a:moveTo>
                <a:lnTo>
                  <a:pt x="8261546" y="6587178"/>
                </a:lnTo>
                <a:lnTo>
                  <a:pt x="8288505" y="6587178"/>
                </a:lnTo>
                <a:lnTo>
                  <a:pt x="8274156" y="6553106"/>
                </a:lnTo>
                <a:close/>
                <a:moveTo>
                  <a:pt x="8325053" y="6553092"/>
                </a:moveTo>
                <a:lnTo>
                  <a:pt x="8299363" y="6612222"/>
                </a:lnTo>
                <a:lnTo>
                  <a:pt x="8292395" y="6595883"/>
                </a:lnTo>
                <a:lnTo>
                  <a:pt x="8265650" y="6595883"/>
                </a:lnTo>
                <a:lnTo>
                  <a:pt x="8297582" y="6662548"/>
                </a:lnTo>
                <a:lnTo>
                  <a:pt x="8300545" y="6662548"/>
                </a:lnTo>
                <a:lnTo>
                  <a:pt x="8352283" y="6553092"/>
                </a:lnTo>
                <a:close/>
                <a:moveTo>
                  <a:pt x="8704282" y="6515554"/>
                </a:moveTo>
                <a:lnTo>
                  <a:pt x="8704282" y="6690482"/>
                </a:lnTo>
                <a:lnTo>
                  <a:pt x="8723671" y="6690482"/>
                </a:lnTo>
                <a:lnTo>
                  <a:pt x="8723671" y="6515554"/>
                </a:lnTo>
                <a:close/>
                <a:moveTo>
                  <a:pt x="0" y="0"/>
                </a:moveTo>
                <a:lnTo>
                  <a:pt x="9144000" y="0"/>
                </a:lnTo>
                <a:lnTo>
                  <a:pt x="9144000" y="6214681"/>
                </a:lnTo>
                <a:lnTo>
                  <a:pt x="9144000" y="6397151"/>
                </a:lnTo>
                <a:lnTo>
                  <a:pt x="9144000" y="6401792"/>
                </a:lnTo>
                <a:lnTo>
                  <a:pt x="9144000" y="6434962"/>
                </a:lnTo>
                <a:lnTo>
                  <a:pt x="9144000" y="6858000"/>
                </a:lnTo>
                <a:lnTo>
                  <a:pt x="8995529" y="6858000"/>
                </a:lnTo>
                <a:lnTo>
                  <a:pt x="7924718" y="6858000"/>
                </a:lnTo>
                <a:lnTo>
                  <a:pt x="0" y="6858000"/>
                </a:lnTo>
                <a:lnTo>
                  <a:pt x="0" y="6434962"/>
                </a:lnTo>
                <a:lnTo>
                  <a:pt x="0" y="6401792"/>
                </a:lnTo>
                <a:lnTo>
                  <a:pt x="0" y="6397151"/>
                </a:lnTo>
                <a:lnTo>
                  <a:pt x="0" y="6214681"/>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 Drag image onto slide to add photo </a:t>
            </a:r>
          </a:p>
        </p:txBody>
      </p:sp>
      <p:sp>
        <p:nvSpPr>
          <p:cNvPr id="14" name="Title 13">
            <a:extLst>
              <a:ext uri="{FF2B5EF4-FFF2-40B4-BE49-F238E27FC236}">
                <a16:creationId xmlns:a16="http://schemas.microsoft.com/office/drawing/2014/main" id="{82C3A686-EFBE-6E4D-8020-4014DF4E8E7D}"/>
              </a:ext>
            </a:extLst>
          </p:cNvPr>
          <p:cNvSpPr>
            <a:spLocks noGrp="1"/>
          </p:cNvSpPr>
          <p:nvPr>
            <p:ph type="title" hasCustomPrompt="1"/>
          </p:nvPr>
        </p:nvSpPr>
        <p:spPr>
          <a:xfrm>
            <a:off x="0" y="1"/>
            <a:ext cx="7947045" cy="6857999"/>
          </a:xfrm>
          <a:custGeom>
            <a:avLst/>
            <a:gdLst>
              <a:gd name="connsiteX0" fmla="*/ 0 w 5960284"/>
              <a:gd name="connsiteY0" fmla="*/ 0 h 6857999"/>
              <a:gd name="connsiteX1" fmla="*/ 2705820 w 5960284"/>
              <a:gd name="connsiteY1" fmla="*/ 0 h 6857999"/>
              <a:gd name="connsiteX2" fmla="*/ 5960284 w 5960284"/>
              <a:gd name="connsiteY2" fmla="*/ 6857999 h 6857999"/>
              <a:gd name="connsiteX3" fmla="*/ 0 w 5960284"/>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5960284" h="6857999">
                <a:moveTo>
                  <a:pt x="0" y="0"/>
                </a:moveTo>
                <a:lnTo>
                  <a:pt x="2705820" y="0"/>
                </a:lnTo>
                <a:lnTo>
                  <a:pt x="5960284" y="6857999"/>
                </a:lnTo>
                <a:lnTo>
                  <a:pt x="0" y="6857999"/>
                </a:lnTo>
                <a:close/>
              </a:path>
            </a:pathLst>
          </a:custGeom>
          <a:gradFill>
            <a:gsLst>
              <a:gs pos="0">
                <a:schemeClr val="accent1">
                  <a:alpha val="95000"/>
                </a:schemeClr>
              </a:gs>
              <a:gs pos="97000">
                <a:schemeClr val="accent1">
                  <a:alpha val="80000"/>
                </a:schemeClr>
              </a:gs>
            </a:gsLst>
            <a:lin ang="5400000" scaled="0"/>
          </a:gradFill>
        </p:spPr>
        <p:txBody>
          <a:bodyPr wrap="square" lIns="432000" tIns="360000" rIns="1080000" bIns="612000" anchor="b">
            <a:noAutofit/>
          </a:bodyPr>
          <a:lstStyle>
            <a:lvl1pPr>
              <a:defRPr sz="3600">
                <a:solidFill>
                  <a:schemeClr val="bg1"/>
                </a:solidFill>
              </a:defRPr>
            </a:lvl1pPr>
          </a:lstStyle>
          <a:p>
            <a:pPr lvl="0"/>
            <a:r>
              <a:rPr lang="en-US" dirty="0"/>
              <a:t>Click to add section title.</a:t>
            </a:r>
            <a:br>
              <a:rPr lang="en-US" dirty="0"/>
            </a:br>
            <a:r>
              <a:rPr lang="en-US" dirty="0"/>
              <a:t>3 lines max.</a:t>
            </a:r>
          </a:p>
        </p:txBody>
      </p:sp>
      <p:grpSp>
        <p:nvGrpSpPr>
          <p:cNvPr id="8" name="Group 7">
            <a:extLst>
              <a:ext uri="{FF2B5EF4-FFF2-40B4-BE49-F238E27FC236}">
                <a16:creationId xmlns:a16="http://schemas.microsoft.com/office/drawing/2014/main" id="{7EF91C03-68D7-6C4C-845D-95A60CCDC888}"/>
              </a:ext>
            </a:extLst>
          </p:cNvPr>
          <p:cNvGrpSpPr/>
          <p:nvPr userDrawn="1"/>
        </p:nvGrpSpPr>
        <p:grpSpPr>
          <a:xfrm>
            <a:off x="-342618" y="4797149"/>
            <a:ext cx="335281" cy="1365066"/>
            <a:chOff x="-256404" y="360363"/>
            <a:chExt cx="251461" cy="692152"/>
          </a:xfrm>
        </p:grpSpPr>
        <p:grpSp>
          <p:nvGrpSpPr>
            <p:cNvPr id="9" name="Group 8">
              <a:extLst>
                <a:ext uri="{FF2B5EF4-FFF2-40B4-BE49-F238E27FC236}">
                  <a16:creationId xmlns:a16="http://schemas.microsoft.com/office/drawing/2014/main" id="{0D7A67AD-A78D-1040-A099-19C73D75FADD}"/>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B4B5A1AF-9A26-A642-816C-7E1E37992AA4}"/>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DBBC9F7-B424-1643-B930-EEF94712EBD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E56CBC82-1BDE-F540-BF3F-712FAD884E18}"/>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10" name="TextBox 9">
              <a:extLst>
                <a:ext uri="{FF2B5EF4-FFF2-40B4-BE49-F238E27FC236}">
                  <a16:creationId xmlns:a16="http://schemas.microsoft.com/office/drawing/2014/main" id="{3282B5F3-F5C3-DB4C-B743-A8A59CFF7D42}"/>
                </a:ext>
              </a:extLst>
            </p:cNvPr>
            <p:cNvSpPr txBox="1"/>
            <p:nvPr userDrawn="1"/>
          </p:nvSpPr>
          <p:spPr>
            <a:xfrm rot="16200000">
              <a:off x="-192445" y="662666"/>
              <a:ext cx="123545" cy="8079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55" name="Group 54">
            <a:extLst>
              <a:ext uri="{FF2B5EF4-FFF2-40B4-BE49-F238E27FC236}">
                <a16:creationId xmlns:a16="http://schemas.microsoft.com/office/drawing/2014/main" id="{9798FF58-E26B-3647-BDDF-EC266BEA7328}"/>
              </a:ext>
            </a:extLst>
          </p:cNvPr>
          <p:cNvGrpSpPr/>
          <p:nvPr userDrawn="1"/>
        </p:nvGrpSpPr>
        <p:grpSpPr>
          <a:xfrm>
            <a:off x="12532243" y="-1"/>
            <a:ext cx="3832280" cy="6858001"/>
            <a:chOff x="9144000" y="-1"/>
            <a:chExt cx="2874210" cy="6858001"/>
          </a:xfrm>
        </p:grpSpPr>
        <p:sp>
          <p:nvSpPr>
            <p:cNvPr id="56" name="Rectangle 55">
              <a:extLst>
                <a:ext uri="{FF2B5EF4-FFF2-40B4-BE49-F238E27FC236}">
                  <a16:creationId xmlns:a16="http://schemas.microsoft.com/office/drawing/2014/main" id="{88580BD2-46D4-6B43-BEB1-7D93D1D56918}"/>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grpSp>
          <p:nvGrpSpPr>
            <p:cNvPr id="57" name="Group 56">
              <a:extLst>
                <a:ext uri="{FF2B5EF4-FFF2-40B4-BE49-F238E27FC236}">
                  <a16:creationId xmlns:a16="http://schemas.microsoft.com/office/drawing/2014/main" id="{9A61082E-FFDB-C440-87DC-6022E4E82893}"/>
                </a:ext>
              </a:extLst>
            </p:cNvPr>
            <p:cNvGrpSpPr/>
            <p:nvPr userDrawn="1"/>
          </p:nvGrpSpPr>
          <p:grpSpPr>
            <a:xfrm>
              <a:off x="9263395" y="150289"/>
              <a:ext cx="2754815" cy="6013825"/>
              <a:chOff x="9266651" y="185338"/>
              <a:chExt cx="2754815" cy="6013825"/>
            </a:xfrm>
          </p:grpSpPr>
          <p:sp>
            <p:nvSpPr>
              <p:cNvPr id="58" name="TextBox 57">
                <a:extLst>
                  <a:ext uri="{FF2B5EF4-FFF2-40B4-BE49-F238E27FC236}">
                    <a16:creationId xmlns:a16="http://schemas.microsoft.com/office/drawing/2014/main" id="{FD97C5F9-1BA0-4346-8BA5-61CA34B0EB56}"/>
                  </a:ext>
                </a:extLst>
              </p:cNvPr>
              <p:cNvSpPr txBox="1"/>
              <p:nvPr userDrawn="1"/>
            </p:nvSpPr>
            <p:spPr>
              <a:xfrm>
                <a:off x="9303325" y="18533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59" name="Straight Connector 58">
                <a:extLst>
                  <a:ext uri="{FF2B5EF4-FFF2-40B4-BE49-F238E27FC236}">
                    <a16:creationId xmlns:a16="http://schemas.microsoft.com/office/drawing/2014/main" id="{FF29B610-1229-CE4A-AF80-53A2FAABF0E4}"/>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179FAF10-6C7D-2144-8C5C-BFA813F68506}"/>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6" name="Group 75">
                <a:extLst>
                  <a:ext uri="{FF2B5EF4-FFF2-40B4-BE49-F238E27FC236}">
                    <a16:creationId xmlns:a16="http://schemas.microsoft.com/office/drawing/2014/main" id="{08A50BC6-41D4-CB43-B615-0CB5C5D8CB2E}"/>
                  </a:ext>
                </a:extLst>
              </p:cNvPr>
              <p:cNvGrpSpPr/>
              <p:nvPr userDrawn="1"/>
            </p:nvGrpSpPr>
            <p:grpSpPr>
              <a:xfrm>
                <a:off x="9286315" y="4787848"/>
                <a:ext cx="2735151" cy="1411315"/>
                <a:chOff x="9296567" y="4910411"/>
                <a:chExt cx="2735151" cy="1411315"/>
              </a:xfrm>
            </p:grpSpPr>
            <p:sp>
              <p:nvSpPr>
                <p:cNvPr id="78" name="Rectangle 77">
                  <a:extLst>
                    <a:ext uri="{FF2B5EF4-FFF2-40B4-BE49-F238E27FC236}">
                      <a16:creationId xmlns:a16="http://schemas.microsoft.com/office/drawing/2014/main" id="{AAF32C62-18B0-5A46-A72E-AB5C72B617B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9" name="TextBox 78">
                  <a:extLst>
                    <a:ext uri="{FF2B5EF4-FFF2-40B4-BE49-F238E27FC236}">
                      <a16:creationId xmlns:a16="http://schemas.microsoft.com/office/drawing/2014/main" id="{3A949284-8769-7C4A-BDA9-47BF5046975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0" name="Graphic 79">
                  <a:extLst>
                    <a:ext uri="{FF2B5EF4-FFF2-40B4-BE49-F238E27FC236}">
                      <a16:creationId xmlns:a16="http://schemas.microsoft.com/office/drawing/2014/main" id="{8963D7C6-F2C5-E849-BB93-9E88B87AA5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81" name="TextBox 80">
                  <a:extLst>
                    <a:ext uri="{FF2B5EF4-FFF2-40B4-BE49-F238E27FC236}">
                      <a16:creationId xmlns:a16="http://schemas.microsoft.com/office/drawing/2014/main" id="{85DB30AD-2EC9-DB48-BA60-31491FAC119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2" name="TextBox 81">
                  <a:extLst>
                    <a:ext uri="{FF2B5EF4-FFF2-40B4-BE49-F238E27FC236}">
                      <a16:creationId xmlns:a16="http://schemas.microsoft.com/office/drawing/2014/main" id="{17B40A71-5ED2-4847-B0DF-8C7122BB42A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3" name="TextBox 82">
                  <a:extLst>
                    <a:ext uri="{FF2B5EF4-FFF2-40B4-BE49-F238E27FC236}">
                      <a16:creationId xmlns:a16="http://schemas.microsoft.com/office/drawing/2014/main" id="{224A2BA9-4F1F-074F-AEA1-D6E43A8250E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62" name="Group 61">
                <a:extLst>
                  <a:ext uri="{FF2B5EF4-FFF2-40B4-BE49-F238E27FC236}">
                    <a16:creationId xmlns:a16="http://schemas.microsoft.com/office/drawing/2014/main" id="{0F4A1271-3D8B-3C49-A3EA-8521CBDB4AF1}"/>
                  </a:ext>
                </a:extLst>
              </p:cNvPr>
              <p:cNvGrpSpPr/>
              <p:nvPr userDrawn="1"/>
            </p:nvGrpSpPr>
            <p:grpSpPr>
              <a:xfrm>
                <a:off x="9286315" y="3431192"/>
                <a:ext cx="2735151" cy="1280928"/>
                <a:chOff x="9286315" y="6976989"/>
                <a:chExt cx="2735151" cy="1280928"/>
              </a:xfrm>
            </p:grpSpPr>
            <p:sp>
              <p:nvSpPr>
                <p:cNvPr id="71" name="Rectangle 70">
                  <a:extLst>
                    <a:ext uri="{FF2B5EF4-FFF2-40B4-BE49-F238E27FC236}">
                      <a16:creationId xmlns:a16="http://schemas.microsoft.com/office/drawing/2014/main" id="{C6145E2A-AB77-D243-85C2-139861D4876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2" name="TextBox 71">
                  <a:extLst>
                    <a:ext uri="{FF2B5EF4-FFF2-40B4-BE49-F238E27FC236}">
                      <a16:creationId xmlns:a16="http://schemas.microsoft.com/office/drawing/2014/main" id="{FC6A7522-6011-3549-8AE8-F95DA5F999B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3" name="Graphic 72">
                  <a:extLst>
                    <a:ext uri="{FF2B5EF4-FFF2-40B4-BE49-F238E27FC236}">
                      <a16:creationId xmlns:a16="http://schemas.microsoft.com/office/drawing/2014/main" id="{0766D4F4-795E-5245-BF49-8D06B73BD8E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74" name="TextBox 73">
                  <a:extLst>
                    <a:ext uri="{FF2B5EF4-FFF2-40B4-BE49-F238E27FC236}">
                      <a16:creationId xmlns:a16="http://schemas.microsoft.com/office/drawing/2014/main" id="{4BA13E32-1D69-6744-97E0-5693B3DE481A}"/>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75" name="Picture 74">
                  <a:extLst>
                    <a:ext uri="{FF2B5EF4-FFF2-40B4-BE49-F238E27FC236}">
                      <a16:creationId xmlns:a16="http://schemas.microsoft.com/office/drawing/2014/main" id="{62C33A3E-B57A-5249-A736-062C612AFDE5}"/>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3" name="Group 62">
                <a:extLst>
                  <a:ext uri="{FF2B5EF4-FFF2-40B4-BE49-F238E27FC236}">
                    <a16:creationId xmlns:a16="http://schemas.microsoft.com/office/drawing/2014/main" id="{46CE5CB7-4357-AA46-858D-4971B106CB68}"/>
                  </a:ext>
                </a:extLst>
              </p:cNvPr>
              <p:cNvGrpSpPr/>
              <p:nvPr userDrawn="1"/>
            </p:nvGrpSpPr>
            <p:grpSpPr>
              <a:xfrm>
                <a:off x="9266651" y="510458"/>
                <a:ext cx="2617883" cy="651460"/>
                <a:chOff x="12352022" y="513115"/>
                <a:chExt cx="2617883" cy="651460"/>
              </a:xfrm>
            </p:grpSpPr>
            <p:sp>
              <p:nvSpPr>
                <p:cNvPr id="68" name="TextBox 67">
                  <a:extLst>
                    <a:ext uri="{FF2B5EF4-FFF2-40B4-BE49-F238E27FC236}">
                      <a16:creationId xmlns:a16="http://schemas.microsoft.com/office/drawing/2014/main" id="{42CF36A7-43B8-6C4C-86FD-1CD17D70873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9" name="TextBox 68">
                  <a:extLst>
                    <a:ext uri="{FF2B5EF4-FFF2-40B4-BE49-F238E27FC236}">
                      <a16:creationId xmlns:a16="http://schemas.microsoft.com/office/drawing/2014/main" id="{1A6C5B3E-7B6D-A148-861C-6ACAA92D6CA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70" name="TextBox 69">
                  <a:extLst>
                    <a:ext uri="{FF2B5EF4-FFF2-40B4-BE49-F238E27FC236}">
                      <a16:creationId xmlns:a16="http://schemas.microsoft.com/office/drawing/2014/main" id="{35B6B6EB-9B89-1347-8F1C-C198506B65AC}"/>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64" name="TextBox 63">
                <a:extLst>
                  <a:ext uri="{FF2B5EF4-FFF2-40B4-BE49-F238E27FC236}">
                    <a16:creationId xmlns:a16="http://schemas.microsoft.com/office/drawing/2014/main" id="{86D606E1-D70D-CF4E-8378-6DE1F7A17FDF}"/>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65" name="TextBox 64">
                <a:extLst>
                  <a:ext uri="{FF2B5EF4-FFF2-40B4-BE49-F238E27FC236}">
                    <a16:creationId xmlns:a16="http://schemas.microsoft.com/office/drawing/2014/main" id="{1AB01998-6407-F04E-89B6-207E3B4416D9}"/>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66" name="TextBox 65">
                <a:extLst>
                  <a:ext uri="{FF2B5EF4-FFF2-40B4-BE49-F238E27FC236}">
                    <a16:creationId xmlns:a16="http://schemas.microsoft.com/office/drawing/2014/main" id="{BF601082-8B9E-E948-93FC-DD6E8E5CABC4}"/>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67" name="TextBox 66">
                <a:extLst>
                  <a:ext uri="{FF2B5EF4-FFF2-40B4-BE49-F238E27FC236}">
                    <a16:creationId xmlns:a16="http://schemas.microsoft.com/office/drawing/2014/main" id="{713FBF07-5E2E-9142-A30C-27DB2C07E4EE}"/>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500" name="Caption">
            <a:extLst>
              <a:ext uri="{FF2B5EF4-FFF2-40B4-BE49-F238E27FC236}">
                <a16:creationId xmlns:a16="http://schemas.microsoft.com/office/drawing/2014/main" id="{FBAAECF8-548A-DF48-864C-7FFAC7CE7E0F}"/>
              </a:ext>
            </a:extLst>
          </p:cNvPr>
          <p:cNvSpPr>
            <a:spLocks noGrp="1"/>
          </p:cNvSpPr>
          <p:nvPr>
            <p:ph type="body" sz="quarter" idx="500" hasCustomPrompt="1"/>
          </p:nvPr>
        </p:nvSpPr>
        <p:spPr>
          <a:xfrm>
            <a:off x="7947046" y="6200776"/>
            <a:ext cx="3657167"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2" name="Date Placeholder 1">
            <a:extLst>
              <a:ext uri="{FF2B5EF4-FFF2-40B4-BE49-F238E27FC236}">
                <a16:creationId xmlns:a16="http://schemas.microsoft.com/office/drawing/2014/main" id="{DCE27FEE-18EA-A346-B26F-D333D09B927F}"/>
              </a:ext>
            </a:extLst>
          </p:cNvPr>
          <p:cNvSpPr>
            <a:spLocks noGrp="1"/>
          </p:cNvSpPr>
          <p:nvPr>
            <p:ph type="dt" sz="half" idx="15"/>
          </p:nvPr>
        </p:nvSpPr>
        <p:spPr/>
        <p:txBody>
          <a:bodyPr/>
          <a:lstStyle/>
          <a:p>
            <a:endParaRPr lang="en-US" dirty="0"/>
          </a:p>
        </p:txBody>
      </p:sp>
      <p:sp>
        <p:nvSpPr>
          <p:cNvPr id="3" name="Footer Placeholder 2">
            <a:extLst>
              <a:ext uri="{FF2B5EF4-FFF2-40B4-BE49-F238E27FC236}">
                <a16:creationId xmlns:a16="http://schemas.microsoft.com/office/drawing/2014/main" id="{9A4E954B-AA54-CB4A-BB91-65FA99432494}"/>
              </a:ext>
            </a:extLst>
          </p:cNvPr>
          <p:cNvSpPr>
            <a:spLocks noGrp="1"/>
          </p:cNvSpPr>
          <p:nvPr>
            <p:ph type="ftr" sz="quarter" idx="16"/>
          </p:nvPr>
        </p:nvSpPr>
        <p:spPr/>
        <p:txBody>
          <a:bodyPr/>
          <a:lstStyle/>
          <a:p>
            <a:endParaRPr lang="en-US" dirty="0"/>
          </a:p>
        </p:txBody>
      </p:sp>
      <p:sp>
        <p:nvSpPr>
          <p:cNvPr id="4" name="Slide Number Placeholder 3">
            <a:extLst>
              <a:ext uri="{FF2B5EF4-FFF2-40B4-BE49-F238E27FC236}">
                <a16:creationId xmlns:a16="http://schemas.microsoft.com/office/drawing/2014/main" id="{3BBB10A8-70DC-DE4D-92FA-36863B35ABB9}"/>
              </a:ext>
            </a:extLst>
          </p:cNvPr>
          <p:cNvSpPr>
            <a:spLocks noGrp="1"/>
          </p:cNvSpPr>
          <p:nvPr>
            <p:ph type="sldNum" sz="quarter" idx="17"/>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47" name="Group 46">
            <a:extLst>
              <a:ext uri="{FF2B5EF4-FFF2-40B4-BE49-F238E27FC236}">
                <a16:creationId xmlns:a16="http://schemas.microsoft.com/office/drawing/2014/main" id="{9F6510D4-5C14-4C49-9E12-FE70AD2BF8B5}"/>
              </a:ext>
            </a:extLst>
          </p:cNvPr>
          <p:cNvGrpSpPr/>
          <p:nvPr userDrawn="1"/>
        </p:nvGrpSpPr>
        <p:grpSpPr>
          <a:xfrm>
            <a:off x="574987" y="-246933"/>
            <a:ext cx="11040535" cy="7347304"/>
            <a:chOff x="431240" y="-246933"/>
            <a:chExt cx="8280401" cy="7347304"/>
          </a:xfrm>
        </p:grpSpPr>
        <p:grpSp>
          <p:nvGrpSpPr>
            <p:cNvPr id="48" name="Group 47">
              <a:extLst>
                <a:ext uri="{FF2B5EF4-FFF2-40B4-BE49-F238E27FC236}">
                  <a16:creationId xmlns:a16="http://schemas.microsoft.com/office/drawing/2014/main" id="{7065C18E-D64F-7245-813C-B6B447EDB421}"/>
                </a:ext>
              </a:extLst>
            </p:cNvPr>
            <p:cNvGrpSpPr/>
            <p:nvPr userDrawn="1"/>
          </p:nvGrpSpPr>
          <p:grpSpPr>
            <a:xfrm>
              <a:off x="431242" y="6864579"/>
              <a:ext cx="8280398" cy="235792"/>
              <a:chOff x="431801" y="-235792"/>
              <a:chExt cx="4400550" cy="235792"/>
            </a:xfrm>
          </p:grpSpPr>
          <p:cxnSp>
            <p:nvCxnSpPr>
              <p:cNvPr id="87" name="Straight Connector 86">
                <a:extLst>
                  <a:ext uri="{FF2B5EF4-FFF2-40B4-BE49-F238E27FC236}">
                    <a16:creationId xmlns:a16="http://schemas.microsoft.com/office/drawing/2014/main" id="{0395E244-87CF-F140-BD60-3FFD9A25D3E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B59353F5-2397-5A4B-9D6C-2A5B3826216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6A29AC13-8431-6247-9605-4DE6AC19757E}"/>
                </a:ext>
              </a:extLst>
            </p:cNvPr>
            <p:cNvGrpSpPr/>
            <p:nvPr userDrawn="1"/>
          </p:nvGrpSpPr>
          <p:grpSpPr>
            <a:xfrm>
              <a:off x="431240" y="-246933"/>
              <a:ext cx="8280401" cy="235792"/>
              <a:chOff x="431800" y="-240735"/>
              <a:chExt cx="8280401" cy="235792"/>
            </a:xfrm>
          </p:grpSpPr>
          <p:grpSp>
            <p:nvGrpSpPr>
              <p:cNvPr id="50" name="Group 49">
                <a:extLst>
                  <a:ext uri="{FF2B5EF4-FFF2-40B4-BE49-F238E27FC236}">
                    <a16:creationId xmlns:a16="http://schemas.microsoft.com/office/drawing/2014/main" id="{91174909-64CA-EF47-A0A7-204423290ECC}"/>
                  </a:ext>
                </a:extLst>
              </p:cNvPr>
              <p:cNvGrpSpPr/>
              <p:nvPr userDrawn="1"/>
            </p:nvGrpSpPr>
            <p:grpSpPr>
              <a:xfrm>
                <a:off x="431800" y="-240735"/>
                <a:ext cx="8280400" cy="235792"/>
                <a:chOff x="431800" y="-235792"/>
                <a:chExt cx="4400551" cy="235792"/>
              </a:xfrm>
            </p:grpSpPr>
            <p:cxnSp>
              <p:nvCxnSpPr>
                <p:cNvPr id="54" name="Straight Connector 53">
                  <a:extLst>
                    <a:ext uri="{FF2B5EF4-FFF2-40B4-BE49-F238E27FC236}">
                      <a16:creationId xmlns:a16="http://schemas.microsoft.com/office/drawing/2014/main" id="{34D91FED-26CC-F144-8BF9-DB64124B41B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97B6B19F-FF08-ED4B-9CCD-CAFF7BF049B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1D02FAC6-DC5B-A746-8EF4-D6DB84FFA3D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51" name="TextBox 50">
                <a:extLst>
                  <a:ext uri="{FF2B5EF4-FFF2-40B4-BE49-F238E27FC236}">
                    <a16:creationId xmlns:a16="http://schemas.microsoft.com/office/drawing/2014/main" id="{20F36343-BBC2-4349-A0F2-4B2E7BBD79F8}"/>
                  </a:ext>
                </a:extLst>
              </p:cNvPr>
              <p:cNvSpPr txBox="1"/>
              <p:nvPr userDrawn="1"/>
            </p:nvSpPr>
            <p:spPr>
              <a:xfrm>
                <a:off x="3914336" y="-176700"/>
                <a:ext cx="1315339"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52" name="Straight Arrow Connector 51">
                <a:extLst>
                  <a:ext uri="{FF2B5EF4-FFF2-40B4-BE49-F238E27FC236}">
                    <a16:creationId xmlns:a16="http://schemas.microsoft.com/office/drawing/2014/main" id="{BCE10A83-4DF9-CA4C-8F3D-16220DA1460D}"/>
                  </a:ext>
                </a:extLst>
              </p:cNvPr>
              <p:cNvCxnSpPr>
                <a:cxnSpLocks/>
                <a:stCxn id="51" idx="1"/>
                <a:endCxn id="86" idx="2"/>
              </p:cNvCxnSpPr>
              <p:nvPr userDrawn="1"/>
            </p:nvCxnSpPr>
            <p:spPr>
              <a:xfrm flipH="1">
                <a:off x="431801" y="-122839"/>
                <a:ext cx="3482535"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0A539B45-3509-C647-A3C5-4AB4B3F91D32}"/>
                  </a:ext>
                </a:extLst>
              </p:cNvPr>
              <p:cNvCxnSpPr>
                <a:cxnSpLocks/>
                <a:stCxn id="51" idx="3"/>
                <a:endCxn id="86" idx="0"/>
              </p:cNvCxnSpPr>
              <p:nvPr userDrawn="1"/>
            </p:nvCxnSpPr>
            <p:spPr>
              <a:xfrm flipV="1">
                <a:off x="5229674" y="-122840"/>
                <a:ext cx="3482527"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42382579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00" name="First Content Placeholder">
            <a:extLst>
              <a:ext uri="{FF2B5EF4-FFF2-40B4-BE49-F238E27FC236}">
                <a16:creationId xmlns:a16="http://schemas.microsoft.com/office/drawing/2014/main" id="{D7070C02-8D3D-AA4B-B6D3-432E3D380E3C}"/>
              </a:ext>
            </a:extLst>
          </p:cNvPr>
          <p:cNvSpPr>
            <a:spLocks noGrp="1"/>
          </p:cNvSpPr>
          <p:nvPr>
            <p:ph sz="quarter" idx="200" hasCustomPrompt="1"/>
          </p:nvPr>
        </p:nvSpPr>
        <p:spPr>
          <a:xfrm>
            <a:off x="575734" y="1233489"/>
            <a:ext cx="11040533" cy="4932362"/>
          </a:xfrm>
        </p:spPr>
        <p:txBody>
          <a:bodyPr/>
          <a:lstStyle>
            <a:lvl1pPr>
              <a:defRPr lang="en-US"/>
            </a:lvl1pPr>
            <a:lvl2pPr>
              <a:defRPr lang="en-US"/>
            </a:lvl2pPr>
            <a:lvl3pPr>
              <a:defRPr lang="en-US"/>
            </a:lvl3pPr>
            <a:lvl4pPr>
              <a:defRPr lang="en-US"/>
            </a:lvl4pPr>
            <a:lvl5pPr>
              <a:defRPr lang="en-US" dirty="0"/>
            </a:lvl5pPr>
          </a:lstStyle>
          <a:p>
            <a:pPr lvl="0"/>
            <a:r>
              <a:rPr lang="en-US" dirty="0"/>
              <a:t>Click to add text, or use the icon to add a table</a:t>
            </a:r>
          </a:p>
          <a:p>
            <a:pPr lvl="1"/>
            <a:r>
              <a:rPr lang="en-US" dirty="0"/>
              <a:t>Body text (second level)</a:t>
            </a:r>
          </a:p>
          <a:p>
            <a:pPr lvl="2"/>
            <a:r>
              <a:rPr lang="en-US" dirty="0"/>
              <a:t>Square bullet (third level)</a:t>
            </a:r>
          </a:p>
          <a:p>
            <a:pPr lvl="3"/>
            <a:r>
              <a:rPr lang="en-US" dirty="0"/>
              <a:t>Dashed bullet (fourth level)</a:t>
            </a:r>
          </a:p>
          <a:p>
            <a:pPr lvl="4"/>
            <a:r>
              <a:rPr lang="en-US" dirty="0"/>
              <a:t>Dashed bullet (fifth level)</a:t>
            </a:r>
          </a:p>
        </p:txBody>
      </p:sp>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000" name="Footnotes Placeholder">
            <a:extLst>
              <a:ext uri="{FF2B5EF4-FFF2-40B4-BE49-F238E27FC236}">
                <a16:creationId xmlns:a16="http://schemas.microsoft.com/office/drawing/2014/main" id="{73A7EDA7-F3CC-FE4B-8FF2-546BF052CA2D}"/>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32" name="Date Placeholder 31">
            <a:extLst>
              <a:ext uri="{FF2B5EF4-FFF2-40B4-BE49-F238E27FC236}">
                <a16:creationId xmlns:a16="http://schemas.microsoft.com/office/drawing/2014/main" id="{063A222F-451A-4B49-AAE6-41BBAA48AC75}"/>
              </a:ext>
            </a:extLst>
          </p:cNvPr>
          <p:cNvSpPr>
            <a:spLocks noGrp="1"/>
          </p:cNvSpPr>
          <p:nvPr userDrawn="1">
            <p:ph type="dt" sz="half" idx="105"/>
          </p:nvPr>
        </p:nvSpPr>
        <p:spPr/>
        <p:txBody>
          <a:bodyPr/>
          <a:lstStyle/>
          <a:p>
            <a:endParaRPr lang="en-US" dirty="0"/>
          </a:p>
        </p:txBody>
      </p:sp>
      <p:sp>
        <p:nvSpPr>
          <p:cNvPr id="33" name="Footer Placeholder 32">
            <a:extLst>
              <a:ext uri="{FF2B5EF4-FFF2-40B4-BE49-F238E27FC236}">
                <a16:creationId xmlns:a16="http://schemas.microsoft.com/office/drawing/2014/main" id="{7182972C-B32C-5242-9660-1F857E08362B}"/>
              </a:ext>
            </a:extLst>
          </p:cNvPr>
          <p:cNvSpPr>
            <a:spLocks noGrp="1"/>
          </p:cNvSpPr>
          <p:nvPr userDrawn="1">
            <p:ph type="ftr" sz="quarter" idx="106"/>
          </p:nvPr>
        </p:nvSpPr>
        <p:spPr/>
        <p:txBody>
          <a:bodyPr/>
          <a:lstStyle/>
          <a:p>
            <a:endParaRPr lang="en-US" dirty="0"/>
          </a:p>
        </p:txBody>
      </p:sp>
      <p:sp>
        <p:nvSpPr>
          <p:cNvPr id="39" name="Slide Number Placeholder 38">
            <a:extLst>
              <a:ext uri="{FF2B5EF4-FFF2-40B4-BE49-F238E27FC236}">
                <a16:creationId xmlns:a16="http://schemas.microsoft.com/office/drawing/2014/main" id="{702F905D-B5C6-604B-A8D6-931CBE08DB32}"/>
              </a:ext>
            </a:extLst>
          </p:cNvPr>
          <p:cNvSpPr>
            <a:spLocks noGrp="1"/>
          </p:cNvSpPr>
          <p:nvPr userDrawn="1">
            <p:ph type="sldNum" sz="quarter" idx="10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6" name="Group 5">
            <a:extLst>
              <a:ext uri="{FF2B5EF4-FFF2-40B4-BE49-F238E27FC236}">
                <a16:creationId xmlns:a16="http://schemas.microsoft.com/office/drawing/2014/main" id="{7377C8CE-D482-6D47-A000-443568B2C375}"/>
              </a:ext>
            </a:extLst>
          </p:cNvPr>
          <p:cNvGrpSpPr/>
          <p:nvPr userDrawn="1"/>
        </p:nvGrpSpPr>
        <p:grpSpPr>
          <a:xfrm>
            <a:off x="12532243" y="1"/>
            <a:ext cx="3965960" cy="6857995"/>
            <a:chOff x="9399182" y="0"/>
            <a:chExt cx="2974470" cy="6857995"/>
          </a:xfrm>
        </p:grpSpPr>
        <p:sp>
          <p:nvSpPr>
            <p:cNvPr id="11" name="Rectangle 10">
              <a:extLst>
                <a:ext uri="{FF2B5EF4-FFF2-40B4-BE49-F238E27FC236}">
                  <a16:creationId xmlns:a16="http://schemas.microsoft.com/office/drawing/2014/main" id="{B624552C-B575-AE4E-B90E-80386DFFD747}"/>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70" name="Picture 69">
              <a:extLst>
                <a:ext uri="{FF2B5EF4-FFF2-40B4-BE49-F238E27FC236}">
                  <a16:creationId xmlns:a16="http://schemas.microsoft.com/office/drawing/2014/main" id="{72577E3C-2575-9A49-8EA5-9CA05A2E3D32}"/>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12" name="Group 11">
              <a:extLst>
                <a:ext uri="{FF2B5EF4-FFF2-40B4-BE49-F238E27FC236}">
                  <a16:creationId xmlns:a16="http://schemas.microsoft.com/office/drawing/2014/main" id="{4E2D26DA-696F-D345-B831-DB4BCF3B6E31}"/>
                </a:ext>
              </a:extLst>
            </p:cNvPr>
            <p:cNvGrpSpPr/>
            <p:nvPr userDrawn="1"/>
          </p:nvGrpSpPr>
          <p:grpSpPr>
            <a:xfrm>
              <a:off x="9541497" y="162442"/>
              <a:ext cx="2819400" cy="814510"/>
              <a:chOff x="-3644733" y="165205"/>
              <a:chExt cx="2819400" cy="814510"/>
            </a:xfrm>
          </p:grpSpPr>
          <p:sp>
            <p:nvSpPr>
              <p:cNvPr id="18" name="Rectangle 17">
                <a:extLst>
                  <a:ext uri="{FF2B5EF4-FFF2-40B4-BE49-F238E27FC236}">
                    <a16:creationId xmlns:a16="http://schemas.microsoft.com/office/drawing/2014/main" id="{5C3AAD8B-698C-7A43-ABDF-294888239CF2}"/>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9" name="TextBox 18">
                <a:extLst>
                  <a:ext uri="{FF2B5EF4-FFF2-40B4-BE49-F238E27FC236}">
                    <a16:creationId xmlns:a16="http://schemas.microsoft.com/office/drawing/2014/main" id="{2D824FCF-53BC-444C-88D6-38033E97AEDF}"/>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20" name="Picture 19">
                <a:extLst>
                  <a:ext uri="{FF2B5EF4-FFF2-40B4-BE49-F238E27FC236}">
                    <a16:creationId xmlns:a16="http://schemas.microsoft.com/office/drawing/2014/main" id="{B83CA71E-B1B7-6946-92A5-BFD00A4291E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15" name="Group 14">
              <a:extLst>
                <a:ext uri="{FF2B5EF4-FFF2-40B4-BE49-F238E27FC236}">
                  <a16:creationId xmlns:a16="http://schemas.microsoft.com/office/drawing/2014/main" id="{BDFE6C8C-E609-C848-9C4A-7DCBDF10FCCB}"/>
                </a:ext>
              </a:extLst>
            </p:cNvPr>
            <p:cNvGrpSpPr/>
            <p:nvPr userDrawn="1"/>
          </p:nvGrpSpPr>
          <p:grpSpPr>
            <a:xfrm>
              <a:off x="9558507" y="1119891"/>
              <a:ext cx="2639328" cy="202617"/>
              <a:chOff x="9303325" y="149270"/>
              <a:chExt cx="2639328" cy="202617"/>
            </a:xfrm>
          </p:grpSpPr>
          <p:sp>
            <p:nvSpPr>
              <p:cNvPr id="16" name="TextBox 15">
                <a:extLst>
                  <a:ext uri="{FF2B5EF4-FFF2-40B4-BE49-F238E27FC236}">
                    <a16:creationId xmlns:a16="http://schemas.microsoft.com/office/drawing/2014/main" id="{5459E50A-7290-8345-AB63-DF07B151FCBA}"/>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17" name="Straight Connector 16">
                <a:extLst>
                  <a:ext uri="{FF2B5EF4-FFF2-40B4-BE49-F238E27FC236}">
                    <a16:creationId xmlns:a16="http://schemas.microsoft.com/office/drawing/2014/main" id="{877E185E-D403-494F-AEBA-AEAB2A57C114}"/>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2707A63D-0ED3-2649-8C74-DDC556FCF5A9}"/>
                </a:ext>
              </a:extLst>
            </p:cNvPr>
            <p:cNvGrpSpPr/>
            <p:nvPr userDrawn="1"/>
          </p:nvGrpSpPr>
          <p:grpSpPr>
            <a:xfrm>
              <a:off x="9554253" y="3678850"/>
              <a:ext cx="2735151" cy="2655095"/>
              <a:chOff x="9541497" y="2555080"/>
              <a:chExt cx="2735151" cy="2655095"/>
            </a:xfrm>
          </p:grpSpPr>
          <p:grpSp>
            <p:nvGrpSpPr>
              <p:cNvPr id="21" name="Group 20">
                <a:extLst>
                  <a:ext uri="{FF2B5EF4-FFF2-40B4-BE49-F238E27FC236}">
                    <a16:creationId xmlns:a16="http://schemas.microsoft.com/office/drawing/2014/main" id="{97646D57-86DD-CC45-AF75-033441DEAEBB}"/>
                  </a:ext>
                </a:extLst>
              </p:cNvPr>
              <p:cNvGrpSpPr/>
              <p:nvPr userDrawn="1"/>
            </p:nvGrpSpPr>
            <p:grpSpPr>
              <a:xfrm>
                <a:off x="9541497" y="2555080"/>
                <a:ext cx="2735151" cy="2655095"/>
                <a:chOff x="9296567" y="4910411"/>
                <a:chExt cx="2735151" cy="2655095"/>
              </a:xfrm>
            </p:grpSpPr>
            <p:sp>
              <p:nvSpPr>
                <p:cNvPr id="22" name="Rectangle 21">
                  <a:extLst>
                    <a:ext uri="{FF2B5EF4-FFF2-40B4-BE49-F238E27FC236}">
                      <a16:creationId xmlns:a16="http://schemas.microsoft.com/office/drawing/2014/main" id="{88B63AE3-654D-E346-84F1-DE1585D68864}"/>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3" name="TextBox 22">
                  <a:extLst>
                    <a:ext uri="{FF2B5EF4-FFF2-40B4-BE49-F238E27FC236}">
                      <a16:creationId xmlns:a16="http://schemas.microsoft.com/office/drawing/2014/main" id="{73FF8F45-C686-3D4E-9541-1D8727406BA0}"/>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24" name="Graphic 23">
                  <a:extLst>
                    <a:ext uri="{FF2B5EF4-FFF2-40B4-BE49-F238E27FC236}">
                      <a16:creationId xmlns:a16="http://schemas.microsoft.com/office/drawing/2014/main" id="{CB005880-BCA3-A74D-BFE6-ECE18F5208A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25" name="TextBox 24">
                  <a:extLst>
                    <a:ext uri="{FF2B5EF4-FFF2-40B4-BE49-F238E27FC236}">
                      <a16:creationId xmlns:a16="http://schemas.microsoft.com/office/drawing/2014/main" id="{6D7CFF09-C588-D946-9376-69CEAE13234B}"/>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dirty="0"/>
                    <a:t>This template automatically adds paragraph spacing between first-level text paragraphs. When pasting in content, remember to delete any extra blank lines from your text.</a:t>
                  </a:r>
                </a:p>
              </p:txBody>
            </p:sp>
          </p:grpSp>
          <p:grpSp>
            <p:nvGrpSpPr>
              <p:cNvPr id="49" name="Group 48">
                <a:extLst>
                  <a:ext uri="{FF2B5EF4-FFF2-40B4-BE49-F238E27FC236}">
                    <a16:creationId xmlns:a16="http://schemas.microsoft.com/office/drawing/2014/main" id="{942737E0-D794-DF4D-B7C0-6CAEC1A43DF9}"/>
                  </a:ext>
                </a:extLst>
              </p:cNvPr>
              <p:cNvGrpSpPr/>
              <p:nvPr userDrawn="1"/>
            </p:nvGrpSpPr>
            <p:grpSpPr>
              <a:xfrm>
                <a:off x="9832250" y="3569700"/>
                <a:ext cx="2074000" cy="1627918"/>
                <a:chOff x="9832250" y="3617325"/>
                <a:chExt cx="2074000" cy="1627918"/>
              </a:xfrm>
            </p:grpSpPr>
            <p:pic>
              <p:nvPicPr>
                <p:cNvPr id="42" name="Picture 41">
                  <a:extLst>
                    <a:ext uri="{FF2B5EF4-FFF2-40B4-BE49-F238E27FC236}">
                      <a16:creationId xmlns:a16="http://schemas.microsoft.com/office/drawing/2014/main" id="{06E7651E-8190-B943-9721-400134189D67}"/>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44" name="Straight Connector 43">
                  <a:extLst>
                    <a:ext uri="{FF2B5EF4-FFF2-40B4-BE49-F238E27FC236}">
                      <a16:creationId xmlns:a16="http://schemas.microsoft.com/office/drawing/2014/main" id="{6A6779F1-2A60-A14F-9868-14C42F8A7876}"/>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4D2FEFE-94D7-2F4D-B902-718C10873F5D}"/>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BFD489AF-FA3E-5644-86FC-3A5B05E7B94F}"/>
                    </a:ext>
                  </a:extLst>
                </p:cNvPr>
                <p:cNvSpPr txBox="1"/>
                <p:nvPr userDrawn="1"/>
              </p:nvSpPr>
              <p:spPr>
                <a:xfrm>
                  <a:off x="9832250" y="3828243"/>
                  <a:ext cx="257282"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48" name="TextBox 47">
                  <a:extLst>
                    <a:ext uri="{FF2B5EF4-FFF2-40B4-BE49-F238E27FC236}">
                      <a16:creationId xmlns:a16="http://schemas.microsoft.com/office/drawing/2014/main" id="{B0708852-B6D4-5043-86A8-0181B47AF502}"/>
                    </a:ext>
                  </a:extLst>
                </p:cNvPr>
                <p:cNvSpPr txBox="1"/>
                <p:nvPr userDrawn="1"/>
              </p:nvSpPr>
              <p:spPr>
                <a:xfrm>
                  <a:off x="9832250" y="4721742"/>
                  <a:ext cx="257282"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5" name="Group 4">
              <a:extLst>
                <a:ext uri="{FF2B5EF4-FFF2-40B4-BE49-F238E27FC236}">
                  <a16:creationId xmlns:a16="http://schemas.microsoft.com/office/drawing/2014/main" id="{D90F7566-5DFC-224D-B550-F17C772A4956}"/>
                </a:ext>
              </a:extLst>
            </p:cNvPr>
            <p:cNvGrpSpPr/>
            <p:nvPr userDrawn="1"/>
          </p:nvGrpSpPr>
          <p:grpSpPr>
            <a:xfrm>
              <a:off x="9558506" y="2409506"/>
              <a:ext cx="2639327" cy="684608"/>
              <a:chOff x="9558506" y="2476806"/>
              <a:chExt cx="2639327" cy="684608"/>
            </a:xfrm>
          </p:grpSpPr>
          <p:pic>
            <p:nvPicPr>
              <p:cNvPr id="3" name="Picture 2">
                <a:extLst>
                  <a:ext uri="{FF2B5EF4-FFF2-40B4-BE49-F238E27FC236}">
                    <a16:creationId xmlns:a16="http://schemas.microsoft.com/office/drawing/2014/main" id="{740B4C7C-60B8-0147-B275-9FA9F934BCF0}"/>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4" name="Rectangle 3">
                <a:extLst>
                  <a:ext uri="{FF2B5EF4-FFF2-40B4-BE49-F238E27FC236}">
                    <a16:creationId xmlns:a16="http://schemas.microsoft.com/office/drawing/2014/main" id="{F0185F31-1C0F-C84F-82F7-CDE92D5E8462}"/>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1" name="TextBox 50">
                <a:extLst>
                  <a:ext uri="{FF2B5EF4-FFF2-40B4-BE49-F238E27FC236}">
                    <a16:creationId xmlns:a16="http://schemas.microsoft.com/office/drawing/2014/main" id="{AD7D6324-A232-CF4B-A35D-7883E63DC01B}"/>
                  </a:ext>
                </a:extLst>
              </p:cNvPr>
              <p:cNvSpPr txBox="1"/>
              <p:nvPr userDrawn="1"/>
            </p:nvSpPr>
            <p:spPr>
              <a:xfrm>
                <a:off x="9635558" y="2549805"/>
                <a:ext cx="676269" cy="430887"/>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2" name="Group 1">
              <a:extLst>
                <a:ext uri="{FF2B5EF4-FFF2-40B4-BE49-F238E27FC236}">
                  <a16:creationId xmlns:a16="http://schemas.microsoft.com/office/drawing/2014/main" id="{0DACB142-1234-41D1-A255-A168CB3FBFEC}"/>
                </a:ext>
              </a:extLst>
            </p:cNvPr>
            <p:cNvGrpSpPr/>
            <p:nvPr userDrawn="1"/>
          </p:nvGrpSpPr>
          <p:grpSpPr>
            <a:xfrm>
              <a:off x="9554253" y="2414886"/>
              <a:ext cx="2819399" cy="1181890"/>
              <a:chOff x="9541498" y="3352649"/>
              <a:chExt cx="2819399" cy="1181890"/>
            </a:xfrm>
          </p:grpSpPr>
          <p:grpSp>
            <p:nvGrpSpPr>
              <p:cNvPr id="34" name="Group 33">
                <a:extLst>
                  <a:ext uri="{FF2B5EF4-FFF2-40B4-BE49-F238E27FC236}">
                    <a16:creationId xmlns:a16="http://schemas.microsoft.com/office/drawing/2014/main" id="{68589F60-2D66-4B46-AE58-9B3DF45E0D04}"/>
                  </a:ext>
                </a:extLst>
              </p:cNvPr>
              <p:cNvGrpSpPr/>
              <p:nvPr userDrawn="1"/>
            </p:nvGrpSpPr>
            <p:grpSpPr>
              <a:xfrm>
                <a:off x="9541498" y="3352649"/>
                <a:ext cx="2735150" cy="1181890"/>
                <a:chOff x="9541498" y="3751132"/>
                <a:chExt cx="2735150" cy="1181890"/>
              </a:xfrm>
            </p:grpSpPr>
            <p:grpSp>
              <p:nvGrpSpPr>
                <p:cNvPr id="35" name="Group 34">
                  <a:extLst>
                    <a:ext uri="{FF2B5EF4-FFF2-40B4-BE49-F238E27FC236}">
                      <a16:creationId xmlns:a16="http://schemas.microsoft.com/office/drawing/2014/main" id="{2FD0186C-A219-4155-8D46-C05A3751B2ED}"/>
                    </a:ext>
                  </a:extLst>
                </p:cNvPr>
                <p:cNvGrpSpPr/>
                <p:nvPr userDrawn="1"/>
              </p:nvGrpSpPr>
              <p:grpSpPr>
                <a:xfrm>
                  <a:off x="9541498" y="3751132"/>
                  <a:ext cx="2735150" cy="1181890"/>
                  <a:chOff x="9296568" y="4910411"/>
                  <a:chExt cx="2735150" cy="1181890"/>
                </a:xfrm>
              </p:grpSpPr>
              <p:sp>
                <p:nvSpPr>
                  <p:cNvPr id="37" name="Rectangle 36">
                    <a:extLst>
                      <a:ext uri="{FF2B5EF4-FFF2-40B4-BE49-F238E27FC236}">
                        <a16:creationId xmlns:a16="http://schemas.microsoft.com/office/drawing/2014/main" id="{5F54F593-ABB9-4B7D-9C12-B4429591BE5A}"/>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8" name="TextBox 37">
                    <a:extLst>
                      <a:ext uri="{FF2B5EF4-FFF2-40B4-BE49-F238E27FC236}">
                        <a16:creationId xmlns:a16="http://schemas.microsoft.com/office/drawing/2014/main" id="{A62EE7AD-C4E7-4E65-AECC-33E75355E5A7}"/>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0" name="TextBox 39">
                    <a:extLst>
                      <a:ext uri="{FF2B5EF4-FFF2-40B4-BE49-F238E27FC236}">
                        <a16:creationId xmlns:a16="http://schemas.microsoft.com/office/drawing/2014/main" id="{93DB76AE-3F4F-4A19-B966-91F70FF0FAD9}"/>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36" name="Graphic 35">
                  <a:extLst>
                    <a:ext uri="{FF2B5EF4-FFF2-40B4-BE49-F238E27FC236}">
                      <a16:creationId xmlns:a16="http://schemas.microsoft.com/office/drawing/2014/main" id="{32568DFB-2F01-47B2-BE59-F2DE9D01499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1" name="Picture 40">
                <a:extLst>
                  <a:ext uri="{FF2B5EF4-FFF2-40B4-BE49-F238E27FC236}">
                    <a16:creationId xmlns:a16="http://schemas.microsoft.com/office/drawing/2014/main" id="{29414905-E52D-4947-8B5C-2CE4F2F3689A}"/>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43613605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wo Content (Half)">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575736" y="1233489"/>
            <a:ext cx="5344901" cy="4932362"/>
          </a:xfrm>
        </p:spPr>
        <p:txBody>
          <a:bodyPr/>
          <a:lstStyle>
            <a:lvl1pPr>
              <a:defRPr lang="en-US" dirty="0"/>
            </a:lvl1pPr>
            <a:lvl2pPr>
              <a:defRPr lang="en-US" dirty="0"/>
            </a:lvl2pPr>
            <a:lvl3pPr>
              <a:defRPr lang="en-US" dirty="0"/>
            </a:lvl3pPr>
            <a:lvl4pPr>
              <a:defRPr lang="en-US" dirty="0"/>
            </a:lvl4pPr>
            <a:lvl5pPr>
              <a:defRPr lang="en-US" dirty="0"/>
            </a:lvl5pPr>
          </a:lstStyle>
          <a:p>
            <a:pPr lvl="0"/>
            <a:r>
              <a:rPr lang="en-US" dirty="0"/>
              <a:t>Click to add text, or use the icon to add a table</a:t>
            </a:r>
          </a:p>
          <a:p>
            <a:pPr lvl="1"/>
            <a:r>
              <a:rPr lang="en-US" dirty="0"/>
              <a:t>Body text (second level)</a:t>
            </a:r>
          </a:p>
          <a:p>
            <a:pPr lvl="2"/>
            <a:r>
              <a:rPr lang="en-US" dirty="0"/>
              <a:t>Square bullet (third level)</a:t>
            </a:r>
          </a:p>
          <a:p>
            <a:pPr lvl="3"/>
            <a:r>
              <a:rPr lang="en-US" dirty="0"/>
              <a:t>Dashed bullet (fourth level)</a:t>
            </a:r>
          </a:p>
          <a:p>
            <a:pPr lvl="4"/>
            <a:r>
              <a:rPr lang="en-US" dirty="0"/>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6271363" y="1233489"/>
            <a:ext cx="5344901" cy="4932362"/>
          </a:xfrm>
        </p:spPr>
        <p:txBody>
          <a:bodyPr/>
          <a:lstStyle>
            <a:lvl1pPr>
              <a:defRPr lang="en-US"/>
            </a:lvl1pPr>
            <a:lvl2pPr>
              <a:defRPr lang="en-US"/>
            </a:lvl2pPr>
            <a:lvl3pPr>
              <a:defRPr lang="en-US"/>
            </a:lvl3pPr>
            <a:lvl4pPr>
              <a:defRPr lang="en-US"/>
            </a:lvl4pPr>
            <a:lvl5pPr>
              <a:defRPr lang="en-US" dirty="0"/>
            </a:lvl5pPr>
          </a:lstStyle>
          <a:p>
            <a:pPr lvl="0"/>
            <a:r>
              <a:rPr lang="en-US" dirty="0"/>
              <a:t>Click to add text, or use the icon to add a table</a:t>
            </a:r>
          </a:p>
          <a:p>
            <a:pPr lvl="1"/>
            <a:r>
              <a:rPr lang="en-US" dirty="0"/>
              <a:t>Body text (second level)</a:t>
            </a:r>
          </a:p>
          <a:p>
            <a:pPr lvl="2"/>
            <a:r>
              <a:rPr lang="en-US" dirty="0"/>
              <a:t>Square bullet (third level)</a:t>
            </a:r>
          </a:p>
          <a:p>
            <a:pPr lvl="3"/>
            <a:r>
              <a:rPr lang="en-US" dirty="0"/>
              <a:t>Dashed bullet (fourth level)</a:t>
            </a:r>
          </a:p>
          <a:p>
            <a:pPr lvl="4"/>
            <a:r>
              <a:rPr lang="en-US" dirty="0"/>
              <a:t>Dashed bullet (fifth level)</a:t>
            </a:r>
          </a:p>
        </p:txBody>
      </p:sp>
      <p:sp>
        <p:nvSpPr>
          <p:cNvPr id="1000" name="Footnotes Placeholder">
            <a:extLst>
              <a:ext uri="{FF2B5EF4-FFF2-40B4-BE49-F238E27FC236}">
                <a16:creationId xmlns:a16="http://schemas.microsoft.com/office/drawing/2014/main" id="{7E28BACC-E012-5845-9150-E5A3C25B9534}"/>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5" name="Date Placeholder 4">
            <a:extLst>
              <a:ext uri="{FF2B5EF4-FFF2-40B4-BE49-F238E27FC236}">
                <a16:creationId xmlns:a16="http://schemas.microsoft.com/office/drawing/2014/main" id="{4AB1449A-BA8C-D548-BDE3-4E5DB13EB4C8}"/>
              </a:ext>
            </a:extLst>
          </p:cNvPr>
          <p:cNvSpPr>
            <a:spLocks noGrp="1"/>
          </p:cNvSpPr>
          <p:nvPr userDrawn="1">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694ECBB0-4C58-4248-88F3-5F92A8649EA9}"/>
              </a:ext>
            </a:extLst>
          </p:cNvPr>
          <p:cNvSpPr>
            <a:spLocks noGrp="1"/>
          </p:cNvSpPr>
          <p:nvPr userDrawn="1">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54418348-A4D7-7641-8A84-204A8DF8E9D7}"/>
              </a:ext>
            </a:extLst>
          </p:cNvPr>
          <p:cNvSpPr>
            <a:spLocks noGrp="1"/>
          </p:cNvSpPr>
          <p:nvPr userDrawn="1">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BC7FC7CE-B15F-F745-8154-60A1C696F9B7}"/>
              </a:ext>
            </a:extLst>
          </p:cNvPr>
          <p:cNvGrpSpPr/>
          <p:nvPr userDrawn="1"/>
        </p:nvGrpSpPr>
        <p:grpSpPr>
          <a:xfrm>
            <a:off x="12532243" y="1"/>
            <a:ext cx="3965960" cy="6857995"/>
            <a:chOff x="9399182" y="0"/>
            <a:chExt cx="2974470" cy="6857995"/>
          </a:xfrm>
        </p:grpSpPr>
        <p:sp>
          <p:nvSpPr>
            <p:cNvPr id="36" name="Rectangle 35">
              <a:extLst>
                <a:ext uri="{FF2B5EF4-FFF2-40B4-BE49-F238E27FC236}">
                  <a16:creationId xmlns:a16="http://schemas.microsoft.com/office/drawing/2014/main" id="{8A847F87-2150-EA49-BACD-C88E74E36228}"/>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37" name="Picture 36">
              <a:extLst>
                <a:ext uri="{FF2B5EF4-FFF2-40B4-BE49-F238E27FC236}">
                  <a16:creationId xmlns:a16="http://schemas.microsoft.com/office/drawing/2014/main" id="{B84786FF-44DA-8942-AB70-199CB8C73FBF}"/>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1246D9CC-B5D1-9141-A99F-B466C0533950}"/>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3EE65CCC-707A-BC48-BAF5-F4FFCCAB75F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93" name="TextBox 92">
                <a:extLst>
                  <a:ext uri="{FF2B5EF4-FFF2-40B4-BE49-F238E27FC236}">
                    <a16:creationId xmlns:a16="http://schemas.microsoft.com/office/drawing/2014/main" id="{4A238499-0695-AA45-AE43-E6D4AD9610FC}"/>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981EAC90-1E7B-0348-8A3C-9AD9FAF0B4B1}"/>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23779B09-2A6B-C747-8C57-F1F407A4B659}"/>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87C1A6A5-EE75-EB45-8D57-7B217603478E}"/>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91" name="Straight Connector 90">
                <a:extLst>
                  <a:ext uri="{FF2B5EF4-FFF2-40B4-BE49-F238E27FC236}">
                    <a16:creationId xmlns:a16="http://schemas.microsoft.com/office/drawing/2014/main" id="{38172E64-DDB3-014D-9BB1-603E952617C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ECEE6EB4-DE30-514B-B6A3-3CF197624EFC}"/>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E539A361-27B7-D34B-A5DC-F58AB8141554}"/>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E44AAA1A-A914-804E-98F6-7D89DE0BB22D}"/>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7" name="TextBox 86">
                  <a:extLst>
                    <a:ext uri="{FF2B5EF4-FFF2-40B4-BE49-F238E27FC236}">
                      <a16:creationId xmlns:a16="http://schemas.microsoft.com/office/drawing/2014/main" id="{C0F5BD81-802D-0E4D-A7B0-7F7C27BE43B6}"/>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A7FCA15E-0B61-1A42-A94F-23368608B9D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A7EA1EAA-12F2-004D-A670-BFF2541E281C}"/>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6E685023-D799-A446-B8B0-A1B4CC6EBF17}"/>
                  </a:ext>
                </a:extLst>
              </p:cNvPr>
              <p:cNvGrpSpPr/>
              <p:nvPr userDrawn="1"/>
            </p:nvGrpSpPr>
            <p:grpSpPr>
              <a:xfrm>
                <a:off x="9832250" y="3569700"/>
                <a:ext cx="2074000" cy="1627918"/>
                <a:chOff x="9832250" y="3617325"/>
                <a:chExt cx="2074000" cy="1627918"/>
              </a:xfrm>
            </p:grpSpPr>
            <p:pic>
              <p:nvPicPr>
                <p:cNvPr id="55" name="Picture 54">
                  <a:extLst>
                    <a:ext uri="{FF2B5EF4-FFF2-40B4-BE49-F238E27FC236}">
                      <a16:creationId xmlns:a16="http://schemas.microsoft.com/office/drawing/2014/main" id="{014C2F62-0D18-A443-8AAC-9A6BAC77A72E}"/>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89C34461-EDC8-EB46-B055-2D682CC58AEE}"/>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1763CD67-A109-A648-846D-0CBD5489CFB0}"/>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5332DBA4-4E50-364A-B42D-7EDC1A5B2469}"/>
                    </a:ext>
                  </a:extLst>
                </p:cNvPr>
                <p:cNvSpPr txBox="1"/>
                <p:nvPr userDrawn="1"/>
              </p:nvSpPr>
              <p:spPr>
                <a:xfrm>
                  <a:off x="9832250" y="3828243"/>
                  <a:ext cx="257282"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DFDB09D6-5413-4249-98C0-1E8BC9A27D29}"/>
                    </a:ext>
                  </a:extLst>
                </p:cNvPr>
                <p:cNvSpPr txBox="1"/>
                <p:nvPr userDrawn="1"/>
              </p:nvSpPr>
              <p:spPr>
                <a:xfrm>
                  <a:off x="9832250" y="4721742"/>
                  <a:ext cx="257282"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99F8CE38-B0AB-984C-BF06-16DD7A8FA458}"/>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F61BB896-8775-B54F-BD43-80E54D657CF3}"/>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77532585-4CE3-144A-AC32-AC8F9F388B1F}"/>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2" name="TextBox 51">
                <a:extLst>
                  <a:ext uri="{FF2B5EF4-FFF2-40B4-BE49-F238E27FC236}">
                    <a16:creationId xmlns:a16="http://schemas.microsoft.com/office/drawing/2014/main" id="{20A5AF3B-C55E-884F-BD62-37B268182CF4}"/>
                  </a:ext>
                </a:extLst>
              </p:cNvPr>
              <p:cNvSpPr txBox="1"/>
              <p:nvPr userDrawn="1"/>
            </p:nvSpPr>
            <p:spPr>
              <a:xfrm>
                <a:off x="9635558" y="2549805"/>
                <a:ext cx="676269" cy="430887"/>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EF138706-C32E-8B49-8A86-C08263C6034E}"/>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C3A738B4-E773-1349-ACD6-77F632243404}"/>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EB49EA4A-5705-D54A-B343-E9468BB70060}"/>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7034A0E3-E3C6-D747-A54F-AB0BDA44AF9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8" name="TextBox 47">
                    <a:extLst>
                      <a:ext uri="{FF2B5EF4-FFF2-40B4-BE49-F238E27FC236}">
                        <a16:creationId xmlns:a16="http://schemas.microsoft.com/office/drawing/2014/main" id="{E4772BEC-83FF-0347-84F5-613E17F42F3F}"/>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71AC6B17-22B5-BE49-9E2E-28CC5DEC0748}"/>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10C7229D-CD30-0341-A496-C567041270E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BA66D612-22B5-4045-8D31-CFB640573F91}"/>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24778458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wo Content (1/3 Lef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575709" y="1233489"/>
            <a:ext cx="3499195" cy="4932362"/>
          </a:xfrm>
        </p:spPr>
        <p:txBody>
          <a:bodyPr/>
          <a:lstStyle/>
          <a:p>
            <a:pPr lvl="0"/>
            <a:r>
              <a:rPr lang="en-US" dirty="0"/>
              <a:t>Click to add text, or use the icon to add a table</a:t>
            </a:r>
          </a:p>
          <a:p>
            <a:pPr lvl="1"/>
            <a:r>
              <a:rPr lang="en-US" dirty="0"/>
              <a:t>Body text (second level)</a:t>
            </a:r>
          </a:p>
          <a:p>
            <a:pPr lvl="2"/>
            <a:r>
              <a:rPr lang="en-US" dirty="0"/>
              <a:t>Square bullet (third level)</a:t>
            </a:r>
          </a:p>
          <a:p>
            <a:pPr lvl="3"/>
            <a:r>
              <a:rPr lang="en-US" dirty="0"/>
              <a:t>Dashed bullet (fourth level)</a:t>
            </a:r>
          </a:p>
          <a:p>
            <a:pPr lvl="4"/>
            <a:r>
              <a:rPr lang="en-US" dirty="0"/>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4425630" y="1233489"/>
            <a:ext cx="7190637" cy="4932362"/>
          </a:xfrm>
        </p:spPr>
        <p:txBody>
          <a:bodyPr/>
          <a:lstStyle/>
          <a:p>
            <a:pPr lvl="0"/>
            <a:r>
              <a:rPr lang="en-US" dirty="0"/>
              <a:t>Click to add text, or use the icon to add a table</a:t>
            </a:r>
          </a:p>
          <a:p>
            <a:pPr lvl="1"/>
            <a:r>
              <a:rPr lang="en-US" dirty="0"/>
              <a:t>Body text (second level)</a:t>
            </a:r>
          </a:p>
          <a:p>
            <a:pPr lvl="2"/>
            <a:r>
              <a:rPr lang="en-US" dirty="0"/>
              <a:t>Square bullet (third level)</a:t>
            </a:r>
          </a:p>
          <a:p>
            <a:pPr lvl="3"/>
            <a:r>
              <a:rPr lang="en-US" dirty="0"/>
              <a:t>Dashed bullet (fourth level)</a:t>
            </a:r>
          </a:p>
          <a:p>
            <a:pPr lvl="4"/>
            <a:r>
              <a:rPr lang="en-US" dirty="0"/>
              <a:t>Dashed bullet (fifth level)</a:t>
            </a:r>
          </a:p>
        </p:txBody>
      </p:sp>
      <p:sp>
        <p:nvSpPr>
          <p:cNvPr id="1000" name="Footnotes Placeholder">
            <a:extLst>
              <a:ext uri="{FF2B5EF4-FFF2-40B4-BE49-F238E27FC236}">
                <a16:creationId xmlns:a16="http://schemas.microsoft.com/office/drawing/2014/main" id="{62E1D57E-789F-C049-AE21-2FFE596AF372}"/>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5" name="Date Placeholder 4">
            <a:extLst>
              <a:ext uri="{FF2B5EF4-FFF2-40B4-BE49-F238E27FC236}">
                <a16:creationId xmlns:a16="http://schemas.microsoft.com/office/drawing/2014/main" id="{F52187D9-7A64-FD43-ADB5-4358998A306C}"/>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48C3426B-A824-D843-A346-B1AED40F1EE6}"/>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B9EF4742-1840-4A4C-9C79-0ABDE7122DD2}"/>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902E2498-FF17-AD4D-A16F-D0555843F7FF}"/>
              </a:ext>
            </a:extLst>
          </p:cNvPr>
          <p:cNvGrpSpPr/>
          <p:nvPr userDrawn="1"/>
        </p:nvGrpSpPr>
        <p:grpSpPr>
          <a:xfrm>
            <a:off x="12532243" y="1"/>
            <a:ext cx="3965960" cy="6857995"/>
            <a:chOff x="9399182" y="0"/>
            <a:chExt cx="2974470" cy="6857995"/>
          </a:xfrm>
        </p:grpSpPr>
        <p:sp>
          <p:nvSpPr>
            <p:cNvPr id="36" name="Rectangle 35">
              <a:extLst>
                <a:ext uri="{FF2B5EF4-FFF2-40B4-BE49-F238E27FC236}">
                  <a16:creationId xmlns:a16="http://schemas.microsoft.com/office/drawing/2014/main" id="{F5F50887-8E70-CC4F-AFF3-470F73E7BC52}"/>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37" name="Picture 36">
              <a:extLst>
                <a:ext uri="{FF2B5EF4-FFF2-40B4-BE49-F238E27FC236}">
                  <a16:creationId xmlns:a16="http://schemas.microsoft.com/office/drawing/2014/main" id="{FC0C9224-1E37-2F47-BE66-AAF75896A7CC}"/>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6FD959D5-EFA2-5E49-83C2-CEDE37065FA6}"/>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5D2F6A44-5F00-9545-A4B1-A0061FAE7EC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93" name="TextBox 92">
                <a:extLst>
                  <a:ext uri="{FF2B5EF4-FFF2-40B4-BE49-F238E27FC236}">
                    <a16:creationId xmlns:a16="http://schemas.microsoft.com/office/drawing/2014/main" id="{C1984AA3-39E3-1C43-94A9-34B5E13FF32E}"/>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5235A41A-9B24-9F4B-BF59-14675BCD059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A3477A72-0C5E-0043-8585-DDE93406C932}"/>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E62F6452-A2BE-7C46-A9CC-5C38489C5CE5}"/>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91" name="Straight Connector 90">
                <a:extLst>
                  <a:ext uri="{FF2B5EF4-FFF2-40B4-BE49-F238E27FC236}">
                    <a16:creationId xmlns:a16="http://schemas.microsoft.com/office/drawing/2014/main" id="{18AD7F99-B11F-D249-9E19-51930334CFC7}"/>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9BE17943-B901-2F45-83EC-CAE55A3C5AB3}"/>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3A282DBC-97A0-A74F-A322-83F38647E311}"/>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C6F30183-1D7E-1F46-8A9A-D436E42146F3}"/>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7" name="TextBox 86">
                  <a:extLst>
                    <a:ext uri="{FF2B5EF4-FFF2-40B4-BE49-F238E27FC236}">
                      <a16:creationId xmlns:a16="http://schemas.microsoft.com/office/drawing/2014/main" id="{6F8134E9-C165-374B-B2CC-DA494A389F22}"/>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C0716B58-8AB2-BB4E-BF02-075C7AB5645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55F8E9FF-CF75-2441-B304-D1744649013E}"/>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2514B6E7-6F9E-A74E-B185-C746F5D312F2}"/>
                  </a:ext>
                </a:extLst>
              </p:cNvPr>
              <p:cNvGrpSpPr/>
              <p:nvPr userDrawn="1"/>
            </p:nvGrpSpPr>
            <p:grpSpPr>
              <a:xfrm>
                <a:off x="9832250" y="3569700"/>
                <a:ext cx="2074000" cy="1627918"/>
                <a:chOff x="9832250" y="3617325"/>
                <a:chExt cx="2074000" cy="1627918"/>
              </a:xfrm>
            </p:grpSpPr>
            <p:pic>
              <p:nvPicPr>
                <p:cNvPr id="55" name="Picture 54">
                  <a:extLst>
                    <a:ext uri="{FF2B5EF4-FFF2-40B4-BE49-F238E27FC236}">
                      <a16:creationId xmlns:a16="http://schemas.microsoft.com/office/drawing/2014/main" id="{2D8F5DB2-9D62-B645-815C-A05F1A64837F}"/>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A56B34A5-5FAB-1849-B932-0B65D3EFFC44}"/>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CDAE0E52-76E3-E948-A240-86DD232545E2}"/>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992960CE-C925-D541-B244-F39F12711B9D}"/>
                    </a:ext>
                  </a:extLst>
                </p:cNvPr>
                <p:cNvSpPr txBox="1"/>
                <p:nvPr userDrawn="1"/>
              </p:nvSpPr>
              <p:spPr>
                <a:xfrm>
                  <a:off x="9832250" y="3828243"/>
                  <a:ext cx="257282"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7C97C986-8A69-3440-8F48-A9A0634AD1BF}"/>
                    </a:ext>
                  </a:extLst>
                </p:cNvPr>
                <p:cNvSpPr txBox="1"/>
                <p:nvPr userDrawn="1"/>
              </p:nvSpPr>
              <p:spPr>
                <a:xfrm>
                  <a:off x="9832250" y="4721742"/>
                  <a:ext cx="257282"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847F9F1F-5251-9246-AD4B-01B5FA9CC1BA}"/>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56B31BB5-7D6D-F54A-9773-EF4DBD16FF8F}"/>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FE597D3D-3AFC-BB47-B8CF-8E6C98E82881}"/>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2" name="TextBox 51">
                <a:extLst>
                  <a:ext uri="{FF2B5EF4-FFF2-40B4-BE49-F238E27FC236}">
                    <a16:creationId xmlns:a16="http://schemas.microsoft.com/office/drawing/2014/main" id="{403DA12D-0274-1F49-B336-BD4025C49C63}"/>
                  </a:ext>
                </a:extLst>
              </p:cNvPr>
              <p:cNvSpPr txBox="1"/>
              <p:nvPr userDrawn="1"/>
            </p:nvSpPr>
            <p:spPr>
              <a:xfrm>
                <a:off x="9635558" y="2549805"/>
                <a:ext cx="676269" cy="430887"/>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65FA5060-5E13-4543-9377-154ADBB0E82F}"/>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4671AB2B-235C-C341-8881-9BBB69C9598E}"/>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4F1C356B-DB7D-4D4F-911D-77E8C771B88B}"/>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224311F3-D9B7-5B40-8F89-C14B83BC502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8" name="TextBox 47">
                    <a:extLst>
                      <a:ext uri="{FF2B5EF4-FFF2-40B4-BE49-F238E27FC236}">
                        <a16:creationId xmlns:a16="http://schemas.microsoft.com/office/drawing/2014/main" id="{C3DAD1A5-A5DD-A047-83FC-B9B82F152CD4}"/>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7A43B794-8CF2-3241-85CE-3E267DC2FAF6}"/>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ADA4F7D3-514B-1146-9B32-81A73DC6906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D7DD7A1E-5F73-B04D-BD86-83D0E9226589}"/>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78137397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wo Content (1/3 Right)">
    <p:spTree>
      <p:nvGrpSpPr>
        <p:cNvPr id="1" name=""/>
        <p:cNvGrpSpPr/>
        <p:nvPr/>
      </p:nvGrpSpPr>
      <p:grpSpPr>
        <a:xfrm>
          <a:off x="0" y="0"/>
          <a:ext cx="0" cy="0"/>
          <a:chOff x="0" y="0"/>
          <a:chExt cx="0" cy="0"/>
        </a:xfrm>
      </p:grpSpPr>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575733" y="1233489"/>
            <a:ext cx="7190400" cy="4932362"/>
          </a:xfrm>
        </p:spPr>
        <p:txBody>
          <a:bodyPr/>
          <a:lstStyle/>
          <a:p>
            <a:pPr lvl="0"/>
            <a:r>
              <a:rPr lang="en-US" dirty="0"/>
              <a:t>Click to add text, or use the icon to add a table</a:t>
            </a:r>
          </a:p>
          <a:p>
            <a:pPr lvl="1"/>
            <a:r>
              <a:rPr lang="en-US" dirty="0"/>
              <a:t>Body text (second level)</a:t>
            </a:r>
          </a:p>
          <a:p>
            <a:pPr lvl="2"/>
            <a:r>
              <a:rPr lang="en-US" dirty="0"/>
              <a:t>Square bullet (third level)</a:t>
            </a:r>
          </a:p>
          <a:p>
            <a:pPr lvl="3"/>
            <a:r>
              <a:rPr lang="en-US" dirty="0"/>
              <a:t>Dashed bullet (fourth level)</a:t>
            </a:r>
          </a:p>
          <a:p>
            <a:pPr lvl="4"/>
            <a:r>
              <a:rPr lang="en-US" dirty="0"/>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8117067" y="1233489"/>
            <a:ext cx="3499200" cy="4932362"/>
          </a:xfrm>
        </p:spPr>
        <p:txBody>
          <a:bodyPr/>
          <a:lstStyle/>
          <a:p>
            <a:pPr lvl="0"/>
            <a:r>
              <a:rPr lang="en-US" dirty="0"/>
              <a:t>Click to add text, or use the icon to add a table</a:t>
            </a:r>
          </a:p>
          <a:p>
            <a:pPr lvl="1"/>
            <a:r>
              <a:rPr lang="en-US" dirty="0"/>
              <a:t>Body text (second level)</a:t>
            </a:r>
          </a:p>
          <a:p>
            <a:pPr lvl="2"/>
            <a:r>
              <a:rPr lang="en-US" dirty="0"/>
              <a:t>Square bullet (third level)</a:t>
            </a:r>
          </a:p>
          <a:p>
            <a:pPr lvl="3"/>
            <a:r>
              <a:rPr lang="en-US" dirty="0"/>
              <a:t>Dashed bullet (fourth level)</a:t>
            </a:r>
          </a:p>
          <a:p>
            <a:pPr lvl="4"/>
            <a:r>
              <a:rPr lang="en-US" dirty="0"/>
              <a:t>Dashed bullet (fifth level)</a:t>
            </a:r>
          </a:p>
        </p:txBody>
      </p:sp>
      <p:sp>
        <p:nvSpPr>
          <p:cNvPr id="2" name="Title 1">
            <a:extLst>
              <a:ext uri="{FF2B5EF4-FFF2-40B4-BE49-F238E27FC236}">
                <a16:creationId xmlns:a16="http://schemas.microsoft.com/office/drawing/2014/main" id="{E2A06382-4F71-2D43-8F90-DF7986431007}"/>
              </a:ext>
            </a:extLst>
          </p:cNvPr>
          <p:cNvSpPr>
            <a:spLocks noGrp="1"/>
          </p:cNvSpPr>
          <p:nvPr>
            <p:ph type="title" hasCustomPrompt="1"/>
          </p:nvPr>
        </p:nvSpPr>
        <p:spPr>
          <a:xfrm>
            <a:off x="575734" y="423038"/>
            <a:ext cx="11040533" cy="567394"/>
          </a:xfrm>
        </p:spPr>
        <p:txBody>
          <a:bodyPr/>
          <a:lstStyle/>
          <a:p>
            <a:r>
              <a:rPr lang="en-US" dirty="0"/>
              <a:t>CLICK TO ADD Slide TITLE. ALL CAPS. TWO LINES max.</a:t>
            </a:r>
          </a:p>
        </p:txBody>
      </p:sp>
      <p:sp>
        <p:nvSpPr>
          <p:cNvPr id="1000" name="Footnotes Placeholder">
            <a:extLst>
              <a:ext uri="{FF2B5EF4-FFF2-40B4-BE49-F238E27FC236}">
                <a16:creationId xmlns:a16="http://schemas.microsoft.com/office/drawing/2014/main" id="{E8C1E42E-F316-CC44-8C90-6889E7665123}"/>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7" name="Date Placeholder 6">
            <a:extLst>
              <a:ext uri="{FF2B5EF4-FFF2-40B4-BE49-F238E27FC236}">
                <a16:creationId xmlns:a16="http://schemas.microsoft.com/office/drawing/2014/main" id="{85F05EE9-0A3D-4749-B2F6-14D0C82A14DD}"/>
              </a:ext>
            </a:extLst>
          </p:cNvPr>
          <p:cNvSpPr>
            <a:spLocks noGrp="1"/>
          </p:cNvSpPr>
          <p:nvPr>
            <p:ph type="dt" sz="half" idx="106"/>
          </p:nvPr>
        </p:nvSpPr>
        <p:spPr/>
        <p:txBody>
          <a:bodyPr/>
          <a:lstStyle/>
          <a:p>
            <a:endParaRPr lang="en-US" dirty="0"/>
          </a:p>
        </p:txBody>
      </p:sp>
      <p:sp>
        <p:nvSpPr>
          <p:cNvPr id="8" name="Footer Placeholder 7">
            <a:extLst>
              <a:ext uri="{FF2B5EF4-FFF2-40B4-BE49-F238E27FC236}">
                <a16:creationId xmlns:a16="http://schemas.microsoft.com/office/drawing/2014/main" id="{E71F5980-B10D-114E-B46C-229352D8D586}"/>
              </a:ext>
            </a:extLst>
          </p:cNvPr>
          <p:cNvSpPr>
            <a:spLocks noGrp="1"/>
          </p:cNvSpPr>
          <p:nvPr>
            <p:ph type="ftr" sz="quarter" idx="107"/>
          </p:nvPr>
        </p:nvSpPr>
        <p:spPr/>
        <p:txBody>
          <a:bodyPr/>
          <a:lstStyle/>
          <a:p>
            <a:endParaRPr lang="en-US" dirty="0"/>
          </a:p>
        </p:txBody>
      </p:sp>
      <p:sp>
        <p:nvSpPr>
          <p:cNvPr id="10" name="Slide Number Placeholder 9">
            <a:extLst>
              <a:ext uri="{FF2B5EF4-FFF2-40B4-BE49-F238E27FC236}">
                <a16:creationId xmlns:a16="http://schemas.microsoft.com/office/drawing/2014/main" id="{A5D4DBE6-2175-B24F-A643-B8DBBCA00583}"/>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5C57F764-75F4-CB41-BEB8-84C2645F5FB5}"/>
              </a:ext>
            </a:extLst>
          </p:cNvPr>
          <p:cNvGrpSpPr/>
          <p:nvPr userDrawn="1"/>
        </p:nvGrpSpPr>
        <p:grpSpPr>
          <a:xfrm>
            <a:off x="12532243" y="1"/>
            <a:ext cx="3965960" cy="6857995"/>
            <a:chOff x="9399182" y="0"/>
            <a:chExt cx="2974470" cy="6857995"/>
          </a:xfrm>
        </p:grpSpPr>
        <p:sp>
          <p:nvSpPr>
            <p:cNvPr id="36" name="Rectangle 35">
              <a:extLst>
                <a:ext uri="{FF2B5EF4-FFF2-40B4-BE49-F238E27FC236}">
                  <a16:creationId xmlns:a16="http://schemas.microsoft.com/office/drawing/2014/main" id="{7D36F087-817A-684A-AB3B-76BDBCFE257F}"/>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37" name="Picture 36">
              <a:extLst>
                <a:ext uri="{FF2B5EF4-FFF2-40B4-BE49-F238E27FC236}">
                  <a16:creationId xmlns:a16="http://schemas.microsoft.com/office/drawing/2014/main" id="{C828127C-A9D1-354F-8510-197876AAA7BF}"/>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23C0B752-B659-F14D-9656-D25E78B5C3F2}"/>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66AD7EA4-AF8A-5347-A757-7E9A352EED38}"/>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93" name="TextBox 92">
                <a:extLst>
                  <a:ext uri="{FF2B5EF4-FFF2-40B4-BE49-F238E27FC236}">
                    <a16:creationId xmlns:a16="http://schemas.microsoft.com/office/drawing/2014/main" id="{55F5882A-2175-4A43-B444-2BF2F22F4BE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CB69B195-59C0-0D4B-97BF-154377BD5A8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8E499ACE-87E3-FC46-A481-D32CA8F2DFCF}"/>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8226064C-7D82-F047-9BD7-219F92F5ED1A}"/>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91" name="Straight Connector 90">
                <a:extLst>
                  <a:ext uri="{FF2B5EF4-FFF2-40B4-BE49-F238E27FC236}">
                    <a16:creationId xmlns:a16="http://schemas.microsoft.com/office/drawing/2014/main" id="{BB238369-EA71-3742-8840-9462B586DE8E}"/>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28621C79-5C28-CD4C-9CC6-788DF5AD31B8}"/>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450E4076-2883-BA42-81BF-18827567A894}"/>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2CBF7FA1-24C1-1A47-A5B7-071E723219F8}"/>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7" name="TextBox 86">
                  <a:extLst>
                    <a:ext uri="{FF2B5EF4-FFF2-40B4-BE49-F238E27FC236}">
                      <a16:creationId xmlns:a16="http://schemas.microsoft.com/office/drawing/2014/main" id="{C39DC11C-0628-054E-A8B3-C3C8217A6CB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301F6881-300A-A146-99A9-BD99ACCB3DB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AC51286F-DEF1-2B4D-93DB-F3076A2611C0}"/>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3321F084-532D-124B-A03C-154D91D8F45F}"/>
                  </a:ext>
                </a:extLst>
              </p:cNvPr>
              <p:cNvGrpSpPr/>
              <p:nvPr userDrawn="1"/>
            </p:nvGrpSpPr>
            <p:grpSpPr>
              <a:xfrm>
                <a:off x="9832250" y="3569700"/>
                <a:ext cx="2074000" cy="1627918"/>
                <a:chOff x="9832250" y="3617325"/>
                <a:chExt cx="2074000" cy="1627918"/>
              </a:xfrm>
            </p:grpSpPr>
            <p:pic>
              <p:nvPicPr>
                <p:cNvPr id="55" name="Picture 54">
                  <a:extLst>
                    <a:ext uri="{FF2B5EF4-FFF2-40B4-BE49-F238E27FC236}">
                      <a16:creationId xmlns:a16="http://schemas.microsoft.com/office/drawing/2014/main" id="{BBFF6EA2-7DDD-534F-8411-25FCA9D0E1E8}"/>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0E34E07D-3DF6-3745-9646-0A46DDF96B0B}"/>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B1725E8-9C83-F844-A798-4509B80E08F8}"/>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1CB723A7-162A-F54C-BC8B-5F48D8109783}"/>
                    </a:ext>
                  </a:extLst>
                </p:cNvPr>
                <p:cNvSpPr txBox="1"/>
                <p:nvPr userDrawn="1"/>
              </p:nvSpPr>
              <p:spPr>
                <a:xfrm>
                  <a:off x="9832250" y="3828243"/>
                  <a:ext cx="257282"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359BA5AE-3310-1847-9BF2-3A989E221789}"/>
                    </a:ext>
                  </a:extLst>
                </p:cNvPr>
                <p:cNvSpPr txBox="1"/>
                <p:nvPr userDrawn="1"/>
              </p:nvSpPr>
              <p:spPr>
                <a:xfrm>
                  <a:off x="9832250" y="4721742"/>
                  <a:ext cx="257282"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AA1C27C4-CD80-3246-98DD-15A2D88DC926}"/>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2593E019-CA82-1040-9996-4316BF793D51}"/>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B3BC7102-822A-7D41-95D1-B0286E842E03}"/>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2" name="TextBox 51">
                <a:extLst>
                  <a:ext uri="{FF2B5EF4-FFF2-40B4-BE49-F238E27FC236}">
                    <a16:creationId xmlns:a16="http://schemas.microsoft.com/office/drawing/2014/main" id="{A5628D1D-267F-294B-B368-A4FBEC0A170D}"/>
                  </a:ext>
                </a:extLst>
              </p:cNvPr>
              <p:cNvSpPr txBox="1"/>
              <p:nvPr userDrawn="1"/>
            </p:nvSpPr>
            <p:spPr>
              <a:xfrm>
                <a:off x="9635558" y="2549805"/>
                <a:ext cx="676269" cy="430887"/>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1250C1D0-82B5-D54D-8DCC-BA78579053DD}"/>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A36D5FBC-C765-2B4D-88DB-68244F94A3DE}"/>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EA00EDAC-D16A-3A4C-888F-638F125A43EF}"/>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405BBDC5-B3B3-E149-B4C1-2245D126623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8" name="TextBox 47">
                    <a:extLst>
                      <a:ext uri="{FF2B5EF4-FFF2-40B4-BE49-F238E27FC236}">
                        <a16:creationId xmlns:a16="http://schemas.microsoft.com/office/drawing/2014/main" id="{E0171319-10F3-5B45-B320-E73A6292A6E6}"/>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3E27D3AE-33D1-7D4E-9E3A-0EECAC2B2E50}"/>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F5440D1A-C837-814E-91DD-BDB8325D434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C081CC70-A1B7-FB4B-975F-E36A3BAEEF61}"/>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4204113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C Agenda (14)">
    <p:spTree>
      <p:nvGrpSpPr>
        <p:cNvPr id="1" name=""/>
        <p:cNvGrpSpPr/>
        <p:nvPr/>
      </p:nvGrpSpPr>
      <p:grpSpPr>
        <a:xfrm>
          <a:off x="0" y="0"/>
          <a:ext cx="0" cy="0"/>
          <a:chOff x="0" y="0"/>
          <a:chExt cx="0" cy="0"/>
        </a:xfrm>
      </p:grpSpPr>
      <p:sp>
        <p:nvSpPr>
          <p:cNvPr id="139" name="Rectangle 138">
            <a:extLst>
              <a:ext uri="{FF2B5EF4-FFF2-40B4-BE49-F238E27FC236}">
                <a16:creationId xmlns:a16="http://schemas.microsoft.com/office/drawing/2014/main" id="{0735789A-63DF-F64F-9BFF-A24BA7A397AC}"/>
              </a:ext>
            </a:extLst>
          </p:cNvPr>
          <p:cNvSpPr/>
          <p:nvPr userDrawn="1"/>
        </p:nvSpPr>
        <p:spPr>
          <a:xfrm>
            <a:off x="0" y="614023"/>
            <a:ext cx="12192000" cy="619200"/>
          </a:xfrm>
          <a:prstGeom prst="rect">
            <a:avLst/>
          </a:prstGeom>
          <a:blipFill dpi="0" rotWithShape="1">
            <a:blip r:embed="rId2"/>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nvGrpSpPr>
          <p:cNvPr id="28" name="Group 27">
            <a:extLst>
              <a:ext uri="{FF2B5EF4-FFF2-40B4-BE49-F238E27FC236}">
                <a16:creationId xmlns:a16="http://schemas.microsoft.com/office/drawing/2014/main" id="{5EBA89B3-0596-F74E-9FA2-DC751E0E88E4}"/>
              </a:ext>
            </a:extLst>
          </p:cNvPr>
          <p:cNvGrpSpPr/>
          <p:nvPr userDrawn="1"/>
        </p:nvGrpSpPr>
        <p:grpSpPr>
          <a:xfrm>
            <a:off x="12532244" y="-1"/>
            <a:ext cx="2894024" cy="8631622"/>
            <a:chOff x="9399182" y="-1"/>
            <a:chExt cx="2877466" cy="8631622"/>
          </a:xfrm>
        </p:grpSpPr>
        <p:sp>
          <p:nvSpPr>
            <p:cNvPr id="36" name="Rectangle 35">
              <a:extLst>
                <a:ext uri="{FF2B5EF4-FFF2-40B4-BE49-F238E27FC236}">
                  <a16:creationId xmlns:a16="http://schemas.microsoft.com/office/drawing/2014/main" id="{F4E83308-CF57-9E47-BA44-7A84C42B5978}"/>
                </a:ext>
              </a:extLst>
            </p:cNvPr>
            <p:cNvSpPr/>
            <p:nvPr userDrawn="1"/>
          </p:nvSpPr>
          <p:spPr>
            <a:xfrm>
              <a:off x="9399182" y="-1"/>
              <a:ext cx="2798651" cy="8481850"/>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7" name="TextBox 36">
              <a:extLst>
                <a:ext uri="{FF2B5EF4-FFF2-40B4-BE49-F238E27FC236}">
                  <a16:creationId xmlns:a16="http://schemas.microsoft.com/office/drawing/2014/main" id="{D2A5C2D3-9F21-234B-9F98-3DE702C886F7}"/>
                </a:ext>
              </a:extLst>
            </p:cNvPr>
            <p:cNvSpPr txBox="1">
              <a:spLocks noChangeAspect="1"/>
            </p:cNvSpPr>
            <p:nvPr userDrawn="1"/>
          </p:nvSpPr>
          <p:spPr>
            <a:xfrm>
              <a:off x="9521833" y="16103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3</a:t>
              </a:r>
            </a:p>
          </p:txBody>
        </p:sp>
        <p:sp>
          <p:nvSpPr>
            <p:cNvPr id="38" name="TextBox 37">
              <a:extLst>
                <a:ext uri="{FF2B5EF4-FFF2-40B4-BE49-F238E27FC236}">
                  <a16:creationId xmlns:a16="http://schemas.microsoft.com/office/drawing/2014/main" id="{A02ADF69-BF1B-1A46-8854-22053F603054}"/>
                </a:ext>
              </a:extLst>
            </p:cNvPr>
            <p:cNvSpPr txBox="1">
              <a:spLocks noChangeAspect="1"/>
            </p:cNvSpPr>
            <p:nvPr userDrawn="1"/>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39" name="TextBox 38">
              <a:extLst>
                <a:ext uri="{FF2B5EF4-FFF2-40B4-BE49-F238E27FC236}">
                  <a16:creationId xmlns:a16="http://schemas.microsoft.com/office/drawing/2014/main" id="{A8195510-2A26-3049-8967-D7F2BC33D906}"/>
                </a:ext>
              </a:extLst>
            </p:cNvPr>
            <p:cNvSpPr txBox="1">
              <a:spLocks noChangeAspect="1"/>
            </p:cNvSpPr>
            <p:nvPr userDrawn="1"/>
          </p:nvSpPr>
          <p:spPr>
            <a:xfrm>
              <a:off x="9521833" y="1139035"/>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40" name="TextBox 39">
              <a:extLst>
                <a:ext uri="{FF2B5EF4-FFF2-40B4-BE49-F238E27FC236}">
                  <a16:creationId xmlns:a16="http://schemas.microsoft.com/office/drawing/2014/main" id="{D496DEE2-CA7E-AE42-879D-AF53D0749FFE}"/>
                </a:ext>
              </a:extLst>
            </p:cNvPr>
            <p:cNvSpPr txBox="1"/>
            <p:nvPr userDrawn="1"/>
          </p:nvSpPr>
          <p:spPr>
            <a:xfrm>
              <a:off x="9686426" y="513115"/>
              <a:ext cx="2425134" cy="31085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spcAft>
                  <a:spcPts val="0"/>
                </a:spcAft>
              </a:pPr>
              <a:r>
                <a:rPr lang="en-US" sz="1050"/>
                <a:t>Enter up to 14 agenda items and their page numbers. </a:t>
              </a:r>
            </a:p>
            <a:p>
              <a:pPr lvl="2"/>
              <a:r>
                <a:rPr lang="en-US" sz="800"/>
                <a:t>Switch to the 8-item agenda if you need fewer. </a:t>
              </a:r>
            </a:p>
          </p:txBody>
        </p:sp>
        <p:sp>
          <p:nvSpPr>
            <p:cNvPr id="41" name="TextBox 40">
              <a:extLst>
                <a:ext uri="{FF2B5EF4-FFF2-40B4-BE49-F238E27FC236}">
                  <a16:creationId xmlns:a16="http://schemas.microsoft.com/office/drawing/2014/main" id="{14E036DD-4A36-4B41-969E-46701BA472FB}"/>
                </a:ext>
              </a:extLst>
            </p:cNvPr>
            <p:cNvSpPr txBox="1"/>
            <p:nvPr userDrawn="1"/>
          </p:nvSpPr>
          <p:spPr>
            <a:xfrm>
              <a:off x="9558507" y="150290"/>
              <a:ext cx="140062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USE THE AGENDA</a:t>
              </a:r>
            </a:p>
          </p:txBody>
        </p:sp>
        <p:cxnSp>
          <p:nvCxnSpPr>
            <p:cNvPr id="42" name="Straight Connector 41">
              <a:extLst>
                <a:ext uri="{FF2B5EF4-FFF2-40B4-BE49-F238E27FC236}">
                  <a16:creationId xmlns:a16="http://schemas.microsoft.com/office/drawing/2014/main" id="{4171E0C5-608B-FF44-A6A5-678877741EBB}"/>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43" name="Group 42">
              <a:extLst>
                <a:ext uri="{FF2B5EF4-FFF2-40B4-BE49-F238E27FC236}">
                  <a16:creationId xmlns:a16="http://schemas.microsoft.com/office/drawing/2014/main" id="{668704FB-F8CC-2D48-82EA-8020021930B4}"/>
                </a:ext>
              </a:extLst>
            </p:cNvPr>
            <p:cNvGrpSpPr/>
            <p:nvPr userDrawn="1"/>
          </p:nvGrpSpPr>
          <p:grpSpPr>
            <a:xfrm>
              <a:off x="9541497" y="5505499"/>
              <a:ext cx="2735151" cy="919215"/>
              <a:chOff x="9296567" y="4150379"/>
              <a:chExt cx="2735151" cy="919215"/>
            </a:xfrm>
          </p:grpSpPr>
          <p:grpSp>
            <p:nvGrpSpPr>
              <p:cNvPr id="68" name="Group 67">
                <a:extLst>
                  <a:ext uri="{FF2B5EF4-FFF2-40B4-BE49-F238E27FC236}">
                    <a16:creationId xmlns:a16="http://schemas.microsoft.com/office/drawing/2014/main" id="{2848AF80-78DE-6B4E-AAFC-ECF1C10CD0B4}"/>
                  </a:ext>
                </a:extLst>
              </p:cNvPr>
              <p:cNvGrpSpPr/>
              <p:nvPr userDrawn="1"/>
            </p:nvGrpSpPr>
            <p:grpSpPr>
              <a:xfrm>
                <a:off x="9296567" y="4150379"/>
                <a:ext cx="2735151" cy="919215"/>
                <a:chOff x="9296567" y="5817858"/>
                <a:chExt cx="2735151" cy="919215"/>
              </a:xfrm>
            </p:grpSpPr>
            <p:sp>
              <p:nvSpPr>
                <p:cNvPr id="85" name="Rectangle 84">
                  <a:extLst>
                    <a:ext uri="{FF2B5EF4-FFF2-40B4-BE49-F238E27FC236}">
                      <a16:creationId xmlns:a16="http://schemas.microsoft.com/office/drawing/2014/main" id="{C98E8FA1-C645-CA4C-9A7D-083293E08816}"/>
                    </a:ext>
                  </a:extLst>
                </p:cNvPr>
                <p:cNvSpPr/>
                <p:nvPr userDrawn="1"/>
              </p:nvSpPr>
              <p:spPr>
                <a:xfrm>
                  <a:off x="9296567" y="5817858"/>
                  <a:ext cx="2733136" cy="919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6" name="TextBox 85">
                  <a:extLst>
                    <a:ext uri="{FF2B5EF4-FFF2-40B4-BE49-F238E27FC236}">
                      <a16:creationId xmlns:a16="http://schemas.microsoft.com/office/drawing/2014/main" id="{70D9BBD7-B8A7-4242-B359-9835E773B97C}"/>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Reset Placeholders</a:t>
                  </a:r>
                </a:p>
              </p:txBody>
            </p:sp>
            <p:pic>
              <p:nvPicPr>
                <p:cNvPr id="87" name="Graphic 86">
                  <a:extLst>
                    <a:ext uri="{FF2B5EF4-FFF2-40B4-BE49-F238E27FC236}">
                      <a16:creationId xmlns:a16="http://schemas.microsoft.com/office/drawing/2014/main" id="{985CB0FA-7C01-054B-95CD-E445FA243301}"/>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88" name="TextBox 87">
                  <a:extLst>
                    <a:ext uri="{FF2B5EF4-FFF2-40B4-BE49-F238E27FC236}">
                      <a16:creationId xmlns:a16="http://schemas.microsoft.com/office/drawing/2014/main" id="{84979134-C3B7-EA40-B6A3-56FD3BE593AA}"/>
                    </a:ext>
                  </a:extLst>
                </p:cNvPr>
                <p:cNvSpPr txBox="1"/>
                <p:nvPr userDrawn="1"/>
              </p:nvSpPr>
              <p:spPr>
                <a:xfrm>
                  <a:off x="9471805" y="6169594"/>
                  <a:ext cx="2491595" cy="441146"/>
                </a:xfrm>
                <a:prstGeom prst="rect">
                  <a:avLst/>
                </a:prstGeom>
              </p:spPr>
              <p:txBody>
                <a:bodyPr vert="horz" wrap="square" lIns="0" tIns="0" rIns="0" bIns="0" rtlCol="0" anchor="t">
                  <a:spAutoFit/>
                </a:bodyPr>
                <a:lstStyle/>
                <a:p>
                  <a:pPr algn="l">
                    <a:spcBef>
                      <a:spcPts val="200"/>
                    </a:spcBef>
                  </a:pPr>
                  <a:r>
                    <a:rPr lang="en-US" sz="900">
                      <a:solidFill>
                        <a:schemeClr val="tx1">
                          <a:lumMod val="50000"/>
                          <a:lumOff val="50000"/>
                        </a:schemeClr>
                      </a:solidFill>
                      <a:latin typeface="Arial" charset="0"/>
                      <a:ea typeface="Arial" charset="0"/>
                      <a:cs typeface="Arial" charset="0"/>
                    </a:rPr>
                    <a:t>Press the Reset (            ) button to bring back placeholders you have deleted if you need them. </a:t>
                  </a:r>
                </a:p>
                <a:p>
                  <a:pPr algn="l">
                    <a:spcBef>
                      <a:spcPts val="200"/>
                    </a:spcBef>
                  </a:pPr>
                  <a:r>
                    <a:rPr lang="en-US" sz="900">
                      <a:solidFill>
                        <a:schemeClr val="tx1">
                          <a:lumMod val="50000"/>
                          <a:lumOff val="50000"/>
                        </a:schemeClr>
                      </a:solidFill>
                      <a:latin typeface="Arial" charset="0"/>
                      <a:ea typeface="Arial" charset="0"/>
                      <a:cs typeface="Arial" charset="0"/>
                    </a:rPr>
                    <a:t>Note: this will also remove your item highlight.</a:t>
                  </a:r>
                </a:p>
              </p:txBody>
            </p:sp>
          </p:grpSp>
          <p:pic>
            <p:nvPicPr>
              <p:cNvPr id="69" name="Picture 68">
                <a:extLst>
                  <a:ext uri="{FF2B5EF4-FFF2-40B4-BE49-F238E27FC236}">
                    <a16:creationId xmlns:a16="http://schemas.microsoft.com/office/drawing/2014/main" id="{9DBFC0E8-D037-9D47-9459-C3C5D94A426B}"/>
                  </a:ext>
                </a:extLst>
              </p:cNvPr>
              <p:cNvPicPr>
                <a:picLocks noChangeAspect="1"/>
              </p:cNvPicPr>
              <p:nvPr userDrawn="1"/>
            </p:nvPicPr>
            <p:blipFill rotWithShape="1">
              <a:blip r:embed="rId5"/>
              <a:srcRect t="-7688" r="11531" b="-1"/>
              <a:stretch/>
            </p:blipFill>
            <p:spPr>
              <a:xfrm>
                <a:off x="10368085" y="4507363"/>
                <a:ext cx="346954" cy="130863"/>
              </a:xfrm>
              <a:prstGeom prst="rect">
                <a:avLst/>
              </a:prstGeom>
            </p:spPr>
          </p:pic>
        </p:grpSp>
        <p:sp>
          <p:nvSpPr>
            <p:cNvPr id="45" name="TextBox 44">
              <a:extLst>
                <a:ext uri="{FF2B5EF4-FFF2-40B4-BE49-F238E27FC236}">
                  <a16:creationId xmlns:a16="http://schemas.microsoft.com/office/drawing/2014/main" id="{26ECECB2-9E9D-9C4A-BC3F-D4B6EF59D7B2}"/>
                </a:ext>
              </a:extLst>
            </p:cNvPr>
            <p:cNvSpPr txBox="1"/>
            <p:nvPr/>
          </p:nvSpPr>
          <p:spPr>
            <a:xfrm>
              <a:off x="9686426" y="1588873"/>
              <a:ext cx="2284506"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sz="1050"/>
                <a:t>Highlight the current item title and page number as follows:</a:t>
              </a:r>
            </a:p>
          </p:txBody>
        </p:sp>
        <p:sp>
          <p:nvSpPr>
            <p:cNvPr id="46" name="TextBox 45">
              <a:extLst>
                <a:ext uri="{FF2B5EF4-FFF2-40B4-BE49-F238E27FC236}">
                  <a16:creationId xmlns:a16="http://schemas.microsoft.com/office/drawing/2014/main" id="{03ED648A-9D4D-4F41-AB76-D687D0E49DFB}"/>
                </a:ext>
              </a:extLst>
            </p:cNvPr>
            <p:cNvSpPr txBox="1"/>
            <p:nvPr/>
          </p:nvSpPr>
          <p:spPr>
            <a:xfrm>
              <a:off x="9686426" y="1111528"/>
              <a:ext cx="2425134"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defRPr/>
              </a:pPr>
              <a:r>
                <a:rPr lang="en-US" sz="1050"/>
                <a:t>Select and delete any unused item placeholders to remove the lines.</a:t>
              </a:r>
            </a:p>
          </p:txBody>
        </p:sp>
        <p:sp>
          <p:nvSpPr>
            <p:cNvPr id="47" name="TextBox 46">
              <a:extLst>
                <a:ext uri="{FF2B5EF4-FFF2-40B4-BE49-F238E27FC236}">
                  <a16:creationId xmlns:a16="http://schemas.microsoft.com/office/drawing/2014/main" id="{8271BCEA-EA17-C24E-87BB-934AFBBF87E6}"/>
                </a:ext>
              </a:extLst>
            </p:cNvPr>
            <p:cNvSpPr txBox="1"/>
            <p:nvPr/>
          </p:nvSpPr>
          <p:spPr>
            <a:xfrm>
              <a:off x="9694073" y="2789000"/>
              <a:ext cx="2269212"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Make sure the entire element is selected—it won’t work correctly if you have your cursor in the text.</a:t>
              </a:r>
            </a:p>
          </p:txBody>
        </p:sp>
        <p:sp>
          <p:nvSpPr>
            <p:cNvPr id="48" name="TextBox 47">
              <a:extLst>
                <a:ext uri="{FF2B5EF4-FFF2-40B4-BE49-F238E27FC236}">
                  <a16:creationId xmlns:a16="http://schemas.microsoft.com/office/drawing/2014/main" id="{FA5CB92E-0A0F-AC42-8739-C4D22325B31B}"/>
                </a:ext>
              </a:extLst>
            </p:cNvPr>
            <p:cNvSpPr txBox="1"/>
            <p:nvPr/>
          </p:nvSpPr>
          <p:spPr>
            <a:xfrm>
              <a:off x="9686426" y="5004333"/>
              <a:ext cx="2126422"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a:t>Click anywhere on the page number of current agenda item (on the text works here) to apply the highlight style.</a:t>
              </a:r>
            </a:p>
          </p:txBody>
        </p:sp>
        <p:sp>
          <p:nvSpPr>
            <p:cNvPr id="49" name="Rectangle 48">
              <a:extLst>
                <a:ext uri="{FF2B5EF4-FFF2-40B4-BE49-F238E27FC236}">
                  <a16:creationId xmlns:a16="http://schemas.microsoft.com/office/drawing/2014/main" id="{589B837D-7809-FE49-9BC4-51E31160E426}"/>
                </a:ext>
              </a:extLst>
            </p:cNvPr>
            <p:cNvSpPr/>
            <p:nvPr/>
          </p:nvSpPr>
          <p:spPr>
            <a:xfrm>
              <a:off x="9686427" y="234797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nvGrpSpPr>
            <p:cNvPr id="50" name="Group 49">
              <a:extLst>
                <a:ext uri="{FF2B5EF4-FFF2-40B4-BE49-F238E27FC236}">
                  <a16:creationId xmlns:a16="http://schemas.microsoft.com/office/drawing/2014/main" id="{B2F7C5ED-DA74-5D44-A55A-C451CAD6D7F9}"/>
                </a:ext>
              </a:extLst>
            </p:cNvPr>
            <p:cNvGrpSpPr/>
            <p:nvPr/>
          </p:nvGrpSpPr>
          <p:grpSpPr>
            <a:xfrm>
              <a:off x="9686426" y="3062499"/>
              <a:ext cx="2284506" cy="249299"/>
              <a:chOff x="9431244" y="2862535"/>
              <a:chExt cx="2284506" cy="249299"/>
            </a:xfrm>
          </p:grpSpPr>
          <p:pic>
            <p:nvPicPr>
              <p:cNvPr id="62" name="Picture 61">
                <a:extLst>
                  <a:ext uri="{FF2B5EF4-FFF2-40B4-BE49-F238E27FC236}">
                    <a16:creationId xmlns:a16="http://schemas.microsoft.com/office/drawing/2014/main" id="{24774FB4-765A-9E49-A933-097A5BD5D66C}"/>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63" name="TextBox 62">
                <a:extLst>
                  <a:ext uri="{FF2B5EF4-FFF2-40B4-BE49-F238E27FC236}">
                    <a16:creationId xmlns:a16="http://schemas.microsoft.com/office/drawing/2014/main" id="{1B7D5897-54FC-ED4C-878C-E0BBE070F573}"/>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a:t>Click the Format Painter button (           ) to copy the style.</a:t>
                </a:r>
              </a:p>
            </p:txBody>
          </p:sp>
        </p:grpSp>
        <p:sp>
          <p:nvSpPr>
            <p:cNvPr id="51" name="TextBox 50">
              <a:extLst>
                <a:ext uri="{FF2B5EF4-FFF2-40B4-BE49-F238E27FC236}">
                  <a16:creationId xmlns:a16="http://schemas.microsoft.com/office/drawing/2014/main" id="{D10BF092-52C8-A14D-86F5-8BF992C1ECD8}"/>
                </a:ext>
              </a:extLst>
            </p:cNvPr>
            <p:cNvSpPr txBox="1"/>
            <p:nvPr/>
          </p:nvSpPr>
          <p:spPr>
            <a:xfrm>
              <a:off x="9686426" y="3363632"/>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a:t>Click anywhere on the current agenda item (on the text works here) to apply the highlight style.</a:t>
              </a:r>
            </a:p>
          </p:txBody>
        </p:sp>
        <p:sp>
          <p:nvSpPr>
            <p:cNvPr id="52" name="Rectangle 51">
              <a:extLst>
                <a:ext uri="{FF2B5EF4-FFF2-40B4-BE49-F238E27FC236}">
                  <a16:creationId xmlns:a16="http://schemas.microsoft.com/office/drawing/2014/main" id="{3BDB51E4-A24F-4342-8A5A-EDD95B943E22}"/>
                </a:ext>
              </a:extLst>
            </p:cNvPr>
            <p:cNvSpPr/>
            <p:nvPr/>
          </p:nvSpPr>
          <p:spPr>
            <a:xfrm>
              <a:off x="9686427" y="4200314"/>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sp>
          <p:nvSpPr>
            <p:cNvPr id="53" name="TextBox 52">
              <a:extLst>
                <a:ext uri="{FF2B5EF4-FFF2-40B4-BE49-F238E27FC236}">
                  <a16:creationId xmlns:a16="http://schemas.microsoft.com/office/drawing/2014/main" id="{8C97E8A0-B37A-3044-82A9-7D36673708BC}"/>
                </a:ext>
              </a:extLst>
            </p:cNvPr>
            <p:cNvSpPr txBox="1"/>
            <p:nvPr/>
          </p:nvSpPr>
          <p:spPr>
            <a:xfrm>
              <a:off x="9686426" y="4026515"/>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a:t>Select the ‘page # style’ element below:</a:t>
              </a:r>
            </a:p>
          </p:txBody>
        </p:sp>
        <p:sp>
          <p:nvSpPr>
            <p:cNvPr id="54" name="TextBox 53">
              <a:extLst>
                <a:ext uri="{FF2B5EF4-FFF2-40B4-BE49-F238E27FC236}">
                  <a16:creationId xmlns:a16="http://schemas.microsoft.com/office/drawing/2014/main" id="{A80195D2-2D31-7942-B7D0-9F85C7D444AF}"/>
                </a:ext>
              </a:extLst>
            </p:cNvPr>
            <p:cNvSpPr txBox="1"/>
            <p:nvPr/>
          </p:nvSpPr>
          <p:spPr>
            <a:xfrm>
              <a:off x="9686426" y="2184031"/>
              <a:ext cx="2384904" cy="12465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a:t>Select the ‘title style’ element below:</a:t>
              </a:r>
            </a:p>
          </p:txBody>
        </p:sp>
        <p:sp>
          <p:nvSpPr>
            <p:cNvPr id="55" name="TextBox 54">
              <a:extLst>
                <a:ext uri="{FF2B5EF4-FFF2-40B4-BE49-F238E27FC236}">
                  <a16:creationId xmlns:a16="http://schemas.microsoft.com/office/drawing/2014/main" id="{0A64BF6C-B9BD-1B41-969F-45514CC5BAE1}"/>
                </a:ext>
              </a:extLst>
            </p:cNvPr>
            <p:cNvSpPr txBox="1"/>
            <p:nvPr/>
          </p:nvSpPr>
          <p:spPr>
            <a:xfrm>
              <a:off x="9686426" y="1990139"/>
              <a:ext cx="587902" cy="107722"/>
            </a:xfrm>
            <a:prstGeom prst="rect">
              <a:avLst/>
            </a:prstGeom>
          </p:spPr>
          <p:txBody>
            <a:bodyPr vert="horz" wrap="none" lIns="0" tIns="0" rIns="0" bIns="0" rtlCol="0" anchor="ctr">
              <a:spAutoFit/>
            </a:bodyPr>
            <a:lstStyle/>
            <a:p>
              <a:pPr algn="l"/>
              <a:r>
                <a:rPr lang="en-US" sz="700">
                  <a:solidFill>
                    <a:schemeClr val="bg1">
                      <a:lumMod val="85000"/>
                    </a:schemeClr>
                  </a:solidFill>
                </a:rPr>
                <a:t>HIGHLIGHT TITLE:</a:t>
              </a:r>
            </a:p>
          </p:txBody>
        </p:sp>
        <p:cxnSp>
          <p:nvCxnSpPr>
            <p:cNvPr id="56" name="Straight Connector 55">
              <a:extLst>
                <a:ext uri="{FF2B5EF4-FFF2-40B4-BE49-F238E27FC236}">
                  <a16:creationId xmlns:a16="http://schemas.microsoft.com/office/drawing/2014/main" id="{2EFF5343-F139-D44E-8CF9-F7359DCDB499}"/>
                </a:ext>
              </a:extLst>
            </p:cNvPr>
            <p:cNvCxnSpPr>
              <a:cxnSpLocks/>
            </p:cNvCxnSpPr>
            <p:nvPr/>
          </p:nvCxnSpPr>
          <p:spPr>
            <a:xfrm>
              <a:off x="9679848" y="2113772"/>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7" name="TextBox 56">
              <a:extLst>
                <a:ext uri="{FF2B5EF4-FFF2-40B4-BE49-F238E27FC236}">
                  <a16:creationId xmlns:a16="http://schemas.microsoft.com/office/drawing/2014/main" id="{661BC977-1E81-D943-96A2-8EC320962EB3}"/>
                </a:ext>
              </a:extLst>
            </p:cNvPr>
            <p:cNvSpPr txBox="1"/>
            <p:nvPr/>
          </p:nvSpPr>
          <p:spPr>
            <a:xfrm>
              <a:off x="9686426" y="3831464"/>
              <a:ext cx="648014" cy="107722"/>
            </a:xfrm>
            <a:prstGeom prst="rect">
              <a:avLst/>
            </a:prstGeom>
          </p:spPr>
          <p:txBody>
            <a:bodyPr vert="horz" wrap="none" lIns="0" tIns="0" rIns="0" bIns="0" rtlCol="0" anchor="ctr">
              <a:spAutoFit/>
            </a:bodyPr>
            <a:lstStyle/>
            <a:p>
              <a:pPr algn="l"/>
              <a:r>
                <a:rPr lang="en-US" sz="700">
                  <a:solidFill>
                    <a:schemeClr val="bg1">
                      <a:lumMod val="85000"/>
                    </a:schemeClr>
                  </a:solidFill>
                </a:rPr>
                <a:t>HIGHLIGHT PAGE #:</a:t>
              </a:r>
            </a:p>
          </p:txBody>
        </p:sp>
        <p:cxnSp>
          <p:nvCxnSpPr>
            <p:cNvPr id="58" name="Straight Connector 57">
              <a:extLst>
                <a:ext uri="{FF2B5EF4-FFF2-40B4-BE49-F238E27FC236}">
                  <a16:creationId xmlns:a16="http://schemas.microsoft.com/office/drawing/2014/main" id="{11E58E32-BCB0-7D4E-97A2-FF92AE046C34}"/>
                </a:ext>
              </a:extLst>
            </p:cNvPr>
            <p:cNvCxnSpPr>
              <a:cxnSpLocks/>
            </p:cNvCxnSpPr>
            <p:nvPr/>
          </p:nvCxnSpPr>
          <p:spPr>
            <a:xfrm>
              <a:off x="9679848" y="3955097"/>
              <a:ext cx="2511409" cy="0"/>
            </a:xfrm>
            <a:prstGeom prst="line">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59" name="Group 58">
              <a:extLst>
                <a:ext uri="{FF2B5EF4-FFF2-40B4-BE49-F238E27FC236}">
                  <a16:creationId xmlns:a16="http://schemas.microsoft.com/office/drawing/2014/main" id="{2E08EBDD-4F9E-2F46-94B0-7AEFB64F4D50}"/>
                </a:ext>
              </a:extLst>
            </p:cNvPr>
            <p:cNvGrpSpPr/>
            <p:nvPr/>
          </p:nvGrpSpPr>
          <p:grpSpPr>
            <a:xfrm>
              <a:off x="9686426" y="4692069"/>
              <a:ext cx="2284506" cy="249299"/>
              <a:chOff x="9431244" y="2862535"/>
              <a:chExt cx="2284506" cy="249299"/>
            </a:xfrm>
          </p:grpSpPr>
          <p:pic>
            <p:nvPicPr>
              <p:cNvPr id="60" name="Picture 59">
                <a:extLst>
                  <a:ext uri="{FF2B5EF4-FFF2-40B4-BE49-F238E27FC236}">
                    <a16:creationId xmlns:a16="http://schemas.microsoft.com/office/drawing/2014/main" id="{DC8D70F4-324D-F14D-8D90-4F533C708BEF}"/>
                  </a:ext>
                </a:extLst>
              </p:cNvPr>
              <p:cNvPicPr>
                <a:picLocks noChangeAspect="1"/>
              </p:cNvPicPr>
              <p:nvPr/>
            </p:nvPicPr>
            <p:blipFill>
              <a:blip r:embed="rId6"/>
              <a:stretch>
                <a:fillRect/>
              </a:stretch>
            </p:blipFill>
            <p:spPr>
              <a:xfrm>
                <a:off x="11216812" y="2866153"/>
                <a:ext cx="340854" cy="113618"/>
              </a:xfrm>
              <a:prstGeom prst="rect">
                <a:avLst/>
              </a:prstGeom>
            </p:spPr>
          </p:pic>
          <p:sp>
            <p:nvSpPr>
              <p:cNvPr id="61" name="TextBox 60">
                <a:extLst>
                  <a:ext uri="{FF2B5EF4-FFF2-40B4-BE49-F238E27FC236}">
                    <a16:creationId xmlns:a16="http://schemas.microsoft.com/office/drawing/2014/main" id="{0E162A8C-5CB5-0348-AF65-83FDA753EF06}"/>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a:t>Click the Format Painter button (           ) to copy the style.</a:t>
                </a:r>
              </a:p>
            </p:txBody>
          </p:sp>
        </p:grpSp>
        <p:grpSp>
          <p:nvGrpSpPr>
            <p:cNvPr id="27" name="Group 26">
              <a:extLst>
                <a:ext uri="{FF2B5EF4-FFF2-40B4-BE49-F238E27FC236}">
                  <a16:creationId xmlns:a16="http://schemas.microsoft.com/office/drawing/2014/main" id="{91EE1626-B758-3D4F-9E45-7DFD0CF68876}"/>
                </a:ext>
              </a:extLst>
            </p:cNvPr>
            <p:cNvGrpSpPr/>
            <p:nvPr userDrawn="1"/>
          </p:nvGrpSpPr>
          <p:grpSpPr>
            <a:xfrm>
              <a:off x="9541497" y="6488937"/>
              <a:ext cx="2735151" cy="2142684"/>
              <a:chOff x="9541497" y="1525267"/>
              <a:chExt cx="2735151" cy="2142684"/>
            </a:xfrm>
          </p:grpSpPr>
          <p:grpSp>
            <p:nvGrpSpPr>
              <p:cNvPr id="44" name="Group 43">
                <a:extLst>
                  <a:ext uri="{FF2B5EF4-FFF2-40B4-BE49-F238E27FC236}">
                    <a16:creationId xmlns:a16="http://schemas.microsoft.com/office/drawing/2014/main" id="{EF4513C3-471E-9542-A66F-5928FF17E189}"/>
                  </a:ext>
                </a:extLst>
              </p:cNvPr>
              <p:cNvGrpSpPr/>
              <p:nvPr userDrawn="1"/>
            </p:nvGrpSpPr>
            <p:grpSpPr>
              <a:xfrm>
                <a:off x="9541497" y="1525267"/>
                <a:ext cx="2735151" cy="2142684"/>
                <a:chOff x="9296567" y="5817858"/>
                <a:chExt cx="2735151" cy="2142684"/>
              </a:xfrm>
            </p:grpSpPr>
            <p:sp>
              <p:nvSpPr>
                <p:cNvPr id="64" name="Rectangle 63">
                  <a:extLst>
                    <a:ext uri="{FF2B5EF4-FFF2-40B4-BE49-F238E27FC236}">
                      <a16:creationId xmlns:a16="http://schemas.microsoft.com/office/drawing/2014/main" id="{3BCA6528-B4AD-3B4E-817E-7E37B4801528}"/>
                    </a:ext>
                  </a:extLst>
                </p:cNvPr>
                <p:cNvSpPr/>
                <p:nvPr userDrawn="1"/>
              </p:nvSpPr>
              <p:spPr>
                <a:xfrm>
                  <a:off x="9296567" y="5817858"/>
                  <a:ext cx="2733136" cy="214268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5" name="TextBox 64">
                  <a:extLst>
                    <a:ext uri="{FF2B5EF4-FFF2-40B4-BE49-F238E27FC236}">
                      <a16:creationId xmlns:a16="http://schemas.microsoft.com/office/drawing/2014/main" id="{374FCEAF-1509-4F42-9497-CD879A6A719D}"/>
                    </a:ext>
                  </a:extLst>
                </p:cNvPr>
                <p:cNvSpPr txBox="1"/>
                <p:nvPr userDrawn="1"/>
              </p:nvSpPr>
              <p:spPr>
                <a:xfrm>
                  <a:off x="9662758" y="5936094"/>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Drag-select</a:t>
                  </a:r>
                </a:p>
              </p:txBody>
            </p:sp>
            <p:pic>
              <p:nvPicPr>
                <p:cNvPr id="66" name="Graphic 65">
                  <a:extLst>
                    <a:ext uri="{FF2B5EF4-FFF2-40B4-BE49-F238E27FC236}">
                      <a16:creationId xmlns:a16="http://schemas.microsoft.com/office/drawing/2014/main" id="{5DFF07DF-FE13-CC4C-B76D-1D2605070E4B}"/>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946377"/>
                  <a:ext cx="155227" cy="155227"/>
                </a:xfrm>
                <a:prstGeom prst="rect">
                  <a:avLst/>
                </a:prstGeom>
              </p:spPr>
            </p:pic>
            <p:sp>
              <p:nvSpPr>
                <p:cNvPr id="67" name="TextBox 66">
                  <a:extLst>
                    <a:ext uri="{FF2B5EF4-FFF2-40B4-BE49-F238E27FC236}">
                      <a16:creationId xmlns:a16="http://schemas.microsoft.com/office/drawing/2014/main" id="{FED285DC-C61D-0D45-9BC6-5561AE17004B}"/>
                    </a:ext>
                  </a:extLst>
                </p:cNvPr>
                <p:cNvSpPr txBox="1"/>
                <p:nvPr userDrawn="1"/>
              </p:nvSpPr>
              <p:spPr>
                <a:xfrm>
                  <a:off x="9471805" y="6169594"/>
                  <a:ext cx="2444785" cy="138499"/>
                </a:xfrm>
                <a:prstGeom prst="rect">
                  <a:avLst/>
                </a:prstGeom>
              </p:spPr>
              <p:txBody>
                <a:bodyPr vert="horz" wrap="square" lIns="0" tIns="0" rIns="0" bIns="0" rtlCol="0" anchor="t">
                  <a:spAutoFit/>
                </a:bodyPr>
                <a:lstStyle/>
                <a:p>
                  <a:pPr>
                    <a:spcBef>
                      <a:spcPts val="200"/>
                    </a:spcBef>
                  </a:pPr>
                  <a:r>
                    <a:rPr lang="en-US" sz="900">
                      <a:solidFill>
                        <a:schemeClr val="tx1">
                          <a:lumMod val="50000"/>
                          <a:lumOff val="50000"/>
                        </a:schemeClr>
                      </a:solidFill>
                      <a:latin typeface="Arial" charset="0"/>
                      <a:ea typeface="Arial" charset="0"/>
                      <a:cs typeface="Arial" charset="0"/>
                    </a:rPr>
                    <a:t>Easily select multiple placeholders for deletion:</a:t>
                  </a:r>
                </a:p>
              </p:txBody>
            </p:sp>
            <p:sp>
              <p:nvSpPr>
                <p:cNvPr id="135" name="TextBox 134">
                  <a:extLst>
                    <a:ext uri="{FF2B5EF4-FFF2-40B4-BE49-F238E27FC236}">
                      <a16:creationId xmlns:a16="http://schemas.microsoft.com/office/drawing/2014/main" id="{03DC49DC-B6F7-5247-938C-5887557DD711}"/>
                    </a:ext>
                  </a:extLst>
                </p:cNvPr>
                <p:cNvSpPr txBox="1"/>
                <p:nvPr userDrawn="1"/>
              </p:nvSpPr>
              <p:spPr>
                <a:xfrm>
                  <a:off x="9471806" y="6398194"/>
                  <a:ext cx="1174622"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b="1" kern="1200">
                      <a:solidFill>
                        <a:schemeClr val="tx1">
                          <a:lumMod val="50000"/>
                          <a:lumOff val="50000"/>
                        </a:schemeClr>
                      </a:solidFill>
                      <a:latin typeface="Arial" charset="0"/>
                      <a:ea typeface="Arial" charset="0"/>
                      <a:cs typeface="Arial" charset="0"/>
                    </a:rPr>
                    <a:t>Click</a:t>
                  </a:r>
                  <a:r>
                    <a:rPr lang="en-US" sz="900" kern="1200">
                      <a:solidFill>
                        <a:schemeClr val="tx1">
                          <a:lumMod val="50000"/>
                          <a:lumOff val="50000"/>
                        </a:schemeClr>
                      </a:solidFill>
                      <a:latin typeface="Arial" charset="0"/>
                      <a:ea typeface="Arial" charset="0"/>
                      <a:cs typeface="Arial" charset="0"/>
                    </a:rPr>
                    <a:t> above and to the left of the first placeholder you’d like to delete.</a:t>
                  </a:r>
                </a:p>
              </p:txBody>
            </p:sp>
            <p:sp>
              <p:nvSpPr>
                <p:cNvPr id="136" name="TextBox 135">
                  <a:extLst>
                    <a:ext uri="{FF2B5EF4-FFF2-40B4-BE49-F238E27FC236}">
                      <a16:creationId xmlns:a16="http://schemas.microsoft.com/office/drawing/2014/main" id="{1F4843CF-D9EC-4B47-B9A7-B0D9BD1FDA87}"/>
                    </a:ext>
                  </a:extLst>
                </p:cNvPr>
                <p:cNvSpPr txBox="1"/>
                <p:nvPr userDrawn="1"/>
              </p:nvSpPr>
              <p:spPr>
                <a:xfrm>
                  <a:off x="9471805" y="7426396"/>
                  <a:ext cx="2444785" cy="24929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All the placeholders inside the drag area will now be selected. Press Delete on the keyboard to remove them.</a:t>
                  </a:r>
                </a:p>
              </p:txBody>
            </p:sp>
            <p:sp>
              <p:nvSpPr>
                <p:cNvPr id="137" name="TextBox 136">
                  <a:extLst>
                    <a:ext uri="{FF2B5EF4-FFF2-40B4-BE49-F238E27FC236}">
                      <a16:creationId xmlns:a16="http://schemas.microsoft.com/office/drawing/2014/main" id="{6F7F8E90-37AA-3743-BDF9-554E740DFC7B}"/>
                    </a:ext>
                  </a:extLst>
                </p:cNvPr>
                <p:cNvSpPr txBox="1"/>
                <p:nvPr userDrawn="1"/>
              </p:nvSpPr>
              <p:spPr>
                <a:xfrm>
                  <a:off x="9471805" y="6974619"/>
                  <a:ext cx="241440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Then (still holding down the first click) </a:t>
                  </a:r>
                  <a:br>
                    <a:rPr lang="en-US" sz="900" kern="1200">
                      <a:solidFill>
                        <a:schemeClr val="tx1">
                          <a:lumMod val="50000"/>
                          <a:lumOff val="50000"/>
                        </a:schemeClr>
                      </a:solidFill>
                      <a:latin typeface="Arial" charset="0"/>
                      <a:ea typeface="Arial" charset="0"/>
                      <a:cs typeface="Arial" charset="0"/>
                    </a:rPr>
                  </a:br>
                  <a:r>
                    <a:rPr lang="en-US" sz="900" b="1" kern="1200">
                      <a:solidFill>
                        <a:schemeClr val="tx1">
                          <a:lumMod val="50000"/>
                          <a:lumOff val="50000"/>
                        </a:schemeClr>
                      </a:solidFill>
                      <a:latin typeface="Arial" charset="0"/>
                      <a:ea typeface="Arial" charset="0"/>
                      <a:cs typeface="Arial" charset="0"/>
                    </a:rPr>
                    <a:t>drag</a:t>
                  </a:r>
                  <a:r>
                    <a:rPr lang="en-US" sz="900" kern="1200">
                      <a:solidFill>
                        <a:schemeClr val="tx1">
                          <a:lumMod val="50000"/>
                          <a:lumOff val="50000"/>
                        </a:schemeClr>
                      </a:solidFill>
                      <a:latin typeface="Arial" charset="0"/>
                      <a:ea typeface="Arial" charset="0"/>
                      <a:cs typeface="Arial" charset="0"/>
                    </a:rPr>
                    <a:t> the cursor to below and to the right of the last placeholder and </a:t>
                  </a:r>
                  <a:r>
                    <a:rPr lang="en-US" sz="900" b="1" kern="1200">
                      <a:solidFill>
                        <a:schemeClr val="tx1">
                          <a:lumMod val="50000"/>
                          <a:lumOff val="50000"/>
                        </a:schemeClr>
                      </a:solidFill>
                      <a:latin typeface="Arial" charset="0"/>
                      <a:ea typeface="Arial" charset="0"/>
                      <a:cs typeface="Arial" charset="0"/>
                    </a:rPr>
                    <a:t>release</a:t>
                  </a:r>
                  <a:r>
                    <a:rPr lang="en-US" sz="900" kern="1200">
                      <a:solidFill>
                        <a:schemeClr val="tx1">
                          <a:lumMod val="50000"/>
                          <a:lumOff val="50000"/>
                        </a:schemeClr>
                      </a:solidFill>
                      <a:latin typeface="Arial" charset="0"/>
                      <a:ea typeface="Arial" charset="0"/>
                      <a:cs typeface="Arial" charset="0"/>
                    </a:rPr>
                    <a:t> the click.</a:t>
                  </a:r>
                </a:p>
              </p:txBody>
            </p:sp>
          </p:grpSp>
          <p:pic>
            <p:nvPicPr>
              <p:cNvPr id="24" name="Picture 23">
                <a:extLst>
                  <a:ext uri="{FF2B5EF4-FFF2-40B4-BE49-F238E27FC236}">
                    <a16:creationId xmlns:a16="http://schemas.microsoft.com/office/drawing/2014/main" id="{DC5AED72-86C8-4444-90CE-59B076CE4755}"/>
                  </a:ext>
                </a:extLst>
              </p:cNvPr>
              <p:cNvPicPr>
                <a:picLocks noChangeAspect="1"/>
              </p:cNvPicPr>
              <p:nvPr userDrawn="1"/>
            </p:nvPicPr>
            <p:blipFill rotWithShape="1">
              <a:blip r:embed="rId7"/>
              <a:srcRect t="33282" b="9876"/>
              <a:stretch/>
            </p:blipFill>
            <p:spPr>
              <a:xfrm>
                <a:off x="10901855" y="2099340"/>
                <a:ext cx="1237314" cy="517325"/>
              </a:xfrm>
              <a:prstGeom prst="rect">
                <a:avLst/>
              </a:prstGeom>
            </p:spPr>
          </p:pic>
        </p:grpSp>
      </p:grpSp>
      <p:sp>
        <p:nvSpPr>
          <p:cNvPr id="4" name="Title 3">
            <a:extLst>
              <a:ext uri="{FF2B5EF4-FFF2-40B4-BE49-F238E27FC236}">
                <a16:creationId xmlns:a16="http://schemas.microsoft.com/office/drawing/2014/main" id="{E767ABA5-A206-AB44-BDCD-CBEA4F6A3193}"/>
              </a:ext>
            </a:extLst>
          </p:cNvPr>
          <p:cNvSpPr>
            <a:spLocks noGrp="1"/>
          </p:cNvSpPr>
          <p:nvPr>
            <p:ph type="title" hasCustomPrompt="1"/>
          </p:nvPr>
        </p:nvSpPr>
        <p:spPr/>
        <p:txBody>
          <a:bodyPr/>
          <a:lstStyle>
            <a:lvl1pPr>
              <a:defRPr/>
            </a:lvl1pPr>
          </a:lstStyle>
          <a:p>
            <a:r>
              <a:rPr lang="en-US"/>
              <a:t>Click to add agenda title. All caps. Two lines max.</a:t>
            </a:r>
          </a:p>
        </p:txBody>
      </p:sp>
      <p:sp>
        <p:nvSpPr>
          <p:cNvPr id="91" name="Text Placeholder 5">
            <a:extLst>
              <a:ext uri="{FF2B5EF4-FFF2-40B4-BE49-F238E27FC236}">
                <a16:creationId xmlns:a16="http://schemas.microsoft.com/office/drawing/2014/main" id="{E65DF37D-BE32-8D48-B3BD-F72A205AA20A}"/>
              </a:ext>
            </a:extLst>
          </p:cNvPr>
          <p:cNvSpPr>
            <a:spLocks noGrp="1"/>
          </p:cNvSpPr>
          <p:nvPr userDrawn="1">
            <p:ph type="body" sz="quarter" idx="134" hasCustomPrompt="1"/>
          </p:nvPr>
        </p:nvSpPr>
        <p:spPr>
          <a:xfrm>
            <a:off x="12851624" y="2361849"/>
            <a:ext cx="2443398" cy="376755"/>
          </a:xfrm>
          <a:solidFill>
            <a:schemeClr val="accent1"/>
          </a:solidFill>
          <a:ln w="31750">
            <a:solidFill>
              <a:schemeClr val="accent1"/>
            </a:solidFill>
          </a:ln>
          <a:effectLst/>
        </p:spPr>
        <p:txBody>
          <a:bodyPr lIns="576000" tIns="0" rIns="36000" anchor="ctr"/>
          <a:lstStyle>
            <a:lvl1pPr marL="0" indent="0">
              <a:buNone/>
              <a:defRPr b="1">
                <a:solidFill>
                  <a:schemeClr val="bg1"/>
                </a:solidFill>
              </a:defRPr>
            </a:lvl1pPr>
          </a:lstStyle>
          <a:p>
            <a:pPr lvl="0"/>
            <a:r>
              <a:rPr lang="en-US"/>
              <a:t>Select for Title style</a:t>
            </a:r>
          </a:p>
        </p:txBody>
      </p:sp>
      <p:sp>
        <p:nvSpPr>
          <p:cNvPr id="92" name="Text Placeholder 5">
            <a:extLst>
              <a:ext uri="{FF2B5EF4-FFF2-40B4-BE49-F238E27FC236}">
                <a16:creationId xmlns:a16="http://schemas.microsoft.com/office/drawing/2014/main" id="{D92F429B-9DFB-EE41-9601-2CCC105A7E84}"/>
              </a:ext>
            </a:extLst>
          </p:cNvPr>
          <p:cNvSpPr>
            <a:spLocks noGrp="1"/>
          </p:cNvSpPr>
          <p:nvPr userDrawn="1">
            <p:ph type="body" sz="quarter" idx="135" hasCustomPrompt="1"/>
          </p:nvPr>
        </p:nvSpPr>
        <p:spPr>
          <a:xfrm>
            <a:off x="12851624" y="4222583"/>
            <a:ext cx="2443398" cy="376755"/>
          </a:xfrm>
          <a:noFill/>
          <a:ln w="31750">
            <a:noFill/>
          </a:ln>
          <a:effectLst/>
        </p:spPr>
        <p:txBody>
          <a:bodyPr lIns="0" tIns="0" rIns="0" anchor="ctr"/>
          <a:lstStyle>
            <a:lvl1pPr marL="0" indent="0" algn="r">
              <a:buNone/>
              <a:defRPr b="1">
                <a:solidFill>
                  <a:schemeClr val="bg1"/>
                </a:solidFill>
              </a:defRPr>
            </a:lvl1pPr>
          </a:lstStyle>
          <a:p>
            <a:pPr lvl="0"/>
            <a:r>
              <a:rPr lang="en-US"/>
              <a:t>Select for Page # style</a:t>
            </a:r>
          </a:p>
        </p:txBody>
      </p:sp>
      <p:sp>
        <p:nvSpPr>
          <p:cNvPr id="140" name="Text Placeholder 6">
            <a:extLst>
              <a:ext uri="{FF2B5EF4-FFF2-40B4-BE49-F238E27FC236}">
                <a16:creationId xmlns:a16="http://schemas.microsoft.com/office/drawing/2014/main" id="{89312458-EDEA-F145-8A40-F9DE180A0CD5}"/>
              </a:ext>
            </a:extLst>
          </p:cNvPr>
          <p:cNvSpPr>
            <a:spLocks noGrp="1"/>
          </p:cNvSpPr>
          <p:nvPr>
            <p:ph type="body" idx="13" hasCustomPrompt="1"/>
          </p:nvPr>
        </p:nvSpPr>
        <p:spPr>
          <a:xfrm>
            <a:off x="0" y="1230726"/>
            <a:ext cx="12192000" cy="352800"/>
          </a:xfrm>
          <a:blipFill dpi="0" rotWithShape="1">
            <a:blip r:embed="rId2"/>
            <a:srcRect/>
            <a:stretch>
              <a:fillRect/>
            </a:stretch>
          </a:blipFill>
          <a:ln>
            <a:noFill/>
          </a:ln>
          <a:effectLst/>
        </p:spPr>
        <p:txBody>
          <a:bodyPr lIns="576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1" name="Text Placeholder 6">
            <a:extLst>
              <a:ext uri="{FF2B5EF4-FFF2-40B4-BE49-F238E27FC236}">
                <a16:creationId xmlns:a16="http://schemas.microsoft.com/office/drawing/2014/main" id="{0881407E-5EEA-0645-B564-820137734C4B}"/>
              </a:ext>
            </a:extLst>
          </p:cNvPr>
          <p:cNvSpPr>
            <a:spLocks noGrp="1"/>
          </p:cNvSpPr>
          <p:nvPr>
            <p:ph type="body" idx="14" hasCustomPrompt="1"/>
          </p:nvPr>
        </p:nvSpPr>
        <p:spPr>
          <a:xfrm>
            <a:off x="0" y="1583212"/>
            <a:ext cx="12192000" cy="352800"/>
          </a:xfrm>
          <a:blipFill dpi="0" rotWithShape="1">
            <a:blip r:embed="rId2"/>
            <a:srcRect/>
            <a:stretch>
              <a:fillRect/>
            </a:stretch>
          </a:blipFill>
          <a:ln>
            <a:noFill/>
          </a:ln>
          <a:effectLst/>
        </p:spPr>
        <p:txBody>
          <a:bodyPr lIns="576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2" name="Text Placeholder 6">
            <a:extLst>
              <a:ext uri="{FF2B5EF4-FFF2-40B4-BE49-F238E27FC236}">
                <a16:creationId xmlns:a16="http://schemas.microsoft.com/office/drawing/2014/main" id="{975DCA04-BA85-B943-AAF1-92DA5F62A968}"/>
              </a:ext>
            </a:extLst>
          </p:cNvPr>
          <p:cNvSpPr>
            <a:spLocks noGrp="1"/>
          </p:cNvSpPr>
          <p:nvPr>
            <p:ph type="body" idx="15" hasCustomPrompt="1"/>
          </p:nvPr>
        </p:nvSpPr>
        <p:spPr>
          <a:xfrm>
            <a:off x="0" y="1935698"/>
            <a:ext cx="12192000" cy="352800"/>
          </a:xfrm>
          <a:blipFill dpi="0" rotWithShape="1">
            <a:blip r:embed="rId2"/>
            <a:srcRect/>
            <a:stretch>
              <a:fillRect/>
            </a:stretch>
          </a:blipFill>
          <a:ln>
            <a:noFill/>
          </a:ln>
          <a:effectLst/>
        </p:spPr>
        <p:txBody>
          <a:bodyPr lIns="576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3" name="Text Placeholder 6">
            <a:extLst>
              <a:ext uri="{FF2B5EF4-FFF2-40B4-BE49-F238E27FC236}">
                <a16:creationId xmlns:a16="http://schemas.microsoft.com/office/drawing/2014/main" id="{F953D556-C770-7D48-83BE-3EAD34AD583E}"/>
              </a:ext>
            </a:extLst>
          </p:cNvPr>
          <p:cNvSpPr>
            <a:spLocks noGrp="1"/>
          </p:cNvSpPr>
          <p:nvPr>
            <p:ph type="body" idx="16" hasCustomPrompt="1"/>
          </p:nvPr>
        </p:nvSpPr>
        <p:spPr>
          <a:xfrm>
            <a:off x="0" y="2288184"/>
            <a:ext cx="12192000" cy="352800"/>
          </a:xfrm>
          <a:blipFill dpi="0" rotWithShape="1">
            <a:blip r:embed="rId2"/>
            <a:srcRect/>
            <a:stretch>
              <a:fillRect/>
            </a:stretch>
          </a:blipFill>
          <a:ln>
            <a:noFill/>
          </a:ln>
          <a:effectLst/>
        </p:spPr>
        <p:txBody>
          <a:bodyPr lIns="576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4" name="Text Placeholder 6">
            <a:extLst>
              <a:ext uri="{FF2B5EF4-FFF2-40B4-BE49-F238E27FC236}">
                <a16:creationId xmlns:a16="http://schemas.microsoft.com/office/drawing/2014/main" id="{91CCF692-76BB-6A4A-885F-E120A2711E82}"/>
              </a:ext>
            </a:extLst>
          </p:cNvPr>
          <p:cNvSpPr>
            <a:spLocks noGrp="1"/>
          </p:cNvSpPr>
          <p:nvPr>
            <p:ph type="body" idx="17" hasCustomPrompt="1"/>
          </p:nvPr>
        </p:nvSpPr>
        <p:spPr>
          <a:xfrm>
            <a:off x="0" y="2640670"/>
            <a:ext cx="12192000" cy="352800"/>
          </a:xfrm>
          <a:blipFill dpi="0" rotWithShape="1">
            <a:blip r:embed="rId2"/>
            <a:srcRect/>
            <a:stretch>
              <a:fillRect/>
            </a:stretch>
          </a:blipFill>
          <a:ln>
            <a:noFill/>
          </a:ln>
          <a:effectLst/>
        </p:spPr>
        <p:txBody>
          <a:bodyPr lIns="576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5" name="Text Placeholder 6">
            <a:extLst>
              <a:ext uri="{FF2B5EF4-FFF2-40B4-BE49-F238E27FC236}">
                <a16:creationId xmlns:a16="http://schemas.microsoft.com/office/drawing/2014/main" id="{0C2671C4-8F73-6846-BED4-E27156554831}"/>
              </a:ext>
            </a:extLst>
          </p:cNvPr>
          <p:cNvSpPr>
            <a:spLocks noGrp="1"/>
          </p:cNvSpPr>
          <p:nvPr>
            <p:ph type="body" idx="18" hasCustomPrompt="1"/>
          </p:nvPr>
        </p:nvSpPr>
        <p:spPr>
          <a:xfrm>
            <a:off x="0" y="2993156"/>
            <a:ext cx="12192000" cy="352800"/>
          </a:xfrm>
          <a:blipFill dpi="0" rotWithShape="1">
            <a:blip r:embed="rId2"/>
            <a:srcRect/>
            <a:stretch>
              <a:fillRect/>
            </a:stretch>
          </a:blipFill>
          <a:ln>
            <a:noFill/>
          </a:ln>
          <a:effectLst/>
        </p:spPr>
        <p:txBody>
          <a:bodyPr lIns="576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6" name="Text Placeholder 6">
            <a:extLst>
              <a:ext uri="{FF2B5EF4-FFF2-40B4-BE49-F238E27FC236}">
                <a16:creationId xmlns:a16="http://schemas.microsoft.com/office/drawing/2014/main" id="{5FA8609C-9B16-FA4C-9F2C-D1248CCE8ACE}"/>
              </a:ext>
            </a:extLst>
          </p:cNvPr>
          <p:cNvSpPr>
            <a:spLocks noGrp="1"/>
          </p:cNvSpPr>
          <p:nvPr>
            <p:ph type="body" idx="19" hasCustomPrompt="1"/>
          </p:nvPr>
        </p:nvSpPr>
        <p:spPr>
          <a:xfrm>
            <a:off x="0" y="3345642"/>
            <a:ext cx="12192000" cy="352800"/>
          </a:xfrm>
          <a:blipFill dpi="0" rotWithShape="1">
            <a:blip r:embed="rId2"/>
            <a:srcRect/>
            <a:stretch>
              <a:fillRect/>
            </a:stretch>
          </a:blipFill>
          <a:ln>
            <a:noFill/>
          </a:ln>
          <a:effectLst/>
        </p:spPr>
        <p:txBody>
          <a:bodyPr lIns="576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7" name="Text Placeholder 6">
            <a:extLst>
              <a:ext uri="{FF2B5EF4-FFF2-40B4-BE49-F238E27FC236}">
                <a16:creationId xmlns:a16="http://schemas.microsoft.com/office/drawing/2014/main" id="{1160FF45-12A6-CA4A-AD6A-594E7B625D99}"/>
              </a:ext>
            </a:extLst>
          </p:cNvPr>
          <p:cNvSpPr>
            <a:spLocks noGrp="1"/>
          </p:cNvSpPr>
          <p:nvPr>
            <p:ph type="body" idx="20" hasCustomPrompt="1"/>
          </p:nvPr>
        </p:nvSpPr>
        <p:spPr>
          <a:xfrm>
            <a:off x="0" y="3698128"/>
            <a:ext cx="12192000" cy="352800"/>
          </a:xfrm>
          <a:blipFill dpi="0" rotWithShape="1">
            <a:blip r:embed="rId2"/>
            <a:srcRect/>
            <a:stretch>
              <a:fillRect/>
            </a:stretch>
          </a:blipFill>
          <a:ln>
            <a:noFill/>
          </a:ln>
          <a:effectLst/>
        </p:spPr>
        <p:txBody>
          <a:bodyPr lIns="576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48" name="Text Placeholder 69">
            <a:extLst>
              <a:ext uri="{FF2B5EF4-FFF2-40B4-BE49-F238E27FC236}">
                <a16:creationId xmlns:a16="http://schemas.microsoft.com/office/drawing/2014/main" id="{36C55682-41D4-2C46-A3E5-75E11CF3010E}"/>
              </a:ext>
            </a:extLst>
          </p:cNvPr>
          <p:cNvSpPr>
            <a:spLocks noGrp="1"/>
          </p:cNvSpPr>
          <p:nvPr>
            <p:ph type="body" sz="quarter" idx="21" hasCustomPrompt="1"/>
          </p:nvPr>
        </p:nvSpPr>
        <p:spPr>
          <a:xfrm>
            <a:off x="10381560" y="1230726"/>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49" name="Text Placeholder 69">
            <a:extLst>
              <a:ext uri="{FF2B5EF4-FFF2-40B4-BE49-F238E27FC236}">
                <a16:creationId xmlns:a16="http://schemas.microsoft.com/office/drawing/2014/main" id="{7A7DE69A-7CAC-2D4F-9EBA-789484126889}"/>
              </a:ext>
            </a:extLst>
          </p:cNvPr>
          <p:cNvSpPr>
            <a:spLocks noGrp="1"/>
          </p:cNvSpPr>
          <p:nvPr>
            <p:ph type="body" sz="quarter" idx="22" hasCustomPrompt="1"/>
          </p:nvPr>
        </p:nvSpPr>
        <p:spPr>
          <a:xfrm>
            <a:off x="10381560" y="1583212"/>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0" name="Text Placeholder 69">
            <a:extLst>
              <a:ext uri="{FF2B5EF4-FFF2-40B4-BE49-F238E27FC236}">
                <a16:creationId xmlns:a16="http://schemas.microsoft.com/office/drawing/2014/main" id="{8C8F8AB9-E553-FD43-9A74-A94070ABC6D9}"/>
              </a:ext>
            </a:extLst>
          </p:cNvPr>
          <p:cNvSpPr>
            <a:spLocks noGrp="1"/>
          </p:cNvSpPr>
          <p:nvPr>
            <p:ph type="body" sz="quarter" idx="23" hasCustomPrompt="1"/>
          </p:nvPr>
        </p:nvSpPr>
        <p:spPr>
          <a:xfrm>
            <a:off x="10381560" y="1935698"/>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1" name="Text Placeholder 69">
            <a:extLst>
              <a:ext uri="{FF2B5EF4-FFF2-40B4-BE49-F238E27FC236}">
                <a16:creationId xmlns:a16="http://schemas.microsoft.com/office/drawing/2014/main" id="{34397210-0F6A-4541-BF87-6238DCF7C31B}"/>
              </a:ext>
            </a:extLst>
          </p:cNvPr>
          <p:cNvSpPr>
            <a:spLocks noGrp="1"/>
          </p:cNvSpPr>
          <p:nvPr>
            <p:ph type="body" sz="quarter" idx="24" hasCustomPrompt="1"/>
          </p:nvPr>
        </p:nvSpPr>
        <p:spPr>
          <a:xfrm>
            <a:off x="10381560" y="2288184"/>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2" name="Text Placeholder 69">
            <a:extLst>
              <a:ext uri="{FF2B5EF4-FFF2-40B4-BE49-F238E27FC236}">
                <a16:creationId xmlns:a16="http://schemas.microsoft.com/office/drawing/2014/main" id="{36CB0180-6E7E-6345-BDFC-A24B6037542B}"/>
              </a:ext>
            </a:extLst>
          </p:cNvPr>
          <p:cNvSpPr>
            <a:spLocks noGrp="1"/>
          </p:cNvSpPr>
          <p:nvPr>
            <p:ph type="body" sz="quarter" idx="25" hasCustomPrompt="1"/>
          </p:nvPr>
        </p:nvSpPr>
        <p:spPr>
          <a:xfrm>
            <a:off x="10381560" y="2640670"/>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3" name="Text Placeholder 69">
            <a:extLst>
              <a:ext uri="{FF2B5EF4-FFF2-40B4-BE49-F238E27FC236}">
                <a16:creationId xmlns:a16="http://schemas.microsoft.com/office/drawing/2014/main" id="{3CDC531E-C59A-6648-B4C3-453444CE827E}"/>
              </a:ext>
            </a:extLst>
          </p:cNvPr>
          <p:cNvSpPr>
            <a:spLocks noGrp="1"/>
          </p:cNvSpPr>
          <p:nvPr>
            <p:ph type="body" sz="quarter" idx="26" hasCustomPrompt="1"/>
          </p:nvPr>
        </p:nvSpPr>
        <p:spPr>
          <a:xfrm>
            <a:off x="10381560" y="2993156"/>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4" name="Text Placeholder 69">
            <a:extLst>
              <a:ext uri="{FF2B5EF4-FFF2-40B4-BE49-F238E27FC236}">
                <a16:creationId xmlns:a16="http://schemas.microsoft.com/office/drawing/2014/main" id="{BB4EABB9-2DDE-734C-86AB-12B8EF0C6145}"/>
              </a:ext>
            </a:extLst>
          </p:cNvPr>
          <p:cNvSpPr>
            <a:spLocks noGrp="1"/>
          </p:cNvSpPr>
          <p:nvPr>
            <p:ph type="body" sz="quarter" idx="27" hasCustomPrompt="1"/>
          </p:nvPr>
        </p:nvSpPr>
        <p:spPr>
          <a:xfrm>
            <a:off x="10381560" y="3345642"/>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5" name="Text Placeholder 69">
            <a:extLst>
              <a:ext uri="{FF2B5EF4-FFF2-40B4-BE49-F238E27FC236}">
                <a16:creationId xmlns:a16="http://schemas.microsoft.com/office/drawing/2014/main" id="{51A31BC1-EC5B-CB48-906F-8A670330B3EE}"/>
              </a:ext>
            </a:extLst>
          </p:cNvPr>
          <p:cNvSpPr>
            <a:spLocks noGrp="1"/>
          </p:cNvSpPr>
          <p:nvPr>
            <p:ph type="body" sz="quarter" idx="28" hasCustomPrompt="1"/>
          </p:nvPr>
        </p:nvSpPr>
        <p:spPr>
          <a:xfrm>
            <a:off x="10381560" y="3698128"/>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6" name="Text Placeholder 6">
            <a:extLst>
              <a:ext uri="{FF2B5EF4-FFF2-40B4-BE49-F238E27FC236}">
                <a16:creationId xmlns:a16="http://schemas.microsoft.com/office/drawing/2014/main" id="{CA10688B-9A84-134D-8815-3C14EE382980}"/>
              </a:ext>
            </a:extLst>
          </p:cNvPr>
          <p:cNvSpPr>
            <a:spLocks noGrp="1"/>
          </p:cNvSpPr>
          <p:nvPr>
            <p:ph type="body" idx="29" hasCustomPrompt="1"/>
          </p:nvPr>
        </p:nvSpPr>
        <p:spPr>
          <a:xfrm>
            <a:off x="0" y="4050614"/>
            <a:ext cx="12192000" cy="352800"/>
          </a:xfrm>
          <a:blipFill dpi="0" rotWithShape="1">
            <a:blip r:embed="rId2"/>
            <a:srcRect/>
            <a:stretch>
              <a:fillRect/>
            </a:stretch>
          </a:blipFill>
          <a:ln>
            <a:noFill/>
          </a:ln>
          <a:effectLst/>
        </p:spPr>
        <p:txBody>
          <a:bodyPr lIns="576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57" name="Text Placeholder 69">
            <a:extLst>
              <a:ext uri="{FF2B5EF4-FFF2-40B4-BE49-F238E27FC236}">
                <a16:creationId xmlns:a16="http://schemas.microsoft.com/office/drawing/2014/main" id="{2CC5EBD5-D4B3-9A4D-9E40-19DDAE3DAEFC}"/>
              </a:ext>
            </a:extLst>
          </p:cNvPr>
          <p:cNvSpPr>
            <a:spLocks noGrp="1"/>
          </p:cNvSpPr>
          <p:nvPr>
            <p:ph type="body" sz="quarter" idx="30" hasCustomPrompt="1"/>
          </p:nvPr>
        </p:nvSpPr>
        <p:spPr>
          <a:xfrm>
            <a:off x="10381560" y="4050614"/>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58" name="Text Placeholder 6">
            <a:extLst>
              <a:ext uri="{FF2B5EF4-FFF2-40B4-BE49-F238E27FC236}">
                <a16:creationId xmlns:a16="http://schemas.microsoft.com/office/drawing/2014/main" id="{FB2BCC6B-9E0C-6B4D-BFAF-3D33A4C41128}"/>
              </a:ext>
            </a:extLst>
          </p:cNvPr>
          <p:cNvSpPr>
            <a:spLocks noGrp="1"/>
          </p:cNvSpPr>
          <p:nvPr>
            <p:ph type="body" idx="31" hasCustomPrompt="1"/>
          </p:nvPr>
        </p:nvSpPr>
        <p:spPr>
          <a:xfrm>
            <a:off x="0" y="4403100"/>
            <a:ext cx="12192000" cy="352800"/>
          </a:xfrm>
          <a:blipFill dpi="0" rotWithShape="1">
            <a:blip r:embed="rId2"/>
            <a:srcRect/>
            <a:stretch>
              <a:fillRect/>
            </a:stretch>
          </a:blipFill>
          <a:ln>
            <a:noFill/>
          </a:ln>
          <a:effectLst/>
        </p:spPr>
        <p:txBody>
          <a:bodyPr lIns="576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59" name="Text Placeholder 69">
            <a:extLst>
              <a:ext uri="{FF2B5EF4-FFF2-40B4-BE49-F238E27FC236}">
                <a16:creationId xmlns:a16="http://schemas.microsoft.com/office/drawing/2014/main" id="{1AF143A3-F8D7-B34D-9F19-6EA9A69EE4F0}"/>
              </a:ext>
            </a:extLst>
          </p:cNvPr>
          <p:cNvSpPr>
            <a:spLocks noGrp="1"/>
          </p:cNvSpPr>
          <p:nvPr>
            <p:ph type="body" sz="quarter" idx="32" hasCustomPrompt="1"/>
          </p:nvPr>
        </p:nvSpPr>
        <p:spPr>
          <a:xfrm>
            <a:off x="10381560" y="4403100"/>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0" name="Text Placeholder 6">
            <a:extLst>
              <a:ext uri="{FF2B5EF4-FFF2-40B4-BE49-F238E27FC236}">
                <a16:creationId xmlns:a16="http://schemas.microsoft.com/office/drawing/2014/main" id="{F9389DF8-3B53-1B40-A060-E67F5DE54FBC}"/>
              </a:ext>
            </a:extLst>
          </p:cNvPr>
          <p:cNvSpPr>
            <a:spLocks noGrp="1"/>
          </p:cNvSpPr>
          <p:nvPr>
            <p:ph type="body" idx="33" hasCustomPrompt="1"/>
          </p:nvPr>
        </p:nvSpPr>
        <p:spPr>
          <a:xfrm>
            <a:off x="0" y="4755586"/>
            <a:ext cx="12192000" cy="352800"/>
          </a:xfrm>
          <a:blipFill dpi="0" rotWithShape="1">
            <a:blip r:embed="rId2"/>
            <a:srcRect/>
            <a:stretch>
              <a:fillRect/>
            </a:stretch>
          </a:blipFill>
          <a:ln>
            <a:noFill/>
          </a:ln>
          <a:effectLst/>
        </p:spPr>
        <p:txBody>
          <a:bodyPr lIns="576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1" name="Text Placeholder 69">
            <a:extLst>
              <a:ext uri="{FF2B5EF4-FFF2-40B4-BE49-F238E27FC236}">
                <a16:creationId xmlns:a16="http://schemas.microsoft.com/office/drawing/2014/main" id="{8FB5E79E-4CE6-7348-93FF-FB68EFF84A06}"/>
              </a:ext>
            </a:extLst>
          </p:cNvPr>
          <p:cNvSpPr>
            <a:spLocks noGrp="1"/>
          </p:cNvSpPr>
          <p:nvPr>
            <p:ph type="body" sz="quarter" idx="34" hasCustomPrompt="1"/>
          </p:nvPr>
        </p:nvSpPr>
        <p:spPr>
          <a:xfrm>
            <a:off x="10381560" y="4755586"/>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2" name="Text Placeholder 6">
            <a:extLst>
              <a:ext uri="{FF2B5EF4-FFF2-40B4-BE49-F238E27FC236}">
                <a16:creationId xmlns:a16="http://schemas.microsoft.com/office/drawing/2014/main" id="{87654A3A-847F-514C-80BD-916D718925CF}"/>
              </a:ext>
            </a:extLst>
          </p:cNvPr>
          <p:cNvSpPr>
            <a:spLocks noGrp="1"/>
          </p:cNvSpPr>
          <p:nvPr>
            <p:ph type="body" idx="35" hasCustomPrompt="1"/>
          </p:nvPr>
        </p:nvSpPr>
        <p:spPr>
          <a:xfrm>
            <a:off x="0" y="5108072"/>
            <a:ext cx="12192000" cy="352800"/>
          </a:xfrm>
          <a:blipFill dpi="0" rotWithShape="1">
            <a:blip r:embed="rId2"/>
            <a:srcRect/>
            <a:stretch>
              <a:fillRect/>
            </a:stretch>
          </a:blipFill>
          <a:ln>
            <a:noFill/>
          </a:ln>
          <a:effectLst/>
        </p:spPr>
        <p:txBody>
          <a:bodyPr lIns="576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3" name="Text Placeholder 69">
            <a:extLst>
              <a:ext uri="{FF2B5EF4-FFF2-40B4-BE49-F238E27FC236}">
                <a16:creationId xmlns:a16="http://schemas.microsoft.com/office/drawing/2014/main" id="{EAC4FBD6-5E88-E34F-8DC2-FB0F2C077716}"/>
              </a:ext>
            </a:extLst>
          </p:cNvPr>
          <p:cNvSpPr>
            <a:spLocks noGrp="1"/>
          </p:cNvSpPr>
          <p:nvPr>
            <p:ph type="body" sz="quarter" idx="36" hasCustomPrompt="1"/>
          </p:nvPr>
        </p:nvSpPr>
        <p:spPr>
          <a:xfrm>
            <a:off x="10381560" y="5108072"/>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4" name="Text Placeholder 6">
            <a:extLst>
              <a:ext uri="{FF2B5EF4-FFF2-40B4-BE49-F238E27FC236}">
                <a16:creationId xmlns:a16="http://schemas.microsoft.com/office/drawing/2014/main" id="{4169DB4D-BE6F-E041-BBF4-2D644201504F}"/>
              </a:ext>
            </a:extLst>
          </p:cNvPr>
          <p:cNvSpPr>
            <a:spLocks noGrp="1"/>
          </p:cNvSpPr>
          <p:nvPr>
            <p:ph type="body" idx="37" hasCustomPrompt="1"/>
          </p:nvPr>
        </p:nvSpPr>
        <p:spPr>
          <a:xfrm>
            <a:off x="0" y="5460558"/>
            <a:ext cx="12192000" cy="352800"/>
          </a:xfrm>
          <a:blipFill dpi="0" rotWithShape="1">
            <a:blip r:embed="rId2"/>
            <a:srcRect/>
            <a:stretch>
              <a:fillRect/>
            </a:stretch>
          </a:blipFill>
          <a:ln>
            <a:noFill/>
          </a:ln>
          <a:effectLst/>
        </p:spPr>
        <p:txBody>
          <a:bodyPr lIns="576000" rIns="36000" anchor="ctr"/>
          <a:lstStyle>
            <a:lvl1pPr marL="0" indent="0">
              <a:spcBef>
                <a:spcPts val="0"/>
              </a:spcBef>
              <a:spcAft>
                <a:spcPts val="0"/>
              </a:spcAft>
              <a:buFontTx/>
              <a:buNone/>
              <a:defRPr b="0">
                <a:solidFill>
                  <a:schemeClr val="accent1"/>
                </a:solidFill>
              </a:defRPr>
            </a:lvl1pPr>
            <a:lvl2pPr marL="0">
              <a:spcBef>
                <a:spcPts val="0"/>
              </a:spcBef>
              <a:spcAft>
                <a:spcPts val="0"/>
              </a:spcAft>
              <a:buFontTx/>
              <a:buNone/>
              <a:defRPr>
                <a:solidFill>
                  <a:schemeClr val="accent1"/>
                </a:solidFill>
              </a:defRPr>
            </a:lvl2pPr>
            <a:lvl3pPr marL="0" indent="0">
              <a:spcBef>
                <a:spcPts val="0"/>
              </a:spcBef>
              <a:spcAft>
                <a:spcPts val="0"/>
              </a:spcAft>
              <a:buFontTx/>
              <a:buNone/>
              <a:defRPr>
                <a:solidFill>
                  <a:schemeClr val="accent1"/>
                </a:solidFill>
              </a:defRPr>
            </a:lvl3pPr>
            <a:lvl4pPr marL="0" indent="0">
              <a:spcBef>
                <a:spcPts val="0"/>
              </a:spcBef>
              <a:spcAft>
                <a:spcPts val="0"/>
              </a:spcAft>
              <a:buFontTx/>
              <a:buNone/>
              <a:defRPr>
                <a:solidFill>
                  <a:schemeClr val="accent1"/>
                </a:solidFill>
              </a:defRPr>
            </a:lvl4pPr>
            <a:lvl5pPr marL="0" indent="0">
              <a:spcBef>
                <a:spcPts val="0"/>
              </a:spcBef>
              <a:spcAft>
                <a:spcPts val="0"/>
              </a:spcAft>
              <a:buFontTx/>
              <a:buNone/>
              <a:defRPr>
                <a:solidFill>
                  <a:schemeClr val="accent1"/>
                </a:solidFill>
              </a:defRPr>
            </a:lvl5pPr>
            <a:lvl6pPr marL="0" indent="0">
              <a:spcBef>
                <a:spcPts val="0"/>
              </a:spcBef>
              <a:spcAft>
                <a:spcPts val="0"/>
              </a:spcAft>
              <a:buFontTx/>
              <a:buNone/>
              <a:defRPr>
                <a:solidFill>
                  <a:schemeClr val="accent1"/>
                </a:solidFill>
              </a:defRPr>
            </a:lvl6pPr>
            <a:lvl7pPr marL="0" indent="0">
              <a:spcBef>
                <a:spcPts val="0"/>
              </a:spcBef>
              <a:spcAft>
                <a:spcPts val="0"/>
              </a:spcAft>
              <a:buFontTx/>
              <a:buNone/>
              <a:defRPr>
                <a:solidFill>
                  <a:schemeClr val="accent1"/>
                </a:solidFill>
              </a:defRPr>
            </a:lvl7pPr>
            <a:lvl8pPr marL="0" indent="0">
              <a:spcBef>
                <a:spcPts val="0"/>
              </a:spcBef>
              <a:spcAft>
                <a:spcPts val="0"/>
              </a:spcAft>
              <a:buFontTx/>
              <a:buNone/>
              <a:defRPr>
                <a:solidFill>
                  <a:schemeClr val="accent1"/>
                </a:solidFill>
              </a:defRPr>
            </a:lvl8pPr>
            <a:lvl9pPr marL="0" indent="0">
              <a:spcBef>
                <a:spcPts val="0"/>
              </a:spcBef>
              <a:spcAft>
                <a:spcPts val="0"/>
              </a:spcAft>
              <a:buFontTx/>
              <a:buNone/>
              <a:defRPr>
                <a:solidFill>
                  <a:schemeClr val="accent1"/>
                </a:solidFill>
              </a:defRPr>
            </a:lvl9pPr>
          </a:lstStyle>
          <a:p>
            <a:pPr lvl="0"/>
            <a:r>
              <a:rPr lang="en-US"/>
              <a:t>Click to add agenda item</a:t>
            </a:r>
          </a:p>
        </p:txBody>
      </p:sp>
      <p:sp>
        <p:nvSpPr>
          <p:cNvPr id="165" name="Text Placeholder 69">
            <a:extLst>
              <a:ext uri="{FF2B5EF4-FFF2-40B4-BE49-F238E27FC236}">
                <a16:creationId xmlns:a16="http://schemas.microsoft.com/office/drawing/2014/main" id="{EF574AB8-FA67-6841-815F-020BC196CFE4}"/>
              </a:ext>
            </a:extLst>
          </p:cNvPr>
          <p:cNvSpPr>
            <a:spLocks noGrp="1"/>
          </p:cNvSpPr>
          <p:nvPr>
            <p:ph type="body" sz="quarter" idx="38" hasCustomPrompt="1"/>
          </p:nvPr>
        </p:nvSpPr>
        <p:spPr>
          <a:xfrm>
            <a:off x="10381560" y="5460558"/>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166" name="Text Placeholder 6">
            <a:extLst>
              <a:ext uri="{FF2B5EF4-FFF2-40B4-BE49-F238E27FC236}">
                <a16:creationId xmlns:a16="http://schemas.microsoft.com/office/drawing/2014/main" id="{0459AF7C-F9C3-8848-B7D8-3D970B0ABB9C}"/>
              </a:ext>
            </a:extLst>
          </p:cNvPr>
          <p:cNvSpPr>
            <a:spLocks noGrp="1"/>
          </p:cNvSpPr>
          <p:nvPr>
            <p:ph type="body" idx="39" hasCustomPrompt="1"/>
          </p:nvPr>
        </p:nvSpPr>
        <p:spPr>
          <a:xfrm>
            <a:off x="0" y="5813050"/>
            <a:ext cx="12192000" cy="352800"/>
          </a:xfrm>
          <a:blipFill dpi="0" rotWithShape="1">
            <a:blip r:embed="rId2"/>
            <a:srcRect/>
            <a:stretch>
              <a:fillRect/>
            </a:stretch>
          </a:blipFill>
          <a:ln>
            <a:noFill/>
          </a:ln>
          <a:effectLst/>
        </p:spPr>
        <p:txBody>
          <a:bodyPr lIns="576000" rIns="36000" anchor="ctr"/>
          <a:lstStyle>
            <a:lvl1pPr marL="0" indent="0">
              <a:spcBef>
                <a:spcPts val="0"/>
              </a:spcBef>
              <a:spcAft>
                <a:spcPts val="0"/>
              </a:spcAft>
              <a:buFontTx/>
              <a:buNone/>
              <a:tabLst/>
              <a:defRPr b="0">
                <a:solidFill>
                  <a:schemeClr val="accent1"/>
                </a:solidFill>
              </a:defRPr>
            </a:lvl1pPr>
            <a:lvl2pPr marL="0" indent="0">
              <a:spcBef>
                <a:spcPts val="0"/>
              </a:spcBef>
              <a:spcAft>
                <a:spcPts val="0"/>
              </a:spcAft>
              <a:buFontTx/>
              <a:buNone/>
              <a:tabLst/>
              <a:defRPr>
                <a:solidFill>
                  <a:schemeClr val="accent1"/>
                </a:solidFill>
              </a:defRPr>
            </a:lvl2pPr>
            <a:lvl3pPr marL="0" indent="0">
              <a:spcBef>
                <a:spcPts val="0"/>
              </a:spcBef>
              <a:spcAft>
                <a:spcPts val="0"/>
              </a:spcAft>
              <a:buFontTx/>
              <a:buNone/>
              <a:tabLst/>
              <a:defRPr>
                <a:solidFill>
                  <a:schemeClr val="accent1"/>
                </a:solidFill>
              </a:defRPr>
            </a:lvl3pPr>
            <a:lvl4pPr marL="0" indent="0">
              <a:spcBef>
                <a:spcPts val="0"/>
              </a:spcBef>
              <a:spcAft>
                <a:spcPts val="0"/>
              </a:spcAft>
              <a:buFontTx/>
              <a:buNone/>
              <a:tabLst/>
              <a:defRPr>
                <a:solidFill>
                  <a:schemeClr val="accent1"/>
                </a:solidFill>
              </a:defRPr>
            </a:lvl4pPr>
            <a:lvl5pPr marL="0" indent="0">
              <a:spcBef>
                <a:spcPts val="0"/>
              </a:spcBef>
              <a:spcAft>
                <a:spcPts val="0"/>
              </a:spcAft>
              <a:buFontTx/>
              <a:buNone/>
              <a:tabLst/>
              <a:defRPr>
                <a:solidFill>
                  <a:schemeClr val="accent1"/>
                </a:solidFill>
              </a:defRPr>
            </a:lvl5pPr>
            <a:lvl6pPr marL="0" indent="0">
              <a:spcBef>
                <a:spcPts val="0"/>
              </a:spcBef>
              <a:spcAft>
                <a:spcPts val="0"/>
              </a:spcAft>
              <a:buFontTx/>
              <a:buNone/>
              <a:tabLst/>
              <a:defRPr>
                <a:solidFill>
                  <a:schemeClr val="accent1"/>
                </a:solidFill>
              </a:defRPr>
            </a:lvl6pPr>
            <a:lvl7pPr marL="0" indent="0">
              <a:spcBef>
                <a:spcPts val="0"/>
              </a:spcBef>
              <a:spcAft>
                <a:spcPts val="0"/>
              </a:spcAft>
              <a:buFontTx/>
              <a:buNone/>
              <a:tabLst/>
              <a:defRPr>
                <a:solidFill>
                  <a:schemeClr val="accent1"/>
                </a:solidFill>
              </a:defRPr>
            </a:lvl7pPr>
            <a:lvl8pPr marL="0" indent="0">
              <a:spcBef>
                <a:spcPts val="0"/>
              </a:spcBef>
              <a:spcAft>
                <a:spcPts val="0"/>
              </a:spcAft>
              <a:buFontTx/>
              <a:buNone/>
              <a:tabLst/>
              <a:defRPr>
                <a:solidFill>
                  <a:schemeClr val="accent1"/>
                </a:solidFill>
              </a:defRPr>
            </a:lvl8pPr>
            <a:lvl9pPr marL="0" indent="0">
              <a:spcBef>
                <a:spcPts val="0"/>
              </a:spcBef>
              <a:spcAft>
                <a:spcPts val="0"/>
              </a:spcAft>
              <a:buFontTx/>
              <a:buNone/>
              <a:tabLst/>
              <a:defRPr>
                <a:solidFill>
                  <a:schemeClr val="accent1"/>
                </a:solidFill>
              </a:defRPr>
            </a:lvl9pPr>
          </a:lstStyle>
          <a:p>
            <a:pPr lvl="0"/>
            <a:r>
              <a:rPr lang="en-US"/>
              <a:t>Click to add agenda item</a:t>
            </a:r>
          </a:p>
        </p:txBody>
      </p:sp>
      <p:sp>
        <p:nvSpPr>
          <p:cNvPr id="167" name="Text Placeholder 69">
            <a:extLst>
              <a:ext uri="{FF2B5EF4-FFF2-40B4-BE49-F238E27FC236}">
                <a16:creationId xmlns:a16="http://schemas.microsoft.com/office/drawing/2014/main" id="{A130898E-B3C8-8D4A-86AB-EE7C88D7DE71}"/>
              </a:ext>
            </a:extLst>
          </p:cNvPr>
          <p:cNvSpPr>
            <a:spLocks noGrp="1"/>
          </p:cNvSpPr>
          <p:nvPr>
            <p:ph type="body" sz="quarter" idx="40" hasCustomPrompt="1"/>
          </p:nvPr>
        </p:nvSpPr>
        <p:spPr>
          <a:xfrm>
            <a:off x="10381560" y="5813050"/>
            <a:ext cx="1239144" cy="352800"/>
          </a:xfrm>
          <a:prstGeom prst="rect">
            <a:avLst/>
          </a:prstGeom>
          <a:noFill/>
          <a:ln>
            <a:noFill/>
          </a:ln>
        </p:spPr>
        <p:txBody>
          <a:bodyPr wrap="square" lIns="0" rIns="0" anchor="ctr">
            <a:noAutofit/>
          </a:bodyPr>
          <a:lstStyle>
            <a:lvl1pPr marL="0" indent="0" algn="r">
              <a:spcBef>
                <a:spcPts val="0"/>
              </a:spcBef>
              <a:spcAft>
                <a:spcPts val="0"/>
              </a:spcAft>
              <a:buFontTx/>
              <a:buNone/>
              <a:defRPr b="0">
                <a:solidFill>
                  <a:schemeClr val="accent1"/>
                </a:solidFill>
              </a:defRPr>
            </a:lvl1pPr>
            <a:lvl2pPr marL="0" algn="r">
              <a:spcBef>
                <a:spcPts val="0"/>
              </a:spcBef>
              <a:spcAft>
                <a:spcPts val="0"/>
              </a:spcAft>
              <a:buFontTx/>
              <a:buNone/>
              <a:defRPr>
                <a:solidFill>
                  <a:schemeClr val="accent1"/>
                </a:solidFill>
              </a:defRPr>
            </a:lvl2pPr>
            <a:lvl3pPr marL="0" indent="0" algn="r">
              <a:spcBef>
                <a:spcPts val="0"/>
              </a:spcBef>
              <a:spcAft>
                <a:spcPts val="0"/>
              </a:spcAft>
              <a:buFontTx/>
              <a:buNone/>
              <a:defRPr>
                <a:solidFill>
                  <a:schemeClr val="accent1"/>
                </a:solidFill>
              </a:defRPr>
            </a:lvl3pPr>
            <a:lvl4pPr marL="0" indent="0" algn="r">
              <a:spcBef>
                <a:spcPts val="0"/>
              </a:spcBef>
              <a:spcAft>
                <a:spcPts val="0"/>
              </a:spcAft>
              <a:buFontTx/>
              <a:buNone/>
              <a:defRPr>
                <a:solidFill>
                  <a:schemeClr val="accent1"/>
                </a:solidFill>
              </a:defRPr>
            </a:lvl4pPr>
            <a:lvl5pPr marL="0" indent="0" algn="r">
              <a:spcBef>
                <a:spcPts val="0"/>
              </a:spcBef>
              <a:spcAft>
                <a:spcPts val="0"/>
              </a:spcAft>
              <a:buFontTx/>
              <a:buNone/>
              <a:defRPr>
                <a:solidFill>
                  <a:schemeClr val="accent1"/>
                </a:solidFill>
              </a:defRPr>
            </a:lvl5pPr>
            <a:lvl6pPr marL="0" indent="0" algn="r">
              <a:spcBef>
                <a:spcPts val="0"/>
              </a:spcBef>
              <a:spcAft>
                <a:spcPts val="0"/>
              </a:spcAft>
              <a:buFontTx/>
              <a:buNone/>
              <a:defRPr>
                <a:solidFill>
                  <a:schemeClr val="accent1"/>
                </a:solidFill>
              </a:defRPr>
            </a:lvl6pPr>
            <a:lvl7pPr marL="0" indent="0" algn="r">
              <a:spcBef>
                <a:spcPts val="0"/>
              </a:spcBef>
              <a:spcAft>
                <a:spcPts val="0"/>
              </a:spcAft>
              <a:buFontTx/>
              <a:buNone/>
              <a:defRPr>
                <a:solidFill>
                  <a:schemeClr val="accent1"/>
                </a:solidFill>
              </a:defRPr>
            </a:lvl7pPr>
            <a:lvl8pPr marL="0" indent="0" algn="r">
              <a:spcBef>
                <a:spcPts val="0"/>
              </a:spcBef>
              <a:spcAft>
                <a:spcPts val="0"/>
              </a:spcAft>
              <a:buFontTx/>
              <a:buNone/>
              <a:defRPr>
                <a:solidFill>
                  <a:schemeClr val="accent1"/>
                </a:solidFill>
              </a:defRPr>
            </a:lvl8pPr>
            <a:lvl9pPr marL="0" indent="0" algn="r">
              <a:spcBef>
                <a:spcPts val="0"/>
              </a:spcBef>
              <a:spcAft>
                <a:spcPts val="0"/>
              </a:spcAft>
              <a:buFontTx/>
              <a:buNone/>
              <a:defRPr>
                <a:solidFill>
                  <a:schemeClr val="accent1"/>
                </a:solidFill>
              </a:defRPr>
            </a:lvl9pPr>
          </a:lstStyle>
          <a:p>
            <a:pPr lvl="0"/>
            <a:r>
              <a:rPr lang="en-US"/>
              <a:t>#</a:t>
            </a:r>
          </a:p>
        </p:txBody>
      </p:sp>
      <p:sp>
        <p:nvSpPr>
          <p:cNvPr id="9" name="Date Placeholder 8">
            <a:extLst>
              <a:ext uri="{FF2B5EF4-FFF2-40B4-BE49-F238E27FC236}">
                <a16:creationId xmlns:a16="http://schemas.microsoft.com/office/drawing/2014/main" id="{1BD1BB5F-2891-C741-80FB-ACCBFEFCAA72}"/>
              </a:ext>
            </a:extLst>
          </p:cNvPr>
          <p:cNvSpPr>
            <a:spLocks noGrp="1"/>
          </p:cNvSpPr>
          <p:nvPr>
            <p:ph type="dt" sz="half" idx="136"/>
          </p:nvPr>
        </p:nvSpPr>
        <p:spPr/>
        <p:txBody>
          <a:bodyPr/>
          <a:lstStyle/>
          <a:p>
            <a:endParaRPr lang="en-US"/>
          </a:p>
        </p:txBody>
      </p:sp>
      <p:sp>
        <p:nvSpPr>
          <p:cNvPr id="10" name="Footer Placeholder 9">
            <a:extLst>
              <a:ext uri="{FF2B5EF4-FFF2-40B4-BE49-F238E27FC236}">
                <a16:creationId xmlns:a16="http://schemas.microsoft.com/office/drawing/2014/main" id="{9FD48C64-B26D-4248-ADFF-B57DB1CAC3A7}"/>
              </a:ext>
            </a:extLst>
          </p:cNvPr>
          <p:cNvSpPr>
            <a:spLocks noGrp="1"/>
          </p:cNvSpPr>
          <p:nvPr>
            <p:ph type="ftr" sz="quarter" idx="137"/>
          </p:nvPr>
        </p:nvSpPr>
        <p:spPr/>
        <p:txBody>
          <a:bodyPr/>
          <a:lstStyle/>
          <a:p>
            <a:endParaRPr lang="en-US"/>
          </a:p>
        </p:txBody>
      </p:sp>
      <p:sp>
        <p:nvSpPr>
          <p:cNvPr id="11" name="Slide Number Placeholder 10">
            <a:extLst>
              <a:ext uri="{FF2B5EF4-FFF2-40B4-BE49-F238E27FC236}">
                <a16:creationId xmlns:a16="http://schemas.microsoft.com/office/drawing/2014/main" id="{B1FDB9A5-CCD3-A540-98D5-77F33D645D45}"/>
              </a:ext>
            </a:extLst>
          </p:cNvPr>
          <p:cNvSpPr>
            <a:spLocks noGrp="1"/>
          </p:cNvSpPr>
          <p:nvPr>
            <p:ph type="sldNum" sz="quarter" idx="138"/>
          </p:nvPr>
        </p:nvSpPr>
        <p:spPr/>
        <p:txBody>
          <a:bodyPr/>
          <a:lstStyle/>
          <a:p>
            <a:pPr marL="12700"/>
            <a:fld id="{078C017C-E1B9-8443-B047-B08AAA027B45}" type="slidenum">
              <a:rPr lang="en-US" smtClean="0"/>
              <a:pPr marL="12700"/>
              <a:t>‹#›</a:t>
            </a:fld>
            <a:endParaRPr lang="en-US"/>
          </a:p>
        </p:txBody>
      </p:sp>
    </p:spTree>
    <p:extLst>
      <p:ext uri="{BB962C8B-B14F-4D97-AF65-F5344CB8AC3E}">
        <p14:creationId xmlns:p14="http://schemas.microsoft.com/office/powerpoint/2010/main" val="386707808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wo Content (Stacke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4" name="Content Placeholder 13">
            <a:extLst>
              <a:ext uri="{FF2B5EF4-FFF2-40B4-BE49-F238E27FC236}">
                <a16:creationId xmlns:a16="http://schemas.microsoft.com/office/drawing/2014/main" id="{D7070C02-8D3D-AA4B-B6D3-432E3D380E3C}"/>
              </a:ext>
            </a:extLst>
          </p:cNvPr>
          <p:cNvSpPr>
            <a:spLocks noGrp="1"/>
          </p:cNvSpPr>
          <p:nvPr>
            <p:ph sz="quarter" idx="104" hasCustomPrompt="1"/>
          </p:nvPr>
        </p:nvSpPr>
        <p:spPr>
          <a:xfrm>
            <a:off x="575736" y="1233489"/>
            <a:ext cx="11040531" cy="2381499"/>
          </a:xfrm>
        </p:spPr>
        <p:txBody>
          <a:bodyPr/>
          <a:lstStyle/>
          <a:p>
            <a:pPr lvl="0"/>
            <a:r>
              <a:rPr lang="en-US" dirty="0"/>
              <a:t>Click to add text, or use the icon to add a table</a:t>
            </a:r>
          </a:p>
          <a:p>
            <a:pPr lvl="1"/>
            <a:r>
              <a:rPr lang="en-US" dirty="0"/>
              <a:t>Body text (second level)</a:t>
            </a:r>
          </a:p>
          <a:p>
            <a:pPr lvl="2"/>
            <a:r>
              <a:rPr lang="en-US" dirty="0"/>
              <a:t>Square bullet (third level)</a:t>
            </a:r>
          </a:p>
          <a:p>
            <a:pPr lvl="3"/>
            <a:r>
              <a:rPr lang="en-US" dirty="0"/>
              <a:t>Dashed bullet (fourth level)</a:t>
            </a:r>
          </a:p>
          <a:p>
            <a:pPr lvl="4"/>
            <a:r>
              <a:rPr lang="en-US" dirty="0"/>
              <a:t>Dashed bullet (fifth level)</a:t>
            </a:r>
          </a:p>
        </p:txBody>
      </p:sp>
      <p:sp>
        <p:nvSpPr>
          <p:cNvPr id="6" name="Content Placeholder 13">
            <a:extLst>
              <a:ext uri="{FF2B5EF4-FFF2-40B4-BE49-F238E27FC236}">
                <a16:creationId xmlns:a16="http://schemas.microsoft.com/office/drawing/2014/main" id="{D893719C-09E6-8446-95C5-B4FC163CB027}"/>
              </a:ext>
            </a:extLst>
          </p:cNvPr>
          <p:cNvSpPr>
            <a:spLocks noGrp="1"/>
          </p:cNvSpPr>
          <p:nvPr>
            <p:ph sz="quarter" idx="105" hasCustomPrompt="1"/>
          </p:nvPr>
        </p:nvSpPr>
        <p:spPr>
          <a:xfrm>
            <a:off x="575736" y="3784352"/>
            <a:ext cx="11040531" cy="2381499"/>
          </a:xfrm>
        </p:spPr>
        <p:txBody>
          <a:bodyPr/>
          <a:lstStyle/>
          <a:p>
            <a:pPr lvl="0"/>
            <a:r>
              <a:rPr lang="en-US" dirty="0"/>
              <a:t>Click to add text, or use the icon to add a table</a:t>
            </a:r>
          </a:p>
          <a:p>
            <a:pPr lvl="1"/>
            <a:r>
              <a:rPr lang="en-US" dirty="0"/>
              <a:t>Body text (second level)</a:t>
            </a:r>
          </a:p>
          <a:p>
            <a:pPr lvl="2"/>
            <a:r>
              <a:rPr lang="en-US" dirty="0"/>
              <a:t>Square bullet (third level)</a:t>
            </a:r>
          </a:p>
          <a:p>
            <a:pPr lvl="3"/>
            <a:r>
              <a:rPr lang="en-US" dirty="0"/>
              <a:t>Dashed bullet (fourth level)</a:t>
            </a:r>
          </a:p>
          <a:p>
            <a:pPr lvl="4"/>
            <a:r>
              <a:rPr lang="en-US" dirty="0"/>
              <a:t>Dashed bullet (fifth level)</a:t>
            </a:r>
          </a:p>
        </p:txBody>
      </p:sp>
      <p:sp>
        <p:nvSpPr>
          <p:cNvPr id="1000" name="Footnotes Placeholder">
            <a:extLst>
              <a:ext uri="{FF2B5EF4-FFF2-40B4-BE49-F238E27FC236}">
                <a16:creationId xmlns:a16="http://schemas.microsoft.com/office/drawing/2014/main" id="{4A06038C-128D-734E-9D80-8DBA43C1A8F8}"/>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5" name="Date Placeholder 4">
            <a:extLst>
              <a:ext uri="{FF2B5EF4-FFF2-40B4-BE49-F238E27FC236}">
                <a16:creationId xmlns:a16="http://schemas.microsoft.com/office/drawing/2014/main" id="{402CC4C5-26A5-4F45-BB5F-846EFE4C15E8}"/>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DEC332D7-9604-5C49-9FCA-6EED3EB703A5}"/>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D2381C1A-6FC0-BF4F-8124-7B7DCAB4EE32}"/>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5" name="Group 34">
            <a:extLst>
              <a:ext uri="{FF2B5EF4-FFF2-40B4-BE49-F238E27FC236}">
                <a16:creationId xmlns:a16="http://schemas.microsoft.com/office/drawing/2014/main" id="{8D404F43-75AD-CE4A-A7B8-A9E3FF14D26D}"/>
              </a:ext>
            </a:extLst>
          </p:cNvPr>
          <p:cNvGrpSpPr/>
          <p:nvPr userDrawn="1"/>
        </p:nvGrpSpPr>
        <p:grpSpPr>
          <a:xfrm>
            <a:off x="12532243" y="1"/>
            <a:ext cx="3965960" cy="6857995"/>
            <a:chOff x="9399182" y="0"/>
            <a:chExt cx="2974470" cy="6857995"/>
          </a:xfrm>
        </p:grpSpPr>
        <p:sp>
          <p:nvSpPr>
            <p:cNvPr id="36" name="Rectangle 35">
              <a:extLst>
                <a:ext uri="{FF2B5EF4-FFF2-40B4-BE49-F238E27FC236}">
                  <a16:creationId xmlns:a16="http://schemas.microsoft.com/office/drawing/2014/main" id="{1014F8BC-C417-2D44-A2FC-282CC7C25B35}"/>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37" name="Picture 36">
              <a:extLst>
                <a:ext uri="{FF2B5EF4-FFF2-40B4-BE49-F238E27FC236}">
                  <a16:creationId xmlns:a16="http://schemas.microsoft.com/office/drawing/2014/main" id="{55C16C39-1CD8-AA44-89DD-0FA2F2460F07}"/>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38" name="Group 37">
              <a:extLst>
                <a:ext uri="{FF2B5EF4-FFF2-40B4-BE49-F238E27FC236}">
                  <a16:creationId xmlns:a16="http://schemas.microsoft.com/office/drawing/2014/main" id="{7A7AD89C-ED0F-1B48-B39F-C037B93F2E6A}"/>
                </a:ext>
              </a:extLst>
            </p:cNvPr>
            <p:cNvGrpSpPr/>
            <p:nvPr userDrawn="1"/>
          </p:nvGrpSpPr>
          <p:grpSpPr>
            <a:xfrm>
              <a:off x="9541497" y="162442"/>
              <a:ext cx="2819400" cy="814510"/>
              <a:chOff x="-3644733" y="165205"/>
              <a:chExt cx="2819400" cy="814510"/>
            </a:xfrm>
          </p:grpSpPr>
          <p:sp>
            <p:nvSpPr>
              <p:cNvPr id="92" name="Rectangle 91">
                <a:extLst>
                  <a:ext uri="{FF2B5EF4-FFF2-40B4-BE49-F238E27FC236}">
                    <a16:creationId xmlns:a16="http://schemas.microsoft.com/office/drawing/2014/main" id="{F235AC39-43AE-6F40-AB10-243ECD167CE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93" name="TextBox 92">
                <a:extLst>
                  <a:ext uri="{FF2B5EF4-FFF2-40B4-BE49-F238E27FC236}">
                    <a16:creationId xmlns:a16="http://schemas.microsoft.com/office/drawing/2014/main" id="{3D35AB1B-2CF2-9747-BA0D-43B811696209}"/>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94" name="Picture 93">
                <a:extLst>
                  <a:ext uri="{FF2B5EF4-FFF2-40B4-BE49-F238E27FC236}">
                    <a16:creationId xmlns:a16="http://schemas.microsoft.com/office/drawing/2014/main" id="{8C7C35E0-1DE8-244B-961E-FE49AB67FB0A}"/>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9" name="Group 38">
              <a:extLst>
                <a:ext uri="{FF2B5EF4-FFF2-40B4-BE49-F238E27FC236}">
                  <a16:creationId xmlns:a16="http://schemas.microsoft.com/office/drawing/2014/main" id="{CAAD5832-1ACD-084B-A42D-A8C00D8AAA8B}"/>
                </a:ext>
              </a:extLst>
            </p:cNvPr>
            <p:cNvGrpSpPr/>
            <p:nvPr userDrawn="1"/>
          </p:nvGrpSpPr>
          <p:grpSpPr>
            <a:xfrm>
              <a:off x="9558507" y="1119891"/>
              <a:ext cx="2639328" cy="202617"/>
              <a:chOff x="9303325" y="149270"/>
              <a:chExt cx="2639328" cy="202617"/>
            </a:xfrm>
          </p:grpSpPr>
          <p:sp>
            <p:nvSpPr>
              <p:cNvPr id="90" name="TextBox 89">
                <a:extLst>
                  <a:ext uri="{FF2B5EF4-FFF2-40B4-BE49-F238E27FC236}">
                    <a16:creationId xmlns:a16="http://schemas.microsoft.com/office/drawing/2014/main" id="{76712AB1-475C-5B42-87BD-53A6197FA783}"/>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91" name="Straight Connector 90">
                <a:extLst>
                  <a:ext uri="{FF2B5EF4-FFF2-40B4-BE49-F238E27FC236}">
                    <a16:creationId xmlns:a16="http://schemas.microsoft.com/office/drawing/2014/main" id="{4F5BD1A5-A975-234B-A289-B0633D1C2953}"/>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40" name="Group 39">
              <a:extLst>
                <a:ext uri="{FF2B5EF4-FFF2-40B4-BE49-F238E27FC236}">
                  <a16:creationId xmlns:a16="http://schemas.microsoft.com/office/drawing/2014/main" id="{C8881626-21AA-D14A-AD25-7121DF34EC26}"/>
                </a:ext>
              </a:extLst>
            </p:cNvPr>
            <p:cNvGrpSpPr/>
            <p:nvPr userDrawn="1"/>
          </p:nvGrpSpPr>
          <p:grpSpPr>
            <a:xfrm>
              <a:off x="9554253" y="3678850"/>
              <a:ext cx="2735151" cy="2655095"/>
              <a:chOff x="9541497" y="2555080"/>
              <a:chExt cx="2735151" cy="2655095"/>
            </a:xfrm>
          </p:grpSpPr>
          <p:grpSp>
            <p:nvGrpSpPr>
              <p:cNvPr id="53" name="Group 52">
                <a:extLst>
                  <a:ext uri="{FF2B5EF4-FFF2-40B4-BE49-F238E27FC236}">
                    <a16:creationId xmlns:a16="http://schemas.microsoft.com/office/drawing/2014/main" id="{30746657-077C-3546-9563-5E5BA10BE248}"/>
                  </a:ext>
                </a:extLst>
              </p:cNvPr>
              <p:cNvGrpSpPr/>
              <p:nvPr userDrawn="1"/>
            </p:nvGrpSpPr>
            <p:grpSpPr>
              <a:xfrm>
                <a:off x="9541497" y="2555080"/>
                <a:ext cx="2735151" cy="2655095"/>
                <a:chOff x="9296567" y="4910411"/>
                <a:chExt cx="2735151" cy="2655095"/>
              </a:xfrm>
            </p:grpSpPr>
            <p:sp>
              <p:nvSpPr>
                <p:cNvPr id="86" name="Rectangle 85">
                  <a:extLst>
                    <a:ext uri="{FF2B5EF4-FFF2-40B4-BE49-F238E27FC236}">
                      <a16:creationId xmlns:a16="http://schemas.microsoft.com/office/drawing/2014/main" id="{D68127FC-49D0-D74A-9EA8-442E1736CB3A}"/>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7" name="TextBox 86">
                  <a:extLst>
                    <a:ext uri="{FF2B5EF4-FFF2-40B4-BE49-F238E27FC236}">
                      <a16:creationId xmlns:a16="http://schemas.microsoft.com/office/drawing/2014/main" id="{D7249D72-5168-BB4C-87A9-96903DE73F6A}"/>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88" name="Graphic 87">
                  <a:extLst>
                    <a:ext uri="{FF2B5EF4-FFF2-40B4-BE49-F238E27FC236}">
                      <a16:creationId xmlns:a16="http://schemas.microsoft.com/office/drawing/2014/main" id="{19B19338-5CD2-7648-ABBF-92C68606669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9" name="TextBox 88">
                  <a:extLst>
                    <a:ext uri="{FF2B5EF4-FFF2-40B4-BE49-F238E27FC236}">
                      <a16:creationId xmlns:a16="http://schemas.microsoft.com/office/drawing/2014/main" id="{3D7DE9F1-D936-D241-897F-E8C3A31F4213}"/>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dirty="0"/>
                    <a:t>This template automatically adds paragraph spacing between first-level text paragraphs. When pasting in content, remember to delete any extra blank lines from your text.</a:t>
                  </a:r>
                </a:p>
              </p:txBody>
            </p:sp>
          </p:grpSp>
          <p:grpSp>
            <p:nvGrpSpPr>
              <p:cNvPr id="54" name="Group 53">
                <a:extLst>
                  <a:ext uri="{FF2B5EF4-FFF2-40B4-BE49-F238E27FC236}">
                    <a16:creationId xmlns:a16="http://schemas.microsoft.com/office/drawing/2014/main" id="{9095461C-201B-214E-A77B-60BAC311D272}"/>
                  </a:ext>
                </a:extLst>
              </p:cNvPr>
              <p:cNvGrpSpPr/>
              <p:nvPr userDrawn="1"/>
            </p:nvGrpSpPr>
            <p:grpSpPr>
              <a:xfrm>
                <a:off x="9832250" y="3569700"/>
                <a:ext cx="2074000" cy="1627918"/>
                <a:chOff x="9832250" y="3617325"/>
                <a:chExt cx="2074000" cy="1627918"/>
              </a:xfrm>
            </p:grpSpPr>
            <p:pic>
              <p:nvPicPr>
                <p:cNvPr id="55" name="Picture 54">
                  <a:extLst>
                    <a:ext uri="{FF2B5EF4-FFF2-40B4-BE49-F238E27FC236}">
                      <a16:creationId xmlns:a16="http://schemas.microsoft.com/office/drawing/2014/main" id="{EB575104-562F-004A-B326-7B5EEDC843A4}"/>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56" name="Straight Connector 55">
                  <a:extLst>
                    <a:ext uri="{FF2B5EF4-FFF2-40B4-BE49-F238E27FC236}">
                      <a16:creationId xmlns:a16="http://schemas.microsoft.com/office/drawing/2014/main" id="{2D863755-CBBC-8B48-BCB9-6BB775EA83E1}"/>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711D527A-AE54-1F49-9DBB-C3CD78A4EDFB}"/>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4" name="TextBox 83">
                  <a:extLst>
                    <a:ext uri="{FF2B5EF4-FFF2-40B4-BE49-F238E27FC236}">
                      <a16:creationId xmlns:a16="http://schemas.microsoft.com/office/drawing/2014/main" id="{69096FA6-8848-D14E-8857-EF56C7EEAFD3}"/>
                    </a:ext>
                  </a:extLst>
                </p:cNvPr>
                <p:cNvSpPr txBox="1"/>
                <p:nvPr userDrawn="1"/>
              </p:nvSpPr>
              <p:spPr>
                <a:xfrm>
                  <a:off x="9832250" y="3828243"/>
                  <a:ext cx="257282"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85" name="TextBox 84">
                  <a:extLst>
                    <a:ext uri="{FF2B5EF4-FFF2-40B4-BE49-F238E27FC236}">
                      <a16:creationId xmlns:a16="http://schemas.microsoft.com/office/drawing/2014/main" id="{0A6361FD-3788-164D-82B1-B50A51D5C49E}"/>
                    </a:ext>
                  </a:extLst>
                </p:cNvPr>
                <p:cNvSpPr txBox="1"/>
                <p:nvPr userDrawn="1"/>
              </p:nvSpPr>
              <p:spPr>
                <a:xfrm>
                  <a:off x="9832250" y="4721742"/>
                  <a:ext cx="257282"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41" name="Group 40">
              <a:extLst>
                <a:ext uri="{FF2B5EF4-FFF2-40B4-BE49-F238E27FC236}">
                  <a16:creationId xmlns:a16="http://schemas.microsoft.com/office/drawing/2014/main" id="{0B28497C-1EBC-4146-9C10-1FA4511A8EB1}"/>
                </a:ext>
              </a:extLst>
            </p:cNvPr>
            <p:cNvGrpSpPr/>
            <p:nvPr userDrawn="1"/>
          </p:nvGrpSpPr>
          <p:grpSpPr>
            <a:xfrm>
              <a:off x="9558506" y="2409506"/>
              <a:ext cx="2639327" cy="684608"/>
              <a:chOff x="9558506" y="2476806"/>
              <a:chExt cx="2639327" cy="684608"/>
            </a:xfrm>
          </p:grpSpPr>
          <p:pic>
            <p:nvPicPr>
              <p:cNvPr id="50" name="Picture 49">
                <a:extLst>
                  <a:ext uri="{FF2B5EF4-FFF2-40B4-BE49-F238E27FC236}">
                    <a16:creationId xmlns:a16="http://schemas.microsoft.com/office/drawing/2014/main" id="{2C8A9567-D498-4E43-A058-AB8CDFBD67CA}"/>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51" name="Rectangle 50">
                <a:extLst>
                  <a:ext uri="{FF2B5EF4-FFF2-40B4-BE49-F238E27FC236}">
                    <a16:creationId xmlns:a16="http://schemas.microsoft.com/office/drawing/2014/main" id="{0AE214B1-0405-3F44-B02A-A17F031B193F}"/>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2" name="TextBox 51">
                <a:extLst>
                  <a:ext uri="{FF2B5EF4-FFF2-40B4-BE49-F238E27FC236}">
                    <a16:creationId xmlns:a16="http://schemas.microsoft.com/office/drawing/2014/main" id="{A031FC06-07C2-F944-B3D7-5948AB3601DB}"/>
                  </a:ext>
                </a:extLst>
              </p:cNvPr>
              <p:cNvSpPr txBox="1"/>
              <p:nvPr userDrawn="1"/>
            </p:nvSpPr>
            <p:spPr>
              <a:xfrm>
                <a:off x="9635558" y="2549805"/>
                <a:ext cx="676269" cy="430887"/>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dirty="0">
                    <a:solidFill>
                      <a:schemeClr val="bg1"/>
                    </a:solidFill>
                    <a:latin typeface="+mn-lt"/>
                    <a:ea typeface="+mn-ea"/>
                    <a:cs typeface="+mn-cs"/>
                  </a:rPr>
                  <a:t>Note: </a:t>
                </a:r>
                <a:br>
                  <a:rPr lang="en-US" sz="700" kern="1200" dirty="0">
                    <a:solidFill>
                      <a:schemeClr val="bg1"/>
                    </a:solidFill>
                    <a:latin typeface="+mn-lt"/>
                    <a:ea typeface="+mn-ea"/>
                    <a:cs typeface="+mn-cs"/>
                  </a:rPr>
                </a:br>
                <a:r>
                  <a:rPr lang="en-US" sz="700" kern="1200" dirty="0">
                    <a:solidFill>
                      <a:schemeClr val="bg1"/>
                    </a:solidFill>
                    <a:latin typeface="+mn-lt"/>
                    <a:ea typeface="+mn-ea"/>
                    <a:cs typeface="+mn-cs"/>
                  </a:rPr>
                  <a:t>For numbered lists, see the most up-to-date Asset File.</a:t>
                </a:r>
              </a:p>
            </p:txBody>
          </p:sp>
        </p:grpSp>
        <p:grpSp>
          <p:nvGrpSpPr>
            <p:cNvPr id="42" name="Group 41">
              <a:extLst>
                <a:ext uri="{FF2B5EF4-FFF2-40B4-BE49-F238E27FC236}">
                  <a16:creationId xmlns:a16="http://schemas.microsoft.com/office/drawing/2014/main" id="{3535732C-1E13-4C4A-B787-AE24B4A3C9B4}"/>
                </a:ext>
              </a:extLst>
            </p:cNvPr>
            <p:cNvGrpSpPr/>
            <p:nvPr userDrawn="1"/>
          </p:nvGrpSpPr>
          <p:grpSpPr>
            <a:xfrm>
              <a:off x="9554253" y="2414886"/>
              <a:ext cx="2819399" cy="1181890"/>
              <a:chOff x="9541498" y="3352649"/>
              <a:chExt cx="2819399" cy="1181890"/>
            </a:xfrm>
          </p:grpSpPr>
          <p:grpSp>
            <p:nvGrpSpPr>
              <p:cNvPr id="43" name="Group 42">
                <a:extLst>
                  <a:ext uri="{FF2B5EF4-FFF2-40B4-BE49-F238E27FC236}">
                    <a16:creationId xmlns:a16="http://schemas.microsoft.com/office/drawing/2014/main" id="{B88CD7CA-DBA3-C14E-A359-502F7DC9E08F}"/>
                  </a:ext>
                </a:extLst>
              </p:cNvPr>
              <p:cNvGrpSpPr/>
              <p:nvPr userDrawn="1"/>
            </p:nvGrpSpPr>
            <p:grpSpPr>
              <a:xfrm>
                <a:off x="9541498" y="3352649"/>
                <a:ext cx="2735150" cy="1181890"/>
                <a:chOff x="9541498" y="3751132"/>
                <a:chExt cx="2735150" cy="1181890"/>
              </a:xfrm>
            </p:grpSpPr>
            <p:grpSp>
              <p:nvGrpSpPr>
                <p:cNvPr id="45" name="Group 44">
                  <a:extLst>
                    <a:ext uri="{FF2B5EF4-FFF2-40B4-BE49-F238E27FC236}">
                      <a16:creationId xmlns:a16="http://schemas.microsoft.com/office/drawing/2014/main" id="{8A62CE80-1DCA-2E41-A9A2-0FBB26DC2E37}"/>
                    </a:ext>
                  </a:extLst>
                </p:cNvPr>
                <p:cNvGrpSpPr/>
                <p:nvPr userDrawn="1"/>
              </p:nvGrpSpPr>
              <p:grpSpPr>
                <a:xfrm>
                  <a:off x="9541498" y="3751132"/>
                  <a:ext cx="2735150" cy="1181890"/>
                  <a:chOff x="9296568" y="4910411"/>
                  <a:chExt cx="2735150" cy="1181890"/>
                </a:xfrm>
              </p:grpSpPr>
              <p:sp>
                <p:nvSpPr>
                  <p:cNvPr id="47" name="Rectangle 46">
                    <a:extLst>
                      <a:ext uri="{FF2B5EF4-FFF2-40B4-BE49-F238E27FC236}">
                        <a16:creationId xmlns:a16="http://schemas.microsoft.com/office/drawing/2014/main" id="{6B01E16F-8D56-AD42-BF0C-1B00F9E33346}"/>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8" name="TextBox 47">
                    <a:extLst>
                      <a:ext uri="{FF2B5EF4-FFF2-40B4-BE49-F238E27FC236}">
                        <a16:creationId xmlns:a16="http://schemas.microsoft.com/office/drawing/2014/main" id="{301AE0C3-91EA-2D43-B520-2DB261739B44}"/>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49" name="TextBox 48">
                    <a:extLst>
                      <a:ext uri="{FF2B5EF4-FFF2-40B4-BE49-F238E27FC236}">
                        <a16:creationId xmlns:a16="http://schemas.microsoft.com/office/drawing/2014/main" id="{1BAA935D-EF18-3C4F-87C9-9936893F982C}"/>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46" name="Graphic 45">
                  <a:extLst>
                    <a:ext uri="{FF2B5EF4-FFF2-40B4-BE49-F238E27FC236}">
                      <a16:creationId xmlns:a16="http://schemas.microsoft.com/office/drawing/2014/main" id="{DA1AD802-82D2-EE49-8DC0-E5CFC77362A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4" name="Picture 43">
                <a:extLst>
                  <a:ext uri="{FF2B5EF4-FFF2-40B4-BE49-F238E27FC236}">
                    <a16:creationId xmlns:a16="http://schemas.microsoft.com/office/drawing/2014/main" id="{59B2C3CC-42E2-6D46-BF1D-66B0986526F5}"/>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94672842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One Char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6" name="Chart Placeholder 2">
            <a:extLst>
              <a:ext uri="{FF2B5EF4-FFF2-40B4-BE49-F238E27FC236}">
                <a16:creationId xmlns:a16="http://schemas.microsoft.com/office/drawing/2014/main" id="{A52282EC-86DC-8D43-96A4-DCB61C454A07}"/>
              </a:ext>
            </a:extLst>
          </p:cNvPr>
          <p:cNvSpPr>
            <a:spLocks noGrp="1"/>
          </p:cNvSpPr>
          <p:nvPr>
            <p:ph type="chart" sz="quarter" idx="113"/>
          </p:nvPr>
        </p:nvSpPr>
        <p:spPr>
          <a:xfrm>
            <a:off x="575733" y="1735138"/>
            <a:ext cx="11040532" cy="4430712"/>
          </a:xfrm>
        </p:spPr>
        <p:txBody>
          <a:bodyPr/>
          <a:lstStyle>
            <a:lvl1pPr>
              <a:defRPr b="0">
                <a:solidFill>
                  <a:schemeClr val="tx1">
                    <a:lumMod val="50000"/>
                    <a:lumOff val="50000"/>
                  </a:schemeClr>
                </a:solidFill>
              </a:defRPr>
            </a:lvl1pPr>
          </a:lstStyle>
          <a:p>
            <a:r>
              <a:rPr lang="en-US"/>
              <a:t>Click icon to add chart</a:t>
            </a:r>
            <a:endParaRPr lang="en-US" dirty="0"/>
          </a:p>
        </p:txBody>
      </p:sp>
      <p:sp>
        <p:nvSpPr>
          <p:cNvPr id="1000" name="Footnotes Placeholder">
            <a:extLst>
              <a:ext uri="{FF2B5EF4-FFF2-40B4-BE49-F238E27FC236}">
                <a16:creationId xmlns:a16="http://schemas.microsoft.com/office/drawing/2014/main" id="{A5DCE5DD-26A8-1F44-AB0E-1108C6B2C629}"/>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11" name="Text Placeholder 6">
            <a:extLst>
              <a:ext uri="{FF2B5EF4-FFF2-40B4-BE49-F238E27FC236}">
                <a16:creationId xmlns:a16="http://schemas.microsoft.com/office/drawing/2014/main" id="{932E292F-93E5-C544-8958-CDEDEB71F002}"/>
              </a:ext>
            </a:extLst>
          </p:cNvPr>
          <p:cNvSpPr>
            <a:spLocks noGrp="1"/>
          </p:cNvSpPr>
          <p:nvPr>
            <p:ph type="body" sz="quarter" idx="108" hasCustomPrompt="1"/>
          </p:nvPr>
        </p:nvSpPr>
        <p:spPr>
          <a:xfrm>
            <a:off x="575734"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dirty="0"/>
              <a:t>Click to add chart title</a:t>
            </a:r>
          </a:p>
          <a:p>
            <a:pPr lvl="1"/>
            <a:r>
              <a:rPr lang="en-US" dirty="0"/>
              <a:t>Chart subtitle (second level)</a:t>
            </a:r>
          </a:p>
        </p:txBody>
      </p:sp>
      <p:grpSp>
        <p:nvGrpSpPr>
          <p:cNvPr id="56" name="Group 55">
            <a:extLst>
              <a:ext uri="{FF2B5EF4-FFF2-40B4-BE49-F238E27FC236}">
                <a16:creationId xmlns:a16="http://schemas.microsoft.com/office/drawing/2014/main" id="{46A3C5DB-48EB-1C41-B49E-663E78CA9D9E}"/>
              </a:ext>
            </a:extLst>
          </p:cNvPr>
          <p:cNvGrpSpPr/>
          <p:nvPr userDrawn="1"/>
        </p:nvGrpSpPr>
        <p:grpSpPr>
          <a:xfrm>
            <a:off x="12532244" y="-1"/>
            <a:ext cx="3948953" cy="6989737"/>
            <a:chOff x="9399182" y="-1"/>
            <a:chExt cx="2961715" cy="6989737"/>
          </a:xfrm>
        </p:grpSpPr>
        <p:sp>
          <p:nvSpPr>
            <p:cNvPr id="13" name="Rectangle 12">
              <a:extLst>
                <a:ext uri="{FF2B5EF4-FFF2-40B4-BE49-F238E27FC236}">
                  <a16:creationId xmlns:a16="http://schemas.microsoft.com/office/drawing/2014/main" id="{0DEE0A41-E466-6241-9EE4-211BECC9E5B4}"/>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46" name="Picture 45">
              <a:extLst>
                <a:ext uri="{FF2B5EF4-FFF2-40B4-BE49-F238E27FC236}">
                  <a16:creationId xmlns:a16="http://schemas.microsoft.com/office/drawing/2014/main" id="{052E85D3-7D4D-1245-9994-C9F23EA78BC0}"/>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7" name="Group 16">
              <a:extLst>
                <a:ext uri="{FF2B5EF4-FFF2-40B4-BE49-F238E27FC236}">
                  <a16:creationId xmlns:a16="http://schemas.microsoft.com/office/drawing/2014/main" id="{3188577A-9C5E-3441-8977-05779AF7AFFB}"/>
                </a:ext>
              </a:extLst>
            </p:cNvPr>
            <p:cNvGrpSpPr/>
            <p:nvPr userDrawn="1"/>
          </p:nvGrpSpPr>
          <p:grpSpPr>
            <a:xfrm>
              <a:off x="9541497" y="162442"/>
              <a:ext cx="2819400" cy="814510"/>
              <a:chOff x="-3644733" y="165205"/>
              <a:chExt cx="2819400" cy="814510"/>
            </a:xfrm>
          </p:grpSpPr>
          <p:sp>
            <p:nvSpPr>
              <p:cNvPr id="36" name="Rectangle 35">
                <a:extLst>
                  <a:ext uri="{FF2B5EF4-FFF2-40B4-BE49-F238E27FC236}">
                    <a16:creationId xmlns:a16="http://schemas.microsoft.com/office/drawing/2014/main" id="{AD2D2C92-2EB0-D842-80AE-BDB0B6BE7B3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7" name="TextBox 36">
                <a:extLst>
                  <a:ext uri="{FF2B5EF4-FFF2-40B4-BE49-F238E27FC236}">
                    <a16:creationId xmlns:a16="http://schemas.microsoft.com/office/drawing/2014/main" id="{78C5C3D8-B1F5-7049-B564-458BB9066277}"/>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38" name="Picture 37">
                <a:extLst>
                  <a:ext uri="{FF2B5EF4-FFF2-40B4-BE49-F238E27FC236}">
                    <a16:creationId xmlns:a16="http://schemas.microsoft.com/office/drawing/2014/main" id="{823A8AA4-5D28-EE4F-A6FA-701C10701D71}"/>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2" name="Group 1">
              <a:extLst>
                <a:ext uri="{FF2B5EF4-FFF2-40B4-BE49-F238E27FC236}">
                  <a16:creationId xmlns:a16="http://schemas.microsoft.com/office/drawing/2014/main" id="{5F14184C-17A3-1E43-9FDB-63D39103AC76}"/>
                </a:ext>
              </a:extLst>
            </p:cNvPr>
            <p:cNvGrpSpPr/>
            <p:nvPr userDrawn="1"/>
          </p:nvGrpSpPr>
          <p:grpSpPr>
            <a:xfrm>
              <a:off x="9521833" y="5769065"/>
              <a:ext cx="2676002" cy="1052731"/>
              <a:chOff x="9521833" y="2036288"/>
              <a:chExt cx="2676002" cy="1052731"/>
            </a:xfrm>
          </p:grpSpPr>
          <p:sp>
            <p:nvSpPr>
              <p:cNvPr id="14" name="TextBox 13">
                <a:extLst>
                  <a:ext uri="{FF2B5EF4-FFF2-40B4-BE49-F238E27FC236}">
                    <a16:creationId xmlns:a16="http://schemas.microsoft.com/office/drawing/2014/main" id="{79AE1D20-8CAB-A84B-93C0-DD3E85791803}"/>
                  </a:ext>
                </a:extLst>
              </p:cNvPr>
              <p:cNvSpPr txBox="1"/>
              <p:nvPr userDrawn="1"/>
            </p:nvSpPr>
            <p:spPr>
              <a:xfrm>
                <a:off x="9558507" y="2036288"/>
                <a:ext cx="99666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ADD A NEW CHART</a:t>
                </a:r>
              </a:p>
            </p:txBody>
          </p:sp>
          <p:cxnSp>
            <p:nvCxnSpPr>
              <p:cNvPr id="15" name="Straight Connector 14">
                <a:extLst>
                  <a:ext uri="{FF2B5EF4-FFF2-40B4-BE49-F238E27FC236}">
                    <a16:creationId xmlns:a16="http://schemas.microsoft.com/office/drawing/2014/main" id="{DF9304E6-DDDD-074C-9CA1-3FF397E8A438}"/>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7FD474BE-600B-C34D-BDE1-0491BC172E2E}"/>
                  </a:ext>
                </a:extLst>
              </p:cNvPr>
              <p:cNvGrpSpPr/>
              <p:nvPr userDrawn="1"/>
            </p:nvGrpSpPr>
            <p:grpSpPr>
              <a:xfrm>
                <a:off x="9521833" y="2361408"/>
                <a:ext cx="2557391" cy="323165"/>
                <a:chOff x="12352022" y="513115"/>
                <a:chExt cx="2557391" cy="323165"/>
              </a:xfrm>
            </p:grpSpPr>
            <p:sp>
              <p:nvSpPr>
                <p:cNvPr id="33" name="TextBox 32">
                  <a:extLst>
                    <a:ext uri="{FF2B5EF4-FFF2-40B4-BE49-F238E27FC236}">
                      <a16:creationId xmlns:a16="http://schemas.microsoft.com/office/drawing/2014/main" id="{0C88436B-93D8-554A-B5CD-918E7F26680E}"/>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5" name="TextBox 34">
                  <a:extLst>
                    <a:ext uri="{FF2B5EF4-FFF2-40B4-BE49-F238E27FC236}">
                      <a16:creationId xmlns:a16="http://schemas.microsoft.com/office/drawing/2014/main" id="{AEF79A20-3A24-A548-BB43-C0356B3E259D}"/>
                    </a:ext>
                  </a:extLst>
                </p:cNvPr>
                <p:cNvSpPr txBox="1"/>
                <p:nvPr userDrawn="1"/>
              </p:nvSpPr>
              <p:spPr>
                <a:xfrm>
                  <a:off x="12516615" y="513115"/>
                  <a:ext cx="2392798"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Open the </a:t>
                  </a:r>
                  <a:r>
                    <a:rPr lang="en-US" sz="1050" b="1" dirty="0"/>
                    <a:t>VEDP Template Assets file </a:t>
                  </a:r>
                  <a:r>
                    <a:rPr lang="en-US" sz="1050" dirty="0"/>
                    <a:t>and copy the desired chart type into your presentation.</a:t>
                  </a:r>
                </a:p>
              </p:txBody>
            </p:sp>
          </p:grpSp>
          <p:sp>
            <p:nvSpPr>
              <p:cNvPr id="19" name="TextBox 18">
                <a:extLst>
                  <a:ext uri="{FF2B5EF4-FFF2-40B4-BE49-F238E27FC236}">
                    <a16:creationId xmlns:a16="http://schemas.microsoft.com/office/drawing/2014/main" id="{0E8E16A0-1C23-7C47-A1F5-A2C39F078AEA}"/>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20" name="TextBox 19">
              <a:extLst>
                <a:ext uri="{FF2B5EF4-FFF2-40B4-BE49-F238E27FC236}">
                  <a16:creationId xmlns:a16="http://schemas.microsoft.com/office/drawing/2014/main" id="{43CAB352-C374-234F-BB73-257B0657FFA7}"/>
                </a:ext>
              </a:extLst>
            </p:cNvPr>
            <p:cNvSpPr txBox="1"/>
            <p:nvPr userDrawn="1"/>
          </p:nvSpPr>
          <p:spPr>
            <a:xfrm>
              <a:off x="9558507" y="2034287"/>
              <a:ext cx="15424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FORMAT AN EXISTING CHART</a:t>
              </a:r>
            </a:p>
          </p:txBody>
        </p:sp>
        <p:cxnSp>
          <p:nvCxnSpPr>
            <p:cNvPr id="21" name="Straight Connector 20">
              <a:extLst>
                <a:ext uri="{FF2B5EF4-FFF2-40B4-BE49-F238E27FC236}">
                  <a16:creationId xmlns:a16="http://schemas.microsoft.com/office/drawing/2014/main" id="{C19D179F-1619-3041-9EA0-F999842F6701}"/>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7B288DF0-7D33-E140-8D7C-8C53D4D2F2BD}"/>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23" name="TextBox 22">
              <a:extLst>
                <a:ext uri="{FF2B5EF4-FFF2-40B4-BE49-F238E27FC236}">
                  <a16:creationId xmlns:a16="http://schemas.microsoft.com/office/drawing/2014/main" id="{43AA5595-3102-C444-9F60-386BB986D435}"/>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24" name="TextBox 23">
              <a:extLst>
                <a:ext uri="{FF2B5EF4-FFF2-40B4-BE49-F238E27FC236}">
                  <a16:creationId xmlns:a16="http://schemas.microsoft.com/office/drawing/2014/main" id="{7012B9C1-AB90-A243-A8E5-BF0E3C62F730}"/>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the chart placeholder and then paste your existing chart.</a:t>
              </a:r>
            </a:p>
          </p:txBody>
        </p:sp>
        <p:sp>
          <p:nvSpPr>
            <p:cNvPr id="25" name="TextBox 24">
              <a:extLst>
                <a:ext uri="{FF2B5EF4-FFF2-40B4-BE49-F238E27FC236}">
                  <a16:creationId xmlns:a16="http://schemas.microsoft.com/office/drawing/2014/main" id="{232CD633-A48D-A745-9BD0-9E3BD2BB3D7B}"/>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Right-click on the chart and choose “Change Chart Type…”</a:t>
              </a:r>
            </a:p>
          </p:txBody>
        </p:sp>
        <p:sp>
          <p:nvSpPr>
            <p:cNvPr id="26" name="TextBox 25">
              <a:extLst>
                <a:ext uri="{FF2B5EF4-FFF2-40B4-BE49-F238E27FC236}">
                  <a16:creationId xmlns:a16="http://schemas.microsoft.com/office/drawing/2014/main" id="{20654DE4-AAA0-EA42-9B5D-4772B2BF09B0}"/>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27" name="TextBox 26">
              <a:extLst>
                <a:ext uri="{FF2B5EF4-FFF2-40B4-BE49-F238E27FC236}">
                  <a16:creationId xmlns:a16="http://schemas.microsoft.com/office/drawing/2014/main" id="{7DDF1272-B825-C44D-A05D-B7B4B9F4EE4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Choose one of the VEDP chart styles from the ‘Templates’ category.</a:t>
              </a:r>
            </a:p>
          </p:txBody>
        </p:sp>
        <p:sp>
          <p:nvSpPr>
            <p:cNvPr id="28" name="TextBox 27">
              <a:extLst>
                <a:ext uri="{FF2B5EF4-FFF2-40B4-BE49-F238E27FC236}">
                  <a16:creationId xmlns:a16="http://schemas.microsoft.com/office/drawing/2014/main" id="{C358145A-52DB-874A-A52C-73CB4F645F5D}"/>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30" name="Group 29">
              <a:extLst>
                <a:ext uri="{FF2B5EF4-FFF2-40B4-BE49-F238E27FC236}">
                  <a16:creationId xmlns:a16="http://schemas.microsoft.com/office/drawing/2014/main" id="{96FFEFAB-2135-954C-BE19-7078E19E9F13}"/>
                </a:ext>
              </a:extLst>
            </p:cNvPr>
            <p:cNvGrpSpPr/>
            <p:nvPr userDrawn="1"/>
          </p:nvGrpSpPr>
          <p:grpSpPr>
            <a:xfrm>
              <a:off x="9558507" y="1119891"/>
              <a:ext cx="2639328" cy="202617"/>
              <a:chOff x="9303325" y="149270"/>
              <a:chExt cx="2639328" cy="202617"/>
            </a:xfrm>
          </p:grpSpPr>
          <p:sp>
            <p:nvSpPr>
              <p:cNvPr id="31" name="TextBox 30">
                <a:extLst>
                  <a:ext uri="{FF2B5EF4-FFF2-40B4-BE49-F238E27FC236}">
                    <a16:creationId xmlns:a16="http://schemas.microsoft.com/office/drawing/2014/main" id="{18B4290E-B21A-F749-A231-9A6AC889777F}"/>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32" name="Straight Connector 31">
                <a:extLst>
                  <a:ext uri="{FF2B5EF4-FFF2-40B4-BE49-F238E27FC236}">
                    <a16:creationId xmlns:a16="http://schemas.microsoft.com/office/drawing/2014/main" id="{9FB79B68-3EBE-714A-B5BA-1F4586A34CDD}"/>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39" name="Group 38">
              <a:extLst>
                <a:ext uri="{FF2B5EF4-FFF2-40B4-BE49-F238E27FC236}">
                  <a16:creationId xmlns:a16="http://schemas.microsoft.com/office/drawing/2014/main" id="{F646EFCF-19A2-C542-B0AF-E4058343FBE8}"/>
                </a:ext>
              </a:extLst>
            </p:cNvPr>
            <p:cNvGrpSpPr/>
            <p:nvPr userDrawn="1"/>
          </p:nvGrpSpPr>
          <p:grpSpPr>
            <a:xfrm>
              <a:off x="9541497" y="4046193"/>
              <a:ext cx="2735151" cy="1533198"/>
              <a:chOff x="9296567" y="4910412"/>
              <a:chExt cx="2735151" cy="1533198"/>
            </a:xfrm>
          </p:grpSpPr>
          <p:sp>
            <p:nvSpPr>
              <p:cNvPr id="40" name="Rectangle 39">
                <a:extLst>
                  <a:ext uri="{FF2B5EF4-FFF2-40B4-BE49-F238E27FC236}">
                    <a16:creationId xmlns:a16="http://schemas.microsoft.com/office/drawing/2014/main" id="{A9C96D50-537F-644A-B8A7-9E284B5D2CAF}"/>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1" name="TextBox 40">
                <a:extLst>
                  <a:ext uri="{FF2B5EF4-FFF2-40B4-BE49-F238E27FC236}">
                    <a16:creationId xmlns:a16="http://schemas.microsoft.com/office/drawing/2014/main" id="{60BEC074-7574-D843-A815-FDC7A3F8DE1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42" name="Graphic 41">
                <a:extLst>
                  <a:ext uri="{FF2B5EF4-FFF2-40B4-BE49-F238E27FC236}">
                    <a16:creationId xmlns:a16="http://schemas.microsoft.com/office/drawing/2014/main" id="{6206800A-4989-A74C-8790-A0DBC0071B01}"/>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43" name="TextBox 42">
                <a:extLst>
                  <a:ext uri="{FF2B5EF4-FFF2-40B4-BE49-F238E27FC236}">
                    <a16:creationId xmlns:a16="http://schemas.microsoft.com/office/drawing/2014/main" id="{652EE101-17F5-7E45-B4FB-A67BC514186C}"/>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dirty="0"/>
                  <a:t>In case of error, return legend entries, data labels, and/or chart formatting by re-applying the current VEDP chart style template.</a:t>
                </a:r>
              </a:p>
              <a:p>
                <a:pPr lvl="1"/>
                <a:r>
                  <a:rPr lang="en-US" sz="900" dirty="0"/>
                  <a:t>Right-click the chart and choose</a:t>
                </a:r>
                <a:br>
                  <a:rPr lang="en-US" sz="900" dirty="0"/>
                </a:br>
                <a:r>
                  <a:rPr lang="en-US" sz="900" dirty="0"/>
                  <a:t>“Change Chart Type”</a:t>
                </a:r>
              </a:p>
              <a:p>
                <a:pPr lvl="1"/>
                <a:r>
                  <a:rPr lang="en-US" sz="900" dirty="0"/>
                  <a:t>Then choose the matching VEDP chart style from the ‘Templates’ category.</a:t>
                </a:r>
              </a:p>
            </p:txBody>
          </p:sp>
        </p:grpSp>
      </p:grpSp>
      <p:sp>
        <p:nvSpPr>
          <p:cNvPr id="7" name="Date Placeholder 6">
            <a:extLst>
              <a:ext uri="{FF2B5EF4-FFF2-40B4-BE49-F238E27FC236}">
                <a16:creationId xmlns:a16="http://schemas.microsoft.com/office/drawing/2014/main" id="{36C2C27D-9DE3-5A46-AF41-ABB478805204}"/>
              </a:ext>
            </a:extLst>
          </p:cNvPr>
          <p:cNvSpPr>
            <a:spLocks noGrp="1"/>
          </p:cNvSpPr>
          <p:nvPr userDrawn="1">
            <p:ph type="dt" sz="half" idx="114"/>
          </p:nvPr>
        </p:nvSpPr>
        <p:spPr/>
        <p:txBody>
          <a:bodyPr/>
          <a:lstStyle/>
          <a:p>
            <a:endParaRPr lang="en-US" dirty="0"/>
          </a:p>
        </p:txBody>
      </p:sp>
      <p:sp>
        <p:nvSpPr>
          <p:cNvPr id="8" name="Footer Placeholder 7">
            <a:extLst>
              <a:ext uri="{FF2B5EF4-FFF2-40B4-BE49-F238E27FC236}">
                <a16:creationId xmlns:a16="http://schemas.microsoft.com/office/drawing/2014/main" id="{D9636EAF-4BEC-1741-AAE3-F6127A0777EA}"/>
              </a:ext>
            </a:extLst>
          </p:cNvPr>
          <p:cNvSpPr>
            <a:spLocks noGrp="1"/>
          </p:cNvSpPr>
          <p:nvPr userDrawn="1">
            <p:ph type="ftr" sz="quarter" idx="115"/>
          </p:nvPr>
        </p:nvSpPr>
        <p:spPr/>
        <p:txBody>
          <a:bodyPr/>
          <a:lstStyle/>
          <a:p>
            <a:endParaRPr lang="en-US" dirty="0"/>
          </a:p>
        </p:txBody>
      </p:sp>
      <p:sp>
        <p:nvSpPr>
          <p:cNvPr id="12" name="Slide Number Placeholder 11">
            <a:extLst>
              <a:ext uri="{FF2B5EF4-FFF2-40B4-BE49-F238E27FC236}">
                <a16:creationId xmlns:a16="http://schemas.microsoft.com/office/drawing/2014/main" id="{8CFEAC8D-B87E-434B-B0C2-7C4783B1F6D9}"/>
              </a:ext>
            </a:extLst>
          </p:cNvPr>
          <p:cNvSpPr>
            <a:spLocks noGrp="1"/>
          </p:cNvSpPr>
          <p:nvPr userDrawn="1">
            <p:ph type="sldNum" sz="quarter" idx="116"/>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76161088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wo Charts">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575733" y="1735138"/>
            <a:ext cx="5344584" cy="4430712"/>
          </a:xfrm>
        </p:spPr>
        <p:txBody>
          <a:bodyPr/>
          <a:lstStyle>
            <a:lvl1pPr>
              <a:defRPr b="0">
                <a:solidFill>
                  <a:schemeClr val="tx1">
                    <a:lumMod val="50000"/>
                    <a:lumOff val="50000"/>
                  </a:schemeClr>
                </a:solidFill>
              </a:defRPr>
            </a:lvl1pPr>
          </a:lstStyle>
          <a:p>
            <a:r>
              <a:rPr lang="en-US"/>
              <a:t>Click icon to add chart</a:t>
            </a:r>
            <a:endParaRPr lang="en-US" dirty="0"/>
          </a:p>
        </p:txBody>
      </p:sp>
      <p:sp>
        <p:nvSpPr>
          <p:cNvPr id="17" name="Chart Placeholder 2">
            <a:extLst>
              <a:ext uri="{FF2B5EF4-FFF2-40B4-BE49-F238E27FC236}">
                <a16:creationId xmlns:a16="http://schemas.microsoft.com/office/drawing/2014/main" id="{F6E3593A-EC32-4649-9755-E1EA347597A8}"/>
              </a:ext>
            </a:extLst>
          </p:cNvPr>
          <p:cNvSpPr>
            <a:spLocks noGrp="1"/>
          </p:cNvSpPr>
          <p:nvPr>
            <p:ph type="chart" sz="quarter" idx="114"/>
          </p:nvPr>
        </p:nvSpPr>
        <p:spPr>
          <a:xfrm>
            <a:off x="6265208" y="1735138"/>
            <a:ext cx="5344584" cy="4430712"/>
          </a:xfrm>
        </p:spPr>
        <p:txBody>
          <a:bodyPr/>
          <a:lstStyle>
            <a:lvl1pPr>
              <a:defRPr b="0">
                <a:solidFill>
                  <a:schemeClr val="tx1">
                    <a:lumMod val="50000"/>
                    <a:lumOff val="50000"/>
                  </a:schemeClr>
                </a:solidFill>
              </a:defRPr>
            </a:lvl1pPr>
          </a:lstStyle>
          <a:p>
            <a:r>
              <a:rPr lang="en-US"/>
              <a:t>Click icon to add chart</a:t>
            </a:r>
            <a:endParaRPr lang="en-US" dirty="0"/>
          </a:p>
        </p:txBody>
      </p:sp>
      <p:sp>
        <p:nvSpPr>
          <p:cNvPr id="1000" name="Footnotes Placeholder">
            <a:extLst>
              <a:ext uri="{FF2B5EF4-FFF2-40B4-BE49-F238E27FC236}">
                <a16:creationId xmlns:a16="http://schemas.microsoft.com/office/drawing/2014/main" id="{4A426F11-55A1-3946-8771-D8A379B5AD5E}"/>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43" name="Text Placeholder 6">
            <a:extLst>
              <a:ext uri="{FF2B5EF4-FFF2-40B4-BE49-F238E27FC236}">
                <a16:creationId xmlns:a16="http://schemas.microsoft.com/office/drawing/2014/main" id="{7892DA04-F4A9-2044-B9E5-08BCF7318160}"/>
              </a:ext>
            </a:extLst>
          </p:cNvPr>
          <p:cNvSpPr>
            <a:spLocks noGrp="1"/>
          </p:cNvSpPr>
          <p:nvPr>
            <p:ph type="body" sz="quarter" idx="108" hasCustomPrompt="1"/>
          </p:nvPr>
        </p:nvSpPr>
        <p:spPr>
          <a:xfrm>
            <a:off x="575734"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dirty="0"/>
              <a:t>Click to add chart title</a:t>
            </a:r>
          </a:p>
          <a:p>
            <a:pPr lvl="1"/>
            <a:r>
              <a:rPr lang="en-US" dirty="0"/>
              <a:t>Chart subtitle (second level)</a:t>
            </a:r>
          </a:p>
        </p:txBody>
      </p:sp>
      <p:sp>
        <p:nvSpPr>
          <p:cNvPr id="44" name="Text Placeholder 6">
            <a:extLst>
              <a:ext uri="{FF2B5EF4-FFF2-40B4-BE49-F238E27FC236}">
                <a16:creationId xmlns:a16="http://schemas.microsoft.com/office/drawing/2014/main" id="{FC379CB5-F96A-5A41-ABCB-0A7229FB2403}"/>
              </a:ext>
            </a:extLst>
          </p:cNvPr>
          <p:cNvSpPr>
            <a:spLocks noGrp="1"/>
          </p:cNvSpPr>
          <p:nvPr>
            <p:ph type="body" sz="quarter" idx="115" hasCustomPrompt="1"/>
          </p:nvPr>
        </p:nvSpPr>
        <p:spPr>
          <a:xfrm>
            <a:off x="6265209"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dirty="0"/>
              <a:t>Click to add chart title</a:t>
            </a:r>
          </a:p>
          <a:p>
            <a:pPr lvl="1"/>
            <a:r>
              <a:rPr lang="en-US" dirty="0"/>
              <a:t>Chart subtitle (second level)</a:t>
            </a:r>
          </a:p>
        </p:txBody>
      </p:sp>
      <p:sp>
        <p:nvSpPr>
          <p:cNvPr id="6" name="Date Placeholder 5">
            <a:extLst>
              <a:ext uri="{FF2B5EF4-FFF2-40B4-BE49-F238E27FC236}">
                <a16:creationId xmlns:a16="http://schemas.microsoft.com/office/drawing/2014/main" id="{F379AB29-F3FD-6B4D-AB9C-5B22D89A0EA3}"/>
              </a:ext>
            </a:extLst>
          </p:cNvPr>
          <p:cNvSpPr>
            <a:spLocks noGrp="1"/>
          </p:cNvSpPr>
          <p:nvPr>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998E7724-1686-F747-8D1B-1AB14F556771}"/>
              </a:ext>
            </a:extLst>
          </p:cNvPr>
          <p:cNvSpPr>
            <a:spLocks noGrp="1"/>
          </p:cNvSpPr>
          <p:nvPr>
            <p:ph type="ftr" sz="quarter" idx="117"/>
          </p:nvPr>
        </p:nvSpPr>
        <p:spPr/>
        <p:txBody>
          <a:bodyPr/>
          <a:lstStyle/>
          <a:p>
            <a:endParaRPr lang="en-US" dirty="0"/>
          </a:p>
        </p:txBody>
      </p:sp>
      <p:sp>
        <p:nvSpPr>
          <p:cNvPr id="8" name="Slide Number Placeholder 7">
            <a:extLst>
              <a:ext uri="{FF2B5EF4-FFF2-40B4-BE49-F238E27FC236}">
                <a16:creationId xmlns:a16="http://schemas.microsoft.com/office/drawing/2014/main" id="{67560BD8-BC0B-DB45-8951-391197B87781}"/>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107" name="Group 106">
            <a:extLst>
              <a:ext uri="{FF2B5EF4-FFF2-40B4-BE49-F238E27FC236}">
                <a16:creationId xmlns:a16="http://schemas.microsoft.com/office/drawing/2014/main" id="{C83CDE6E-B074-0A42-80BB-4939BB56DB50}"/>
              </a:ext>
            </a:extLst>
          </p:cNvPr>
          <p:cNvGrpSpPr/>
          <p:nvPr userDrawn="1"/>
        </p:nvGrpSpPr>
        <p:grpSpPr>
          <a:xfrm>
            <a:off x="12532244" y="-1"/>
            <a:ext cx="3948953" cy="6989737"/>
            <a:chOff x="9399182" y="-1"/>
            <a:chExt cx="2961715" cy="6989737"/>
          </a:xfrm>
        </p:grpSpPr>
        <p:sp>
          <p:nvSpPr>
            <p:cNvPr id="108" name="Rectangle 107">
              <a:extLst>
                <a:ext uri="{FF2B5EF4-FFF2-40B4-BE49-F238E27FC236}">
                  <a16:creationId xmlns:a16="http://schemas.microsoft.com/office/drawing/2014/main" id="{4021C5A3-7B0D-1847-9EF9-A3705154127E}"/>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109" name="Picture 108">
              <a:extLst>
                <a:ext uri="{FF2B5EF4-FFF2-40B4-BE49-F238E27FC236}">
                  <a16:creationId xmlns:a16="http://schemas.microsoft.com/office/drawing/2014/main" id="{8379DC2B-3092-1142-97A8-452B83E9EEE5}"/>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10" name="Group 109">
              <a:extLst>
                <a:ext uri="{FF2B5EF4-FFF2-40B4-BE49-F238E27FC236}">
                  <a16:creationId xmlns:a16="http://schemas.microsoft.com/office/drawing/2014/main" id="{1013161E-A1C5-5749-9CE3-F720067C884E}"/>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6E6A25D8-1BC5-9B4C-8FA6-899B48E1D1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6" name="TextBox 135">
                <a:extLst>
                  <a:ext uri="{FF2B5EF4-FFF2-40B4-BE49-F238E27FC236}">
                    <a16:creationId xmlns:a16="http://schemas.microsoft.com/office/drawing/2014/main" id="{DE1EA92A-DBC7-B749-9767-E7B2D5BD99C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F3C81943-C1E3-344C-9C89-756433C45B2E}"/>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11" name="Group 110">
              <a:extLst>
                <a:ext uri="{FF2B5EF4-FFF2-40B4-BE49-F238E27FC236}">
                  <a16:creationId xmlns:a16="http://schemas.microsoft.com/office/drawing/2014/main" id="{15CE3F5C-AE46-334A-898C-C2B42488CBAF}"/>
                </a:ext>
              </a:extLst>
            </p:cNvPr>
            <p:cNvGrpSpPr/>
            <p:nvPr userDrawn="1"/>
          </p:nvGrpSpPr>
          <p:grpSpPr>
            <a:xfrm>
              <a:off x="9521833" y="5769065"/>
              <a:ext cx="2676002" cy="1052731"/>
              <a:chOff x="9521833" y="2036288"/>
              <a:chExt cx="2676002" cy="1052731"/>
            </a:xfrm>
          </p:grpSpPr>
          <p:sp>
            <p:nvSpPr>
              <p:cNvPr id="129" name="TextBox 128">
                <a:extLst>
                  <a:ext uri="{FF2B5EF4-FFF2-40B4-BE49-F238E27FC236}">
                    <a16:creationId xmlns:a16="http://schemas.microsoft.com/office/drawing/2014/main" id="{EA92E2AA-DFD9-5A4F-AB03-5A37B9AECDF8}"/>
                  </a:ext>
                </a:extLst>
              </p:cNvPr>
              <p:cNvSpPr txBox="1"/>
              <p:nvPr userDrawn="1"/>
            </p:nvSpPr>
            <p:spPr>
              <a:xfrm>
                <a:off x="9558507" y="2036288"/>
                <a:ext cx="99666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ADD A NEW CHART</a:t>
                </a:r>
              </a:p>
            </p:txBody>
          </p:sp>
          <p:cxnSp>
            <p:nvCxnSpPr>
              <p:cNvPr id="130" name="Straight Connector 129">
                <a:extLst>
                  <a:ext uri="{FF2B5EF4-FFF2-40B4-BE49-F238E27FC236}">
                    <a16:creationId xmlns:a16="http://schemas.microsoft.com/office/drawing/2014/main" id="{6DEBF951-684E-EF4C-AD44-7EE3A3D737A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B7170F64-401B-944F-BE85-D64B70491AD1}"/>
                  </a:ext>
                </a:extLst>
              </p:cNvPr>
              <p:cNvGrpSpPr/>
              <p:nvPr userDrawn="1"/>
            </p:nvGrpSpPr>
            <p:grpSpPr>
              <a:xfrm>
                <a:off x="9521833" y="2361408"/>
                <a:ext cx="2557391" cy="323165"/>
                <a:chOff x="12352022" y="513115"/>
                <a:chExt cx="2557391" cy="323165"/>
              </a:xfrm>
            </p:grpSpPr>
            <p:sp>
              <p:nvSpPr>
                <p:cNvPr id="133" name="TextBox 132">
                  <a:extLst>
                    <a:ext uri="{FF2B5EF4-FFF2-40B4-BE49-F238E27FC236}">
                      <a16:creationId xmlns:a16="http://schemas.microsoft.com/office/drawing/2014/main" id="{C6F193A3-7D39-1C40-9C0D-B981EB53025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4" name="TextBox 133">
                  <a:extLst>
                    <a:ext uri="{FF2B5EF4-FFF2-40B4-BE49-F238E27FC236}">
                      <a16:creationId xmlns:a16="http://schemas.microsoft.com/office/drawing/2014/main" id="{C7940ED9-915B-9248-BA2F-A342231D2934}"/>
                    </a:ext>
                  </a:extLst>
                </p:cNvPr>
                <p:cNvSpPr txBox="1"/>
                <p:nvPr userDrawn="1"/>
              </p:nvSpPr>
              <p:spPr>
                <a:xfrm>
                  <a:off x="12516615" y="513115"/>
                  <a:ext cx="2392798"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Open the </a:t>
                  </a:r>
                  <a:r>
                    <a:rPr lang="en-US" sz="1050" b="1" dirty="0"/>
                    <a:t>VEDP Template Assets file </a:t>
                  </a:r>
                  <a:r>
                    <a:rPr lang="en-US" sz="1050" dirty="0"/>
                    <a:t>and copy the desired chart type into your presentation.</a:t>
                  </a:r>
                </a:p>
              </p:txBody>
            </p:sp>
          </p:grpSp>
          <p:sp>
            <p:nvSpPr>
              <p:cNvPr id="132" name="TextBox 131">
                <a:extLst>
                  <a:ext uri="{FF2B5EF4-FFF2-40B4-BE49-F238E27FC236}">
                    <a16:creationId xmlns:a16="http://schemas.microsoft.com/office/drawing/2014/main" id="{A80FD326-85FF-264F-97DA-05F43B20FA05}"/>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112" name="TextBox 111">
              <a:extLst>
                <a:ext uri="{FF2B5EF4-FFF2-40B4-BE49-F238E27FC236}">
                  <a16:creationId xmlns:a16="http://schemas.microsoft.com/office/drawing/2014/main" id="{643017B9-5EB5-3C43-964D-F8B34AE37A52}"/>
                </a:ext>
              </a:extLst>
            </p:cNvPr>
            <p:cNvSpPr txBox="1"/>
            <p:nvPr userDrawn="1"/>
          </p:nvSpPr>
          <p:spPr>
            <a:xfrm>
              <a:off x="9558507" y="2034287"/>
              <a:ext cx="15424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FORMAT AN EXISTING CHART</a:t>
              </a:r>
            </a:p>
          </p:txBody>
        </p:sp>
        <p:cxnSp>
          <p:nvCxnSpPr>
            <p:cNvPr id="113" name="Straight Connector 112">
              <a:extLst>
                <a:ext uri="{FF2B5EF4-FFF2-40B4-BE49-F238E27FC236}">
                  <a16:creationId xmlns:a16="http://schemas.microsoft.com/office/drawing/2014/main" id="{E5A28B81-D028-A442-A2BB-C885D0421BAF}"/>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BC6B2BDC-1C6B-FF49-886E-34C4A1F31A1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15" name="TextBox 114">
              <a:extLst>
                <a:ext uri="{FF2B5EF4-FFF2-40B4-BE49-F238E27FC236}">
                  <a16:creationId xmlns:a16="http://schemas.microsoft.com/office/drawing/2014/main" id="{386F9AE4-1003-E841-B986-2DFA8186BE2A}"/>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16" name="TextBox 115">
              <a:extLst>
                <a:ext uri="{FF2B5EF4-FFF2-40B4-BE49-F238E27FC236}">
                  <a16:creationId xmlns:a16="http://schemas.microsoft.com/office/drawing/2014/main" id="{81D4359D-396D-B047-8048-C51D25FF5FA9}"/>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the chart placeholder and then paste your existing chart.</a:t>
              </a:r>
            </a:p>
          </p:txBody>
        </p:sp>
        <p:sp>
          <p:nvSpPr>
            <p:cNvPr id="117" name="TextBox 116">
              <a:extLst>
                <a:ext uri="{FF2B5EF4-FFF2-40B4-BE49-F238E27FC236}">
                  <a16:creationId xmlns:a16="http://schemas.microsoft.com/office/drawing/2014/main" id="{F595C52D-E737-B648-97C4-D0EEE4002727}"/>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Right-click on the chart and choose “Change Chart Type…”</a:t>
              </a:r>
            </a:p>
          </p:txBody>
        </p:sp>
        <p:sp>
          <p:nvSpPr>
            <p:cNvPr id="118" name="TextBox 117">
              <a:extLst>
                <a:ext uri="{FF2B5EF4-FFF2-40B4-BE49-F238E27FC236}">
                  <a16:creationId xmlns:a16="http://schemas.microsoft.com/office/drawing/2014/main" id="{A9B4217E-F58C-E841-B458-5948479DD205}"/>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19" name="TextBox 118">
              <a:extLst>
                <a:ext uri="{FF2B5EF4-FFF2-40B4-BE49-F238E27FC236}">
                  <a16:creationId xmlns:a16="http://schemas.microsoft.com/office/drawing/2014/main" id="{BFF5E862-5288-9E4B-88AE-8C1A9F99201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Choose one of the VEDP chart styles from the ‘Templates’ category.</a:t>
              </a:r>
            </a:p>
          </p:txBody>
        </p:sp>
        <p:sp>
          <p:nvSpPr>
            <p:cNvPr id="120" name="TextBox 119">
              <a:extLst>
                <a:ext uri="{FF2B5EF4-FFF2-40B4-BE49-F238E27FC236}">
                  <a16:creationId xmlns:a16="http://schemas.microsoft.com/office/drawing/2014/main" id="{12A69AE4-A4C6-4F4C-A368-8510B3FA8B6B}"/>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121" name="Group 120">
              <a:extLst>
                <a:ext uri="{FF2B5EF4-FFF2-40B4-BE49-F238E27FC236}">
                  <a16:creationId xmlns:a16="http://schemas.microsoft.com/office/drawing/2014/main" id="{D3A6EECD-3549-904A-A40E-911DC97AF001}"/>
                </a:ext>
              </a:extLst>
            </p:cNvPr>
            <p:cNvGrpSpPr/>
            <p:nvPr userDrawn="1"/>
          </p:nvGrpSpPr>
          <p:grpSpPr>
            <a:xfrm>
              <a:off x="9558507" y="1119891"/>
              <a:ext cx="2639328" cy="202617"/>
              <a:chOff x="9303325" y="149270"/>
              <a:chExt cx="2639328" cy="202617"/>
            </a:xfrm>
          </p:grpSpPr>
          <p:sp>
            <p:nvSpPr>
              <p:cNvPr id="127" name="TextBox 126">
                <a:extLst>
                  <a:ext uri="{FF2B5EF4-FFF2-40B4-BE49-F238E27FC236}">
                    <a16:creationId xmlns:a16="http://schemas.microsoft.com/office/drawing/2014/main" id="{F72EE2BF-96DA-ED48-A29C-73A7C7A51107}"/>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128" name="Straight Connector 127">
                <a:extLst>
                  <a:ext uri="{FF2B5EF4-FFF2-40B4-BE49-F238E27FC236}">
                    <a16:creationId xmlns:a16="http://schemas.microsoft.com/office/drawing/2014/main" id="{D92BD20A-0C8C-E14A-BB7D-7F4DA53A033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22" name="Group 121">
              <a:extLst>
                <a:ext uri="{FF2B5EF4-FFF2-40B4-BE49-F238E27FC236}">
                  <a16:creationId xmlns:a16="http://schemas.microsoft.com/office/drawing/2014/main" id="{CB984C52-4124-AA4D-8458-190AC08BEB6E}"/>
                </a:ext>
              </a:extLst>
            </p:cNvPr>
            <p:cNvGrpSpPr/>
            <p:nvPr userDrawn="1"/>
          </p:nvGrpSpPr>
          <p:grpSpPr>
            <a:xfrm>
              <a:off x="9541497" y="4046193"/>
              <a:ext cx="2735151" cy="1533198"/>
              <a:chOff x="9296567" y="4910412"/>
              <a:chExt cx="2735151" cy="1533198"/>
            </a:xfrm>
          </p:grpSpPr>
          <p:sp>
            <p:nvSpPr>
              <p:cNvPr id="123" name="Rectangle 122">
                <a:extLst>
                  <a:ext uri="{FF2B5EF4-FFF2-40B4-BE49-F238E27FC236}">
                    <a16:creationId xmlns:a16="http://schemas.microsoft.com/office/drawing/2014/main" id="{18659A9D-C0B3-654D-927A-38F08EBCB65C}"/>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24" name="TextBox 123">
                <a:extLst>
                  <a:ext uri="{FF2B5EF4-FFF2-40B4-BE49-F238E27FC236}">
                    <a16:creationId xmlns:a16="http://schemas.microsoft.com/office/drawing/2014/main" id="{9935FD93-FA7C-9049-9D3B-CB3B8CD860B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125" name="Graphic 124">
                <a:extLst>
                  <a:ext uri="{FF2B5EF4-FFF2-40B4-BE49-F238E27FC236}">
                    <a16:creationId xmlns:a16="http://schemas.microsoft.com/office/drawing/2014/main" id="{69667A08-748B-D846-BF72-062D307D126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6" name="TextBox 125">
                <a:extLst>
                  <a:ext uri="{FF2B5EF4-FFF2-40B4-BE49-F238E27FC236}">
                    <a16:creationId xmlns:a16="http://schemas.microsoft.com/office/drawing/2014/main" id="{AF22BED9-0030-8546-AC2B-0DC1FA590F5F}"/>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dirty="0"/>
                  <a:t>In case of error, return legend entries, data labels, and/or chart formatting by re-applying the current VEDP chart style template.</a:t>
                </a:r>
              </a:p>
              <a:p>
                <a:pPr lvl="1"/>
                <a:r>
                  <a:rPr lang="en-US" sz="900" dirty="0"/>
                  <a:t>Right-click the chart and choose</a:t>
                </a:r>
                <a:br>
                  <a:rPr lang="en-US" sz="900" dirty="0"/>
                </a:br>
                <a:r>
                  <a:rPr lang="en-US" sz="900" dirty="0"/>
                  <a:t>“Change Chart Type”</a:t>
                </a:r>
              </a:p>
              <a:p>
                <a:pPr lvl="1"/>
                <a:r>
                  <a:rPr lang="en-US" sz="900" dirty="0"/>
                  <a:t>Then choose the matching VEDP chart style from the ‘Templates’ category.</a:t>
                </a:r>
              </a:p>
            </p:txBody>
          </p:sp>
        </p:grpSp>
      </p:grpSp>
    </p:spTree>
    <p:extLst>
      <p:ext uri="{BB962C8B-B14F-4D97-AF65-F5344CB8AC3E}">
        <p14:creationId xmlns:p14="http://schemas.microsoft.com/office/powerpoint/2010/main" val="313084211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wo Charts (Stacke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000" name="Footnotes Placeholder">
            <a:extLst>
              <a:ext uri="{FF2B5EF4-FFF2-40B4-BE49-F238E27FC236}">
                <a16:creationId xmlns:a16="http://schemas.microsoft.com/office/drawing/2014/main" id="{05CE940C-B9F2-AE42-819B-CF829A76DEFF}"/>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7" name="Date Placeholder 6">
            <a:extLst>
              <a:ext uri="{FF2B5EF4-FFF2-40B4-BE49-F238E27FC236}">
                <a16:creationId xmlns:a16="http://schemas.microsoft.com/office/drawing/2014/main" id="{19ACEBCC-F393-B646-82A5-B2CB75AA4689}"/>
              </a:ext>
            </a:extLst>
          </p:cNvPr>
          <p:cNvSpPr>
            <a:spLocks noGrp="1"/>
          </p:cNvSpPr>
          <p:nvPr>
            <p:ph type="dt" sz="half" idx="112"/>
          </p:nvPr>
        </p:nvSpPr>
        <p:spPr/>
        <p:txBody>
          <a:bodyPr/>
          <a:lstStyle/>
          <a:p>
            <a:endParaRPr lang="en-US" dirty="0"/>
          </a:p>
        </p:txBody>
      </p:sp>
      <p:sp>
        <p:nvSpPr>
          <p:cNvPr id="8" name="Footer Placeholder 7">
            <a:extLst>
              <a:ext uri="{FF2B5EF4-FFF2-40B4-BE49-F238E27FC236}">
                <a16:creationId xmlns:a16="http://schemas.microsoft.com/office/drawing/2014/main" id="{1129D6A6-E10B-9246-864B-9C137DCA8D15}"/>
              </a:ext>
            </a:extLst>
          </p:cNvPr>
          <p:cNvSpPr>
            <a:spLocks noGrp="1"/>
          </p:cNvSpPr>
          <p:nvPr>
            <p:ph type="ftr" sz="quarter" idx="113"/>
          </p:nvPr>
        </p:nvSpPr>
        <p:spPr/>
        <p:txBody>
          <a:bodyPr/>
          <a:lstStyle/>
          <a:p>
            <a:endParaRPr lang="en-US" dirty="0"/>
          </a:p>
        </p:txBody>
      </p:sp>
      <p:sp>
        <p:nvSpPr>
          <p:cNvPr id="12" name="Slide Number Placeholder 11">
            <a:extLst>
              <a:ext uri="{FF2B5EF4-FFF2-40B4-BE49-F238E27FC236}">
                <a16:creationId xmlns:a16="http://schemas.microsoft.com/office/drawing/2014/main" id="{07196862-C66B-EC4D-B2F4-A198A28BFE69}"/>
              </a:ext>
            </a:extLst>
          </p:cNvPr>
          <p:cNvSpPr>
            <a:spLocks noGrp="1"/>
          </p:cNvSpPr>
          <p:nvPr>
            <p:ph type="sldNum" sz="quarter" idx="114"/>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49" name="Chart Placeholder 2">
            <a:extLst>
              <a:ext uri="{FF2B5EF4-FFF2-40B4-BE49-F238E27FC236}">
                <a16:creationId xmlns:a16="http://schemas.microsoft.com/office/drawing/2014/main" id="{A9C63DCB-B05D-3A42-BAE8-C09F0F94245E}"/>
              </a:ext>
            </a:extLst>
          </p:cNvPr>
          <p:cNvSpPr>
            <a:spLocks noGrp="1"/>
          </p:cNvSpPr>
          <p:nvPr>
            <p:ph type="chart" sz="quarter" idx="115"/>
          </p:nvPr>
        </p:nvSpPr>
        <p:spPr>
          <a:xfrm>
            <a:off x="575733" y="1735138"/>
            <a:ext cx="11040532" cy="1903758"/>
          </a:xfrm>
        </p:spPr>
        <p:txBody>
          <a:bodyPr/>
          <a:lstStyle>
            <a:lvl1pPr>
              <a:defRPr b="0">
                <a:solidFill>
                  <a:schemeClr val="tx1">
                    <a:lumMod val="50000"/>
                    <a:lumOff val="50000"/>
                  </a:schemeClr>
                </a:solidFill>
              </a:defRPr>
            </a:lvl1pPr>
          </a:lstStyle>
          <a:p>
            <a:r>
              <a:rPr lang="en-US"/>
              <a:t>Click icon to add chart</a:t>
            </a:r>
            <a:endParaRPr lang="en-US" dirty="0"/>
          </a:p>
        </p:txBody>
      </p:sp>
      <p:sp>
        <p:nvSpPr>
          <p:cNvPr id="50" name="Text Placeholder 6">
            <a:extLst>
              <a:ext uri="{FF2B5EF4-FFF2-40B4-BE49-F238E27FC236}">
                <a16:creationId xmlns:a16="http://schemas.microsoft.com/office/drawing/2014/main" id="{22872042-8EC0-0742-9EC9-C351856408B1}"/>
              </a:ext>
            </a:extLst>
          </p:cNvPr>
          <p:cNvSpPr>
            <a:spLocks noGrp="1"/>
          </p:cNvSpPr>
          <p:nvPr>
            <p:ph type="body" sz="quarter" idx="108" hasCustomPrompt="1"/>
          </p:nvPr>
        </p:nvSpPr>
        <p:spPr>
          <a:xfrm>
            <a:off x="575734"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dirty="0"/>
              <a:t>Click to add chart title</a:t>
            </a:r>
          </a:p>
          <a:p>
            <a:pPr lvl="1"/>
            <a:r>
              <a:rPr lang="en-US" dirty="0"/>
              <a:t>Chart subtitle (second level)</a:t>
            </a:r>
          </a:p>
        </p:txBody>
      </p:sp>
      <p:sp>
        <p:nvSpPr>
          <p:cNvPr id="51" name="Chart Placeholder 2">
            <a:extLst>
              <a:ext uri="{FF2B5EF4-FFF2-40B4-BE49-F238E27FC236}">
                <a16:creationId xmlns:a16="http://schemas.microsoft.com/office/drawing/2014/main" id="{F07CF72C-8DD7-B04A-9188-E17B7FF52CC5}"/>
              </a:ext>
            </a:extLst>
          </p:cNvPr>
          <p:cNvSpPr>
            <a:spLocks noGrp="1"/>
          </p:cNvSpPr>
          <p:nvPr>
            <p:ph type="chart" sz="quarter" idx="116"/>
          </p:nvPr>
        </p:nvSpPr>
        <p:spPr>
          <a:xfrm>
            <a:off x="575733" y="4262092"/>
            <a:ext cx="11040532" cy="1903758"/>
          </a:xfrm>
        </p:spPr>
        <p:txBody>
          <a:bodyPr/>
          <a:lstStyle>
            <a:lvl1pPr>
              <a:defRPr b="0">
                <a:solidFill>
                  <a:schemeClr val="tx1">
                    <a:lumMod val="50000"/>
                    <a:lumOff val="50000"/>
                  </a:schemeClr>
                </a:solidFill>
              </a:defRPr>
            </a:lvl1pPr>
          </a:lstStyle>
          <a:p>
            <a:r>
              <a:rPr lang="en-US"/>
              <a:t>Click icon to add chart</a:t>
            </a:r>
            <a:endParaRPr lang="en-US" dirty="0"/>
          </a:p>
        </p:txBody>
      </p:sp>
      <p:sp>
        <p:nvSpPr>
          <p:cNvPr id="52" name="Text Placeholder 6">
            <a:extLst>
              <a:ext uri="{FF2B5EF4-FFF2-40B4-BE49-F238E27FC236}">
                <a16:creationId xmlns:a16="http://schemas.microsoft.com/office/drawing/2014/main" id="{7C154E4E-8AF7-F747-B52D-D450E0D64EE6}"/>
              </a:ext>
            </a:extLst>
          </p:cNvPr>
          <p:cNvSpPr>
            <a:spLocks noGrp="1"/>
          </p:cNvSpPr>
          <p:nvPr>
            <p:ph type="body" sz="quarter" idx="117" hasCustomPrompt="1"/>
          </p:nvPr>
        </p:nvSpPr>
        <p:spPr>
          <a:xfrm>
            <a:off x="575734" y="3751272"/>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dirty="0"/>
              <a:t>Click to add chart title</a:t>
            </a:r>
          </a:p>
          <a:p>
            <a:pPr lvl="1"/>
            <a:r>
              <a:rPr lang="en-US" dirty="0"/>
              <a:t>Chart subtitle (second level)</a:t>
            </a:r>
          </a:p>
        </p:txBody>
      </p:sp>
      <p:grpSp>
        <p:nvGrpSpPr>
          <p:cNvPr id="136" name="Group 135">
            <a:extLst>
              <a:ext uri="{FF2B5EF4-FFF2-40B4-BE49-F238E27FC236}">
                <a16:creationId xmlns:a16="http://schemas.microsoft.com/office/drawing/2014/main" id="{FF45F03E-B96D-DA46-93C2-135BEC126798}"/>
              </a:ext>
            </a:extLst>
          </p:cNvPr>
          <p:cNvGrpSpPr/>
          <p:nvPr userDrawn="1"/>
        </p:nvGrpSpPr>
        <p:grpSpPr>
          <a:xfrm>
            <a:off x="12532244" y="-1"/>
            <a:ext cx="3948953" cy="6989737"/>
            <a:chOff x="9399182" y="-1"/>
            <a:chExt cx="2961715" cy="6989737"/>
          </a:xfrm>
        </p:grpSpPr>
        <p:sp>
          <p:nvSpPr>
            <p:cNvPr id="137" name="Rectangle 136">
              <a:extLst>
                <a:ext uri="{FF2B5EF4-FFF2-40B4-BE49-F238E27FC236}">
                  <a16:creationId xmlns:a16="http://schemas.microsoft.com/office/drawing/2014/main" id="{F1AF54F3-DBB0-5A45-A53B-FDDFA3C6506A}"/>
                </a:ext>
              </a:extLst>
            </p:cNvPr>
            <p:cNvSpPr/>
            <p:nvPr userDrawn="1"/>
          </p:nvSpPr>
          <p:spPr>
            <a:xfrm>
              <a:off x="9399182" y="-1"/>
              <a:ext cx="2798651" cy="698973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138" name="Picture 137">
              <a:extLst>
                <a:ext uri="{FF2B5EF4-FFF2-40B4-BE49-F238E27FC236}">
                  <a16:creationId xmlns:a16="http://schemas.microsoft.com/office/drawing/2014/main" id="{504C2EE4-E1B1-A944-9395-2937A1F0585B}"/>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139" name="Group 138">
              <a:extLst>
                <a:ext uri="{FF2B5EF4-FFF2-40B4-BE49-F238E27FC236}">
                  <a16:creationId xmlns:a16="http://schemas.microsoft.com/office/drawing/2014/main" id="{891C199A-F431-4E48-87CD-C7E705D50D0A}"/>
                </a:ext>
              </a:extLst>
            </p:cNvPr>
            <p:cNvGrpSpPr/>
            <p:nvPr userDrawn="1"/>
          </p:nvGrpSpPr>
          <p:grpSpPr>
            <a:xfrm>
              <a:off x="9541497" y="162442"/>
              <a:ext cx="2819400" cy="814510"/>
              <a:chOff x="-3644733" y="165205"/>
              <a:chExt cx="2819400" cy="814510"/>
            </a:xfrm>
          </p:grpSpPr>
          <p:sp>
            <p:nvSpPr>
              <p:cNvPr id="164" name="Rectangle 163">
                <a:extLst>
                  <a:ext uri="{FF2B5EF4-FFF2-40B4-BE49-F238E27FC236}">
                    <a16:creationId xmlns:a16="http://schemas.microsoft.com/office/drawing/2014/main" id="{FD84C77A-8CD3-0944-9FF3-231D5B2738E5}"/>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65" name="TextBox 164">
                <a:extLst>
                  <a:ext uri="{FF2B5EF4-FFF2-40B4-BE49-F238E27FC236}">
                    <a16:creationId xmlns:a16="http://schemas.microsoft.com/office/drawing/2014/main" id="{96BD3459-C26E-DE41-81BE-87277B7FDDE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66" name="Picture 165">
                <a:extLst>
                  <a:ext uri="{FF2B5EF4-FFF2-40B4-BE49-F238E27FC236}">
                    <a16:creationId xmlns:a16="http://schemas.microsoft.com/office/drawing/2014/main" id="{202313DD-B5E9-E64C-BEE6-3CD600BBB16B}"/>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40" name="Group 139">
              <a:extLst>
                <a:ext uri="{FF2B5EF4-FFF2-40B4-BE49-F238E27FC236}">
                  <a16:creationId xmlns:a16="http://schemas.microsoft.com/office/drawing/2014/main" id="{063D59E6-CF04-E946-8759-26CCF7BDDA32}"/>
                </a:ext>
              </a:extLst>
            </p:cNvPr>
            <p:cNvGrpSpPr/>
            <p:nvPr userDrawn="1"/>
          </p:nvGrpSpPr>
          <p:grpSpPr>
            <a:xfrm>
              <a:off x="9521833" y="5769065"/>
              <a:ext cx="2676002" cy="1052731"/>
              <a:chOff x="9521833" y="2036288"/>
              <a:chExt cx="2676002" cy="1052731"/>
            </a:xfrm>
          </p:grpSpPr>
          <p:sp>
            <p:nvSpPr>
              <p:cNvPr id="158" name="TextBox 157">
                <a:extLst>
                  <a:ext uri="{FF2B5EF4-FFF2-40B4-BE49-F238E27FC236}">
                    <a16:creationId xmlns:a16="http://schemas.microsoft.com/office/drawing/2014/main" id="{77DEAB84-5DD6-A74D-A64B-E11CE07988F5}"/>
                  </a:ext>
                </a:extLst>
              </p:cNvPr>
              <p:cNvSpPr txBox="1"/>
              <p:nvPr userDrawn="1"/>
            </p:nvSpPr>
            <p:spPr>
              <a:xfrm>
                <a:off x="9558507" y="2036288"/>
                <a:ext cx="99666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ADD A NEW CHART</a:t>
                </a:r>
              </a:p>
            </p:txBody>
          </p:sp>
          <p:cxnSp>
            <p:nvCxnSpPr>
              <p:cNvPr id="159" name="Straight Connector 158">
                <a:extLst>
                  <a:ext uri="{FF2B5EF4-FFF2-40B4-BE49-F238E27FC236}">
                    <a16:creationId xmlns:a16="http://schemas.microsoft.com/office/drawing/2014/main" id="{412CE4C5-C331-484D-A266-9A6522ACED70}"/>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60" name="Group 159">
                <a:extLst>
                  <a:ext uri="{FF2B5EF4-FFF2-40B4-BE49-F238E27FC236}">
                    <a16:creationId xmlns:a16="http://schemas.microsoft.com/office/drawing/2014/main" id="{52A2B73E-C3A6-FD40-B1FA-0CDAC93E0949}"/>
                  </a:ext>
                </a:extLst>
              </p:cNvPr>
              <p:cNvGrpSpPr/>
              <p:nvPr userDrawn="1"/>
            </p:nvGrpSpPr>
            <p:grpSpPr>
              <a:xfrm>
                <a:off x="9521833" y="2361408"/>
                <a:ext cx="2557391" cy="323165"/>
                <a:chOff x="12352022" y="513115"/>
                <a:chExt cx="2557391" cy="323165"/>
              </a:xfrm>
            </p:grpSpPr>
            <p:sp>
              <p:nvSpPr>
                <p:cNvPr id="162" name="TextBox 161">
                  <a:extLst>
                    <a:ext uri="{FF2B5EF4-FFF2-40B4-BE49-F238E27FC236}">
                      <a16:creationId xmlns:a16="http://schemas.microsoft.com/office/drawing/2014/main" id="{619D7F15-706D-3F4C-A8B8-C12D59510822}"/>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63" name="TextBox 162">
                  <a:extLst>
                    <a:ext uri="{FF2B5EF4-FFF2-40B4-BE49-F238E27FC236}">
                      <a16:creationId xmlns:a16="http://schemas.microsoft.com/office/drawing/2014/main" id="{1C9CAA61-2E63-2243-9107-4A321356DB2A}"/>
                    </a:ext>
                  </a:extLst>
                </p:cNvPr>
                <p:cNvSpPr txBox="1"/>
                <p:nvPr userDrawn="1"/>
              </p:nvSpPr>
              <p:spPr>
                <a:xfrm>
                  <a:off x="12516615" y="513115"/>
                  <a:ext cx="2392798"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Open the </a:t>
                  </a:r>
                  <a:r>
                    <a:rPr lang="en-US" sz="1050" b="1" dirty="0"/>
                    <a:t>VEDP Template Assets file </a:t>
                  </a:r>
                  <a:r>
                    <a:rPr lang="en-US" sz="1050" dirty="0"/>
                    <a:t>and copy the desired chart type into your presentation.</a:t>
                  </a:r>
                </a:p>
              </p:txBody>
            </p:sp>
          </p:grpSp>
          <p:sp>
            <p:nvSpPr>
              <p:cNvPr id="161" name="TextBox 160">
                <a:extLst>
                  <a:ext uri="{FF2B5EF4-FFF2-40B4-BE49-F238E27FC236}">
                    <a16:creationId xmlns:a16="http://schemas.microsoft.com/office/drawing/2014/main" id="{431A03AF-2C30-0044-878E-EBA24FF0D060}"/>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141" name="TextBox 140">
              <a:extLst>
                <a:ext uri="{FF2B5EF4-FFF2-40B4-BE49-F238E27FC236}">
                  <a16:creationId xmlns:a16="http://schemas.microsoft.com/office/drawing/2014/main" id="{9FD671FF-2D84-E843-A31C-B84F3E2677A1}"/>
                </a:ext>
              </a:extLst>
            </p:cNvPr>
            <p:cNvSpPr txBox="1"/>
            <p:nvPr userDrawn="1"/>
          </p:nvSpPr>
          <p:spPr>
            <a:xfrm>
              <a:off x="9558507" y="2034287"/>
              <a:ext cx="15424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FORMAT AN EXISTING CHART</a:t>
              </a:r>
            </a:p>
          </p:txBody>
        </p:sp>
        <p:cxnSp>
          <p:nvCxnSpPr>
            <p:cNvPr id="142" name="Straight Connector 141">
              <a:extLst>
                <a:ext uri="{FF2B5EF4-FFF2-40B4-BE49-F238E27FC236}">
                  <a16:creationId xmlns:a16="http://schemas.microsoft.com/office/drawing/2014/main" id="{321D4ECE-156C-684D-8E18-8D9C2BE4F5CA}"/>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3" name="TextBox 142">
              <a:extLst>
                <a:ext uri="{FF2B5EF4-FFF2-40B4-BE49-F238E27FC236}">
                  <a16:creationId xmlns:a16="http://schemas.microsoft.com/office/drawing/2014/main" id="{105D3A7E-0F58-B141-BD38-F6FD34EFE53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44" name="TextBox 143">
              <a:extLst>
                <a:ext uri="{FF2B5EF4-FFF2-40B4-BE49-F238E27FC236}">
                  <a16:creationId xmlns:a16="http://schemas.microsoft.com/office/drawing/2014/main" id="{EE872CBB-A7D5-1141-9462-389457166E9B}"/>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45" name="TextBox 144">
              <a:extLst>
                <a:ext uri="{FF2B5EF4-FFF2-40B4-BE49-F238E27FC236}">
                  <a16:creationId xmlns:a16="http://schemas.microsoft.com/office/drawing/2014/main" id="{379C53D1-7E7B-E646-A1F5-A3D9AFD81A13}"/>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the chart placeholder and then paste your existing chart.</a:t>
              </a:r>
            </a:p>
          </p:txBody>
        </p:sp>
        <p:sp>
          <p:nvSpPr>
            <p:cNvPr id="146" name="TextBox 145">
              <a:extLst>
                <a:ext uri="{FF2B5EF4-FFF2-40B4-BE49-F238E27FC236}">
                  <a16:creationId xmlns:a16="http://schemas.microsoft.com/office/drawing/2014/main" id="{0E1634FF-BFE8-CD4B-A29B-07EF0D0A4213}"/>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Right-click on the chart and choose “Change Chart Type…”</a:t>
              </a:r>
            </a:p>
          </p:txBody>
        </p:sp>
        <p:sp>
          <p:nvSpPr>
            <p:cNvPr id="147" name="TextBox 146">
              <a:extLst>
                <a:ext uri="{FF2B5EF4-FFF2-40B4-BE49-F238E27FC236}">
                  <a16:creationId xmlns:a16="http://schemas.microsoft.com/office/drawing/2014/main" id="{46E96A8E-58C8-284D-9D62-4C14D61A164F}"/>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48" name="TextBox 147">
              <a:extLst>
                <a:ext uri="{FF2B5EF4-FFF2-40B4-BE49-F238E27FC236}">
                  <a16:creationId xmlns:a16="http://schemas.microsoft.com/office/drawing/2014/main" id="{90BAAB41-F096-1446-AF97-DB0DF304E760}"/>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Choose one of the VEDP chart styles from the ‘Templates’ category.</a:t>
              </a:r>
            </a:p>
          </p:txBody>
        </p:sp>
        <p:sp>
          <p:nvSpPr>
            <p:cNvPr id="149" name="TextBox 148">
              <a:extLst>
                <a:ext uri="{FF2B5EF4-FFF2-40B4-BE49-F238E27FC236}">
                  <a16:creationId xmlns:a16="http://schemas.microsoft.com/office/drawing/2014/main" id="{70745A7D-E8B1-784F-89B5-D634636CCE13}"/>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150" name="Group 149">
              <a:extLst>
                <a:ext uri="{FF2B5EF4-FFF2-40B4-BE49-F238E27FC236}">
                  <a16:creationId xmlns:a16="http://schemas.microsoft.com/office/drawing/2014/main" id="{BC5E24AF-445C-6747-8C45-E7E1943A07EA}"/>
                </a:ext>
              </a:extLst>
            </p:cNvPr>
            <p:cNvGrpSpPr/>
            <p:nvPr userDrawn="1"/>
          </p:nvGrpSpPr>
          <p:grpSpPr>
            <a:xfrm>
              <a:off x="9558507" y="1119891"/>
              <a:ext cx="2639328" cy="202617"/>
              <a:chOff x="9303325" y="149270"/>
              <a:chExt cx="2639328" cy="202617"/>
            </a:xfrm>
          </p:grpSpPr>
          <p:sp>
            <p:nvSpPr>
              <p:cNvPr id="156" name="TextBox 155">
                <a:extLst>
                  <a:ext uri="{FF2B5EF4-FFF2-40B4-BE49-F238E27FC236}">
                    <a16:creationId xmlns:a16="http://schemas.microsoft.com/office/drawing/2014/main" id="{E294C049-81FF-734E-A604-56C73619EC6E}"/>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157" name="Straight Connector 156">
                <a:extLst>
                  <a:ext uri="{FF2B5EF4-FFF2-40B4-BE49-F238E27FC236}">
                    <a16:creationId xmlns:a16="http://schemas.microsoft.com/office/drawing/2014/main" id="{128F855E-A066-1E41-A899-00776F75A5FA}"/>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151" name="Group 150">
              <a:extLst>
                <a:ext uri="{FF2B5EF4-FFF2-40B4-BE49-F238E27FC236}">
                  <a16:creationId xmlns:a16="http://schemas.microsoft.com/office/drawing/2014/main" id="{72FF89E0-A4B5-C342-9537-0A864A4B9675}"/>
                </a:ext>
              </a:extLst>
            </p:cNvPr>
            <p:cNvGrpSpPr/>
            <p:nvPr userDrawn="1"/>
          </p:nvGrpSpPr>
          <p:grpSpPr>
            <a:xfrm>
              <a:off x="9541497" y="4046193"/>
              <a:ext cx="2735151" cy="1533198"/>
              <a:chOff x="9296567" y="4910412"/>
              <a:chExt cx="2735151" cy="1533198"/>
            </a:xfrm>
          </p:grpSpPr>
          <p:sp>
            <p:nvSpPr>
              <p:cNvPr id="152" name="Rectangle 151">
                <a:extLst>
                  <a:ext uri="{FF2B5EF4-FFF2-40B4-BE49-F238E27FC236}">
                    <a16:creationId xmlns:a16="http://schemas.microsoft.com/office/drawing/2014/main" id="{E4358915-BE70-7943-8C4A-25F97B1814A3}"/>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53" name="TextBox 152">
                <a:extLst>
                  <a:ext uri="{FF2B5EF4-FFF2-40B4-BE49-F238E27FC236}">
                    <a16:creationId xmlns:a16="http://schemas.microsoft.com/office/drawing/2014/main" id="{81B4C365-355F-C643-99D7-B97298FDF7D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154" name="Graphic 153">
                <a:extLst>
                  <a:ext uri="{FF2B5EF4-FFF2-40B4-BE49-F238E27FC236}">
                    <a16:creationId xmlns:a16="http://schemas.microsoft.com/office/drawing/2014/main" id="{C6D16933-9F45-5F40-8D19-78EBF75E653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55" name="TextBox 154">
                <a:extLst>
                  <a:ext uri="{FF2B5EF4-FFF2-40B4-BE49-F238E27FC236}">
                    <a16:creationId xmlns:a16="http://schemas.microsoft.com/office/drawing/2014/main" id="{07CEA561-9614-6F48-8B85-62EE36EF46E2}"/>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dirty="0"/>
                  <a:t>In case of error, return legend entries, data labels, and/or chart formatting by re-applying the current VEDP chart style template.</a:t>
                </a:r>
              </a:p>
              <a:p>
                <a:pPr lvl="1"/>
                <a:r>
                  <a:rPr lang="en-US" sz="900" dirty="0"/>
                  <a:t>Right-click the chart and choose</a:t>
                </a:r>
                <a:br>
                  <a:rPr lang="en-US" sz="900" dirty="0"/>
                </a:br>
                <a:r>
                  <a:rPr lang="en-US" sz="900" dirty="0"/>
                  <a:t>“Change Chart Type”</a:t>
                </a:r>
              </a:p>
              <a:p>
                <a:pPr lvl="1"/>
                <a:r>
                  <a:rPr lang="en-US" sz="900" dirty="0"/>
                  <a:t>Then choose the matching VEDP chart style from the ‘Templates’ category.</a:t>
                </a:r>
              </a:p>
            </p:txBody>
          </p:sp>
        </p:grpSp>
      </p:grpSp>
    </p:spTree>
    <p:extLst>
      <p:ext uri="{BB962C8B-B14F-4D97-AF65-F5344CB8AC3E}">
        <p14:creationId xmlns:p14="http://schemas.microsoft.com/office/powerpoint/2010/main" val="6065638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hart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575733" y="1735138"/>
            <a:ext cx="5344584" cy="4430712"/>
          </a:xfrm>
        </p:spPr>
        <p:txBody>
          <a:bodyPr/>
          <a:lstStyle>
            <a:lvl1pPr>
              <a:defRPr b="0">
                <a:solidFill>
                  <a:schemeClr val="tx1">
                    <a:lumMod val="50000"/>
                    <a:lumOff val="50000"/>
                  </a:schemeClr>
                </a:solidFill>
              </a:defRPr>
            </a:lvl1pPr>
          </a:lstStyle>
          <a:p>
            <a:r>
              <a:rPr lang="en-US"/>
              <a:t>Click icon to add chart</a:t>
            </a:r>
            <a:endParaRPr lang="en-US" dirty="0"/>
          </a:p>
        </p:txBody>
      </p:sp>
      <p:sp>
        <p:nvSpPr>
          <p:cNvPr id="1000" name="Footnotes Placeholder">
            <a:extLst>
              <a:ext uri="{FF2B5EF4-FFF2-40B4-BE49-F238E27FC236}">
                <a16:creationId xmlns:a16="http://schemas.microsoft.com/office/drawing/2014/main" id="{4A426F11-55A1-3946-8771-D8A379B5AD5E}"/>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43" name="Text Placeholder 6">
            <a:extLst>
              <a:ext uri="{FF2B5EF4-FFF2-40B4-BE49-F238E27FC236}">
                <a16:creationId xmlns:a16="http://schemas.microsoft.com/office/drawing/2014/main" id="{7892DA04-F4A9-2044-B9E5-08BCF7318160}"/>
              </a:ext>
            </a:extLst>
          </p:cNvPr>
          <p:cNvSpPr>
            <a:spLocks noGrp="1"/>
          </p:cNvSpPr>
          <p:nvPr>
            <p:ph type="body" sz="quarter" idx="108" hasCustomPrompt="1"/>
          </p:nvPr>
        </p:nvSpPr>
        <p:spPr>
          <a:xfrm>
            <a:off x="575734"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dirty="0"/>
              <a:t>Click to add chart title</a:t>
            </a:r>
          </a:p>
          <a:p>
            <a:pPr lvl="1"/>
            <a:r>
              <a:rPr lang="en-US" dirty="0"/>
              <a:t>Chart subtitle (second level)</a:t>
            </a:r>
          </a:p>
        </p:txBody>
      </p:sp>
      <p:sp>
        <p:nvSpPr>
          <p:cNvPr id="6" name="Date Placeholder 5">
            <a:extLst>
              <a:ext uri="{FF2B5EF4-FFF2-40B4-BE49-F238E27FC236}">
                <a16:creationId xmlns:a16="http://schemas.microsoft.com/office/drawing/2014/main" id="{F379AB29-F3FD-6B4D-AB9C-5B22D89A0EA3}"/>
              </a:ext>
            </a:extLst>
          </p:cNvPr>
          <p:cNvSpPr>
            <a:spLocks noGrp="1"/>
          </p:cNvSpPr>
          <p:nvPr>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998E7724-1686-F747-8D1B-1AB14F556771}"/>
              </a:ext>
            </a:extLst>
          </p:cNvPr>
          <p:cNvSpPr>
            <a:spLocks noGrp="1"/>
          </p:cNvSpPr>
          <p:nvPr>
            <p:ph type="ftr" sz="quarter" idx="117"/>
          </p:nvPr>
        </p:nvSpPr>
        <p:spPr/>
        <p:txBody>
          <a:bodyPr/>
          <a:lstStyle/>
          <a:p>
            <a:endParaRPr lang="en-US" dirty="0"/>
          </a:p>
        </p:txBody>
      </p:sp>
      <p:sp>
        <p:nvSpPr>
          <p:cNvPr id="8" name="Slide Number Placeholder 7">
            <a:extLst>
              <a:ext uri="{FF2B5EF4-FFF2-40B4-BE49-F238E27FC236}">
                <a16:creationId xmlns:a16="http://schemas.microsoft.com/office/drawing/2014/main" id="{67560BD8-BC0B-DB45-8951-391197B87781}"/>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4" name="Text Placeholder 3">
            <a:extLst>
              <a:ext uri="{FF2B5EF4-FFF2-40B4-BE49-F238E27FC236}">
                <a16:creationId xmlns:a16="http://schemas.microsoft.com/office/drawing/2014/main" id="{C0633058-F12A-3240-8E47-F68D49EC3AE2}"/>
              </a:ext>
            </a:extLst>
          </p:cNvPr>
          <p:cNvSpPr>
            <a:spLocks noGrp="1"/>
          </p:cNvSpPr>
          <p:nvPr userDrawn="1">
            <p:ph type="body" sz="quarter" idx="119"/>
          </p:nvPr>
        </p:nvSpPr>
        <p:spPr>
          <a:xfrm>
            <a:off x="6273867" y="1735138"/>
            <a:ext cx="5342400" cy="4430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0" name="Group 9">
            <a:extLst>
              <a:ext uri="{FF2B5EF4-FFF2-40B4-BE49-F238E27FC236}">
                <a16:creationId xmlns:a16="http://schemas.microsoft.com/office/drawing/2014/main" id="{B63747D6-BC82-9944-89EC-FD8DC796135D}"/>
              </a:ext>
            </a:extLst>
          </p:cNvPr>
          <p:cNvGrpSpPr/>
          <p:nvPr userDrawn="1"/>
        </p:nvGrpSpPr>
        <p:grpSpPr>
          <a:xfrm>
            <a:off x="12532243" y="-2"/>
            <a:ext cx="3965960" cy="9791695"/>
            <a:chOff x="9399182" y="-2"/>
            <a:chExt cx="2974470" cy="9791695"/>
          </a:xfrm>
        </p:grpSpPr>
        <p:sp>
          <p:nvSpPr>
            <p:cNvPr id="108" name="Rectangle 107">
              <a:extLst>
                <a:ext uri="{FF2B5EF4-FFF2-40B4-BE49-F238E27FC236}">
                  <a16:creationId xmlns:a16="http://schemas.microsoft.com/office/drawing/2014/main" id="{4021C5A3-7B0D-1847-9EF9-A3705154127E}"/>
                </a:ext>
              </a:extLst>
            </p:cNvPr>
            <p:cNvSpPr/>
            <p:nvPr userDrawn="1"/>
          </p:nvSpPr>
          <p:spPr>
            <a:xfrm>
              <a:off x="9399182" y="-2"/>
              <a:ext cx="2798651" cy="97916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109" name="Picture 108">
              <a:extLst>
                <a:ext uri="{FF2B5EF4-FFF2-40B4-BE49-F238E27FC236}">
                  <a16:creationId xmlns:a16="http://schemas.microsoft.com/office/drawing/2014/main" id="{8379DC2B-3092-1142-97A8-452B83E9EEE5}"/>
                </a:ext>
              </a:extLst>
            </p:cNvPr>
            <p:cNvPicPr>
              <a:picLocks noChangeAspect="1"/>
            </p:cNvPicPr>
            <p:nvPr userDrawn="1"/>
          </p:nvPicPr>
          <p:blipFill rotWithShape="1">
            <a:blip r:embed="rId3"/>
            <a:srcRect r="36104"/>
            <a:stretch/>
          </p:blipFill>
          <p:spPr>
            <a:xfrm>
              <a:off x="9558497" y="1619251"/>
              <a:ext cx="2639329" cy="522522"/>
            </a:xfrm>
            <a:prstGeom prst="rect">
              <a:avLst/>
            </a:prstGeom>
          </p:spPr>
        </p:pic>
        <p:grpSp>
          <p:nvGrpSpPr>
            <p:cNvPr id="110" name="Group 109">
              <a:extLst>
                <a:ext uri="{FF2B5EF4-FFF2-40B4-BE49-F238E27FC236}">
                  <a16:creationId xmlns:a16="http://schemas.microsoft.com/office/drawing/2014/main" id="{1013161E-A1C5-5749-9CE3-F720067C884E}"/>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6E6A25D8-1BC5-9B4C-8FA6-899B48E1D1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6" name="TextBox 135">
                <a:extLst>
                  <a:ext uri="{FF2B5EF4-FFF2-40B4-BE49-F238E27FC236}">
                    <a16:creationId xmlns:a16="http://schemas.microsoft.com/office/drawing/2014/main" id="{DE1EA92A-DBC7-B749-9767-E7B2D5BD99C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F3C81943-C1E3-344C-9C89-756433C45B2E}"/>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21" name="Group 120">
              <a:extLst>
                <a:ext uri="{FF2B5EF4-FFF2-40B4-BE49-F238E27FC236}">
                  <a16:creationId xmlns:a16="http://schemas.microsoft.com/office/drawing/2014/main" id="{D3A6EECD-3549-904A-A40E-911DC97AF001}"/>
                </a:ext>
              </a:extLst>
            </p:cNvPr>
            <p:cNvGrpSpPr/>
            <p:nvPr userDrawn="1"/>
          </p:nvGrpSpPr>
          <p:grpSpPr>
            <a:xfrm>
              <a:off x="9558507" y="1119891"/>
              <a:ext cx="2639328" cy="202617"/>
              <a:chOff x="9303325" y="149270"/>
              <a:chExt cx="2639328" cy="202617"/>
            </a:xfrm>
          </p:grpSpPr>
          <p:sp>
            <p:nvSpPr>
              <p:cNvPr id="127" name="TextBox 126">
                <a:extLst>
                  <a:ext uri="{FF2B5EF4-FFF2-40B4-BE49-F238E27FC236}">
                    <a16:creationId xmlns:a16="http://schemas.microsoft.com/office/drawing/2014/main" id="{F72EE2BF-96DA-ED48-A29C-73A7C7A51107}"/>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128" name="Straight Connector 127">
                <a:extLst>
                  <a:ext uri="{FF2B5EF4-FFF2-40B4-BE49-F238E27FC236}">
                    <a16:creationId xmlns:a16="http://schemas.microsoft.com/office/drawing/2014/main" id="{D92BD20A-0C8C-E14A-BB7D-7F4DA53A0336}"/>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2" name="Group 1">
              <a:extLst>
                <a:ext uri="{FF2B5EF4-FFF2-40B4-BE49-F238E27FC236}">
                  <a16:creationId xmlns:a16="http://schemas.microsoft.com/office/drawing/2014/main" id="{6ECFF6AF-6125-D947-8881-54BBFA9474F9}"/>
                </a:ext>
              </a:extLst>
            </p:cNvPr>
            <p:cNvGrpSpPr/>
            <p:nvPr userDrawn="1"/>
          </p:nvGrpSpPr>
          <p:grpSpPr>
            <a:xfrm>
              <a:off x="9521833" y="4842694"/>
              <a:ext cx="2754815" cy="4787509"/>
              <a:chOff x="9521833" y="2034287"/>
              <a:chExt cx="2754815" cy="4787509"/>
            </a:xfrm>
          </p:grpSpPr>
          <p:grpSp>
            <p:nvGrpSpPr>
              <p:cNvPr id="111" name="Group 110">
                <a:extLst>
                  <a:ext uri="{FF2B5EF4-FFF2-40B4-BE49-F238E27FC236}">
                    <a16:creationId xmlns:a16="http://schemas.microsoft.com/office/drawing/2014/main" id="{15CE3F5C-AE46-334A-898C-C2B42488CBAF}"/>
                  </a:ext>
                </a:extLst>
              </p:cNvPr>
              <p:cNvGrpSpPr/>
              <p:nvPr userDrawn="1"/>
            </p:nvGrpSpPr>
            <p:grpSpPr>
              <a:xfrm>
                <a:off x="9521833" y="5769065"/>
                <a:ext cx="2676002" cy="1052731"/>
                <a:chOff x="9521833" y="2036288"/>
                <a:chExt cx="2676002" cy="1052731"/>
              </a:xfrm>
            </p:grpSpPr>
            <p:sp>
              <p:nvSpPr>
                <p:cNvPr id="129" name="TextBox 128">
                  <a:extLst>
                    <a:ext uri="{FF2B5EF4-FFF2-40B4-BE49-F238E27FC236}">
                      <a16:creationId xmlns:a16="http://schemas.microsoft.com/office/drawing/2014/main" id="{EA92E2AA-DFD9-5A4F-AB03-5A37B9AECDF8}"/>
                    </a:ext>
                  </a:extLst>
                </p:cNvPr>
                <p:cNvSpPr txBox="1"/>
                <p:nvPr userDrawn="1"/>
              </p:nvSpPr>
              <p:spPr>
                <a:xfrm>
                  <a:off x="9558507" y="2036288"/>
                  <a:ext cx="99666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ADD A NEW CHART</a:t>
                  </a:r>
                </a:p>
              </p:txBody>
            </p:sp>
            <p:cxnSp>
              <p:nvCxnSpPr>
                <p:cNvPr id="130" name="Straight Connector 129">
                  <a:extLst>
                    <a:ext uri="{FF2B5EF4-FFF2-40B4-BE49-F238E27FC236}">
                      <a16:creationId xmlns:a16="http://schemas.microsoft.com/office/drawing/2014/main" id="{6DEBF951-684E-EF4C-AD44-7EE3A3D737A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B7170F64-401B-944F-BE85-D64B70491AD1}"/>
                    </a:ext>
                  </a:extLst>
                </p:cNvPr>
                <p:cNvGrpSpPr/>
                <p:nvPr userDrawn="1"/>
              </p:nvGrpSpPr>
              <p:grpSpPr>
                <a:xfrm>
                  <a:off x="9521833" y="2361408"/>
                  <a:ext cx="2557391" cy="323165"/>
                  <a:chOff x="12352022" y="513115"/>
                  <a:chExt cx="2557391" cy="323165"/>
                </a:xfrm>
              </p:grpSpPr>
              <p:sp>
                <p:nvSpPr>
                  <p:cNvPr id="133" name="TextBox 132">
                    <a:extLst>
                      <a:ext uri="{FF2B5EF4-FFF2-40B4-BE49-F238E27FC236}">
                        <a16:creationId xmlns:a16="http://schemas.microsoft.com/office/drawing/2014/main" id="{C6F193A3-7D39-1C40-9C0D-B981EB53025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4" name="TextBox 133">
                    <a:extLst>
                      <a:ext uri="{FF2B5EF4-FFF2-40B4-BE49-F238E27FC236}">
                        <a16:creationId xmlns:a16="http://schemas.microsoft.com/office/drawing/2014/main" id="{C7940ED9-915B-9248-BA2F-A342231D2934}"/>
                      </a:ext>
                    </a:extLst>
                  </p:cNvPr>
                  <p:cNvSpPr txBox="1"/>
                  <p:nvPr userDrawn="1"/>
                </p:nvSpPr>
                <p:spPr>
                  <a:xfrm>
                    <a:off x="12516615" y="513115"/>
                    <a:ext cx="2392798"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Open the </a:t>
                    </a:r>
                    <a:r>
                      <a:rPr lang="en-US" sz="1050" b="1" dirty="0"/>
                      <a:t>VEDP Template Assets file </a:t>
                    </a:r>
                    <a:r>
                      <a:rPr lang="en-US" sz="1050" dirty="0"/>
                      <a:t>and copy the desired chart type into your presentation.</a:t>
                    </a:r>
                  </a:p>
                </p:txBody>
              </p:sp>
            </p:grpSp>
            <p:sp>
              <p:nvSpPr>
                <p:cNvPr id="132" name="TextBox 131">
                  <a:extLst>
                    <a:ext uri="{FF2B5EF4-FFF2-40B4-BE49-F238E27FC236}">
                      <a16:creationId xmlns:a16="http://schemas.microsoft.com/office/drawing/2014/main" id="{A80FD326-85FF-264F-97DA-05F43B20FA05}"/>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112" name="TextBox 111">
                <a:extLst>
                  <a:ext uri="{FF2B5EF4-FFF2-40B4-BE49-F238E27FC236}">
                    <a16:creationId xmlns:a16="http://schemas.microsoft.com/office/drawing/2014/main" id="{643017B9-5EB5-3C43-964D-F8B34AE37A52}"/>
                  </a:ext>
                </a:extLst>
              </p:cNvPr>
              <p:cNvSpPr txBox="1"/>
              <p:nvPr userDrawn="1"/>
            </p:nvSpPr>
            <p:spPr>
              <a:xfrm>
                <a:off x="9558507" y="2034287"/>
                <a:ext cx="15424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FORMAT AN EXISTING CHART</a:t>
                </a:r>
              </a:p>
            </p:txBody>
          </p:sp>
          <p:cxnSp>
            <p:nvCxnSpPr>
              <p:cNvPr id="113" name="Straight Connector 112">
                <a:extLst>
                  <a:ext uri="{FF2B5EF4-FFF2-40B4-BE49-F238E27FC236}">
                    <a16:creationId xmlns:a16="http://schemas.microsoft.com/office/drawing/2014/main" id="{E5A28B81-D028-A442-A2BB-C885D0421BAF}"/>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4" name="TextBox 113">
                <a:extLst>
                  <a:ext uri="{FF2B5EF4-FFF2-40B4-BE49-F238E27FC236}">
                    <a16:creationId xmlns:a16="http://schemas.microsoft.com/office/drawing/2014/main" id="{BC6B2BDC-1C6B-FF49-886E-34C4A1F31A1B}"/>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15" name="TextBox 114">
                <a:extLst>
                  <a:ext uri="{FF2B5EF4-FFF2-40B4-BE49-F238E27FC236}">
                    <a16:creationId xmlns:a16="http://schemas.microsoft.com/office/drawing/2014/main" id="{386F9AE4-1003-E841-B986-2DFA8186BE2A}"/>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16" name="TextBox 115">
                <a:extLst>
                  <a:ext uri="{FF2B5EF4-FFF2-40B4-BE49-F238E27FC236}">
                    <a16:creationId xmlns:a16="http://schemas.microsoft.com/office/drawing/2014/main" id="{81D4359D-396D-B047-8048-C51D25FF5FA9}"/>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the chart placeholder and then paste your existing chart.</a:t>
                </a:r>
              </a:p>
            </p:txBody>
          </p:sp>
          <p:sp>
            <p:nvSpPr>
              <p:cNvPr id="117" name="TextBox 116">
                <a:extLst>
                  <a:ext uri="{FF2B5EF4-FFF2-40B4-BE49-F238E27FC236}">
                    <a16:creationId xmlns:a16="http://schemas.microsoft.com/office/drawing/2014/main" id="{F595C52D-E737-B648-97C4-D0EEE4002727}"/>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Right-click on the chart and choose “Change Chart Type…”</a:t>
                </a:r>
              </a:p>
            </p:txBody>
          </p:sp>
          <p:sp>
            <p:nvSpPr>
              <p:cNvPr id="118" name="TextBox 117">
                <a:extLst>
                  <a:ext uri="{FF2B5EF4-FFF2-40B4-BE49-F238E27FC236}">
                    <a16:creationId xmlns:a16="http://schemas.microsoft.com/office/drawing/2014/main" id="{A9B4217E-F58C-E841-B458-5948479DD205}"/>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119" name="TextBox 118">
                <a:extLst>
                  <a:ext uri="{FF2B5EF4-FFF2-40B4-BE49-F238E27FC236}">
                    <a16:creationId xmlns:a16="http://schemas.microsoft.com/office/drawing/2014/main" id="{BFF5E862-5288-9E4B-88AE-8C1A9F992012}"/>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Choose one of the VEDP chart styles from the ‘Templates’ category.</a:t>
                </a:r>
              </a:p>
            </p:txBody>
          </p:sp>
          <p:sp>
            <p:nvSpPr>
              <p:cNvPr id="120" name="TextBox 119">
                <a:extLst>
                  <a:ext uri="{FF2B5EF4-FFF2-40B4-BE49-F238E27FC236}">
                    <a16:creationId xmlns:a16="http://schemas.microsoft.com/office/drawing/2014/main" id="{12A69AE4-A4C6-4F4C-A368-8510B3FA8B6B}"/>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122" name="Group 121">
                <a:extLst>
                  <a:ext uri="{FF2B5EF4-FFF2-40B4-BE49-F238E27FC236}">
                    <a16:creationId xmlns:a16="http://schemas.microsoft.com/office/drawing/2014/main" id="{CB984C52-4124-AA4D-8458-190AC08BEB6E}"/>
                  </a:ext>
                </a:extLst>
              </p:cNvPr>
              <p:cNvGrpSpPr/>
              <p:nvPr userDrawn="1"/>
            </p:nvGrpSpPr>
            <p:grpSpPr>
              <a:xfrm>
                <a:off x="9541497" y="4046193"/>
                <a:ext cx="2735151" cy="1533198"/>
                <a:chOff x="9296567" y="4910412"/>
                <a:chExt cx="2735151" cy="1533198"/>
              </a:xfrm>
            </p:grpSpPr>
            <p:sp>
              <p:nvSpPr>
                <p:cNvPr id="123" name="Rectangle 122">
                  <a:extLst>
                    <a:ext uri="{FF2B5EF4-FFF2-40B4-BE49-F238E27FC236}">
                      <a16:creationId xmlns:a16="http://schemas.microsoft.com/office/drawing/2014/main" id="{18659A9D-C0B3-654D-927A-38F08EBCB65C}"/>
                    </a:ext>
                  </a:extLst>
                </p:cNvPr>
                <p:cNvSpPr/>
                <p:nvPr userDrawn="1"/>
              </p:nvSpPr>
              <p:spPr>
                <a:xfrm>
                  <a:off x="9296567" y="4910412"/>
                  <a:ext cx="2735151" cy="153319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24" name="TextBox 123">
                  <a:extLst>
                    <a:ext uri="{FF2B5EF4-FFF2-40B4-BE49-F238E27FC236}">
                      <a16:creationId xmlns:a16="http://schemas.microsoft.com/office/drawing/2014/main" id="{9935FD93-FA7C-9049-9D3B-CB3B8CD860B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125" name="Graphic 124">
                  <a:extLst>
                    <a:ext uri="{FF2B5EF4-FFF2-40B4-BE49-F238E27FC236}">
                      <a16:creationId xmlns:a16="http://schemas.microsoft.com/office/drawing/2014/main" id="{69667A08-748B-D846-BF72-062D307D1266}"/>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6" name="TextBox 125">
                  <a:extLst>
                    <a:ext uri="{FF2B5EF4-FFF2-40B4-BE49-F238E27FC236}">
                      <a16:creationId xmlns:a16="http://schemas.microsoft.com/office/drawing/2014/main" id="{AF22BED9-0030-8546-AC2B-0DC1FA590F5F}"/>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dirty="0"/>
                    <a:t>In case of error, return legend entries, data labels, and/or chart formatting by re-applying the current VEDP chart style template.</a:t>
                  </a:r>
                </a:p>
                <a:p>
                  <a:pPr lvl="1"/>
                  <a:r>
                    <a:rPr lang="en-US" sz="900" dirty="0"/>
                    <a:t>Right-click the chart and choose</a:t>
                  </a:r>
                  <a:br>
                    <a:rPr lang="en-US" sz="900" dirty="0"/>
                  </a:br>
                  <a:r>
                    <a:rPr lang="en-US" sz="900" dirty="0"/>
                    <a:t>“Change Chart Type”</a:t>
                  </a:r>
                </a:p>
                <a:p>
                  <a:pPr lvl="1"/>
                  <a:r>
                    <a:rPr lang="en-US" sz="900" dirty="0"/>
                    <a:t>Then choose the matching VEDP chart style from the ‘Templates’ category.</a:t>
                  </a:r>
                </a:p>
              </p:txBody>
            </p:sp>
          </p:grpSp>
        </p:grpSp>
        <p:pic>
          <p:nvPicPr>
            <p:cNvPr id="42" name="Picture 41">
              <a:extLst>
                <a:ext uri="{FF2B5EF4-FFF2-40B4-BE49-F238E27FC236}">
                  <a16:creationId xmlns:a16="http://schemas.microsoft.com/office/drawing/2014/main" id="{CD6F2F4C-A392-B448-B641-E1F03F45D8ED}"/>
                </a:ext>
              </a:extLst>
            </p:cNvPr>
            <p:cNvPicPr>
              <a:picLocks noChangeAspect="1"/>
            </p:cNvPicPr>
            <p:nvPr userDrawn="1"/>
          </p:nvPicPr>
          <p:blipFill rotWithShape="1">
            <a:blip r:embed="rId7"/>
            <a:srcRect r="41694"/>
            <a:stretch/>
          </p:blipFill>
          <p:spPr>
            <a:xfrm>
              <a:off x="9558506" y="2465572"/>
              <a:ext cx="2639328" cy="995540"/>
            </a:xfrm>
            <a:prstGeom prst="rect">
              <a:avLst/>
            </a:prstGeom>
          </p:spPr>
        </p:pic>
        <p:grpSp>
          <p:nvGrpSpPr>
            <p:cNvPr id="48" name="Group 47">
              <a:extLst>
                <a:ext uri="{FF2B5EF4-FFF2-40B4-BE49-F238E27FC236}">
                  <a16:creationId xmlns:a16="http://schemas.microsoft.com/office/drawing/2014/main" id="{D6C89488-0DED-C34F-BA63-BB2306F07887}"/>
                </a:ext>
              </a:extLst>
            </p:cNvPr>
            <p:cNvGrpSpPr/>
            <p:nvPr userDrawn="1"/>
          </p:nvGrpSpPr>
          <p:grpSpPr>
            <a:xfrm>
              <a:off x="9521833" y="1389696"/>
              <a:ext cx="2617883" cy="161583"/>
              <a:chOff x="12352022" y="513115"/>
              <a:chExt cx="2617883" cy="161583"/>
            </a:xfrm>
          </p:grpSpPr>
          <p:sp>
            <p:nvSpPr>
              <p:cNvPr id="49" name="TextBox 48">
                <a:extLst>
                  <a:ext uri="{FF2B5EF4-FFF2-40B4-BE49-F238E27FC236}">
                    <a16:creationId xmlns:a16="http://schemas.microsoft.com/office/drawing/2014/main" id="{E89C6915-94F6-4D4B-8975-ED14DBCA833F}"/>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0" name="TextBox 49">
                <a:extLst>
                  <a:ext uri="{FF2B5EF4-FFF2-40B4-BE49-F238E27FC236}">
                    <a16:creationId xmlns:a16="http://schemas.microsoft.com/office/drawing/2014/main" id="{FE244EEE-8393-A640-A30E-410E64B399C3}"/>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Chart Title</a:t>
                </a:r>
              </a:p>
            </p:txBody>
          </p:sp>
        </p:grpSp>
        <p:grpSp>
          <p:nvGrpSpPr>
            <p:cNvPr id="51" name="Group 50">
              <a:extLst>
                <a:ext uri="{FF2B5EF4-FFF2-40B4-BE49-F238E27FC236}">
                  <a16:creationId xmlns:a16="http://schemas.microsoft.com/office/drawing/2014/main" id="{CD42217E-81A1-104F-955A-C09C77A38FBC}"/>
                </a:ext>
              </a:extLst>
            </p:cNvPr>
            <p:cNvGrpSpPr/>
            <p:nvPr userDrawn="1"/>
          </p:nvGrpSpPr>
          <p:grpSpPr>
            <a:xfrm>
              <a:off x="9521833" y="2233977"/>
              <a:ext cx="2617883" cy="161583"/>
              <a:chOff x="12352022" y="513115"/>
              <a:chExt cx="2617883" cy="161583"/>
            </a:xfrm>
          </p:grpSpPr>
          <p:sp>
            <p:nvSpPr>
              <p:cNvPr id="52" name="TextBox 51">
                <a:extLst>
                  <a:ext uri="{FF2B5EF4-FFF2-40B4-BE49-F238E27FC236}">
                    <a16:creationId xmlns:a16="http://schemas.microsoft.com/office/drawing/2014/main" id="{257BABD1-3C83-0B45-98DC-FCF22AD55A6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3" name="TextBox 52">
                <a:extLst>
                  <a:ext uri="{FF2B5EF4-FFF2-40B4-BE49-F238E27FC236}">
                    <a16:creationId xmlns:a16="http://schemas.microsoft.com/office/drawing/2014/main" id="{81EDE936-4FAD-0D4A-AC8B-538F26FFEA64}"/>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Text</a:t>
                </a:r>
              </a:p>
            </p:txBody>
          </p:sp>
        </p:grpSp>
        <p:grpSp>
          <p:nvGrpSpPr>
            <p:cNvPr id="54" name="Group 53">
              <a:extLst>
                <a:ext uri="{FF2B5EF4-FFF2-40B4-BE49-F238E27FC236}">
                  <a16:creationId xmlns:a16="http://schemas.microsoft.com/office/drawing/2014/main" id="{101CA2DD-38D7-7342-A3CE-110F68E2A092}"/>
                </a:ext>
              </a:extLst>
            </p:cNvPr>
            <p:cNvGrpSpPr/>
            <p:nvPr userDrawn="1"/>
          </p:nvGrpSpPr>
          <p:grpSpPr>
            <a:xfrm>
              <a:off x="9554253" y="3557439"/>
              <a:ext cx="2819399" cy="1181890"/>
              <a:chOff x="9541498" y="3352649"/>
              <a:chExt cx="2819399" cy="1181890"/>
            </a:xfrm>
          </p:grpSpPr>
          <p:grpSp>
            <p:nvGrpSpPr>
              <p:cNvPr id="55" name="Group 54">
                <a:extLst>
                  <a:ext uri="{FF2B5EF4-FFF2-40B4-BE49-F238E27FC236}">
                    <a16:creationId xmlns:a16="http://schemas.microsoft.com/office/drawing/2014/main" id="{90218002-4B02-564D-A2BF-0D09979B2947}"/>
                  </a:ext>
                </a:extLst>
              </p:cNvPr>
              <p:cNvGrpSpPr/>
              <p:nvPr userDrawn="1"/>
            </p:nvGrpSpPr>
            <p:grpSpPr>
              <a:xfrm>
                <a:off x="9541498" y="3352649"/>
                <a:ext cx="2735150" cy="1181890"/>
                <a:chOff x="9541498" y="3751132"/>
                <a:chExt cx="2735150" cy="1181890"/>
              </a:xfrm>
            </p:grpSpPr>
            <p:grpSp>
              <p:nvGrpSpPr>
                <p:cNvPr id="57" name="Group 56">
                  <a:extLst>
                    <a:ext uri="{FF2B5EF4-FFF2-40B4-BE49-F238E27FC236}">
                      <a16:creationId xmlns:a16="http://schemas.microsoft.com/office/drawing/2014/main" id="{CBF6E043-B29D-E249-8D60-765DDD87E278}"/>
                    </a:ext>
                  </a:extLst>
                </p:cNvPr>
                <p:cNvGrpSpPr/>
                <p:nvPr userDrawn="1"/>
              </p:nvGrpSpPr>
              <p:grpSpPr>
                <a:xfrm>
                  <a:off x="9541498" y="3751132"/>
                  <a:ext cx="2735150" cy="1181890"/>
                  <a:chOff x="9296568" y="4910411"/>
                  <a:chExt cx="2735150" cy="1181890"/>
                </a:xfrm>
              </p:grpSpPr>
              <p:sp>
                <p:nvSpPr>
                  <p:cNvPr id="59" name="Rectangle 58">
                    <a:extLst>
                      <a:ext uri="{FF2B5EF4-FFF2-40B4-BE49-F238E27FC236}">
                        <a16:creationId xmlns:a16="http://schemas.microsoft.com/office/drawing/2014/main" id="{8FADE130-D33A-2F46-9CD0-6AC4FFE5A97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0" name="TextBox 59">
                    <a:extLst>
                      <a:ext uri="{FF2B5EF4-FFF2-40B4-BE49-F238E27FC236}">
                        <a16:creationId xmlns:a16="http://schemas.microsoft.com/office/drawing/2014/main" id="{6EAF02B6-2D34-C642-BAC0-B2B8830ABC01}"/>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1" name="TextBox 60">
                    <a:extLst>
                      <a:ext uri="{FF2B5EF4-FFF2-40B4-BE49-F238E27FC236}">
                        <a16:creationId xmlns:a16="http://schemas.microsoft.com/office/drawing/2014/main" id="{C0F09278-9856-1E49-9DED-3BB87FE53943}"/>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58" name="Graphic 57">
                  <a:extLst>
                    <a:ext uri="{FF2B5EF4-FFF2-40B4-BE49-F238E27FC236}">
                      <a16:creationId xmlns:a16="http://schemas.microsoft.com/office/drawing/2014/main" id="{35768E32-3EEB-334C-B735-DDE792804463}"/>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56" name="Picture 55">
                <a:extLst>
                  <a:ext uri="{FF2B5EF4-FFF2-40B4-BE49-F238E27FC236}">
                    <a16:creationId xmlns:a16="http://schemas.microsoft.com/office/drawing/2014/main" id="{DA8E6F77-3696-DA42-BC1C-06A344FD999F}"/>
                  </a:ext>
                </a:extLst>
              </p:cNvPr>
              <p:cNvPicPr>
                <a:picLocks noChangeAspect="1"/>
              </p:cNvPicPr>
              <p:nvPr userDrawn="1"/>
            </p:nvPicPr>
            <p:blipFill rotWithShape="1">
              <a:blip r:embed="rId10"/>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59127503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hart and Data Column">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3" name="Chart Placeholder 2">
            <a:extLst>
              <a:ext uri="{FF2B5EF4-FFF2-40B4-BE49-F238E27FC236}">
                <a16:creationId xmlns:a16="http://schemas.microsoft.com/office/drawing/2014/main" id="{FD4B8862-A567-3B46-B0C3-394F4DE43C21}"/>
              </a:ext>
            </a:extLst>
          </p:cNvPr>
          <p:cNvSpPr>
            <a:spLocks noGrp="1"/>
          </p:cNvSpPr>
          <p:nvPr>
            <p:ph type="chart" sz="quarter" idx="113"/>
          </p:nvPr>
        </p:nvSpPr>
        <p:spPr>
          <a:xfrm>
            <a:off x="575733" y="1735138"/>
            <a:ext cx="8711703" cy="4430712"/>
          </a:xfrm>
        </p:spPr>
        <p:txBody>
          <a:bodyPr/>
          <a:lstStyle>
            <a:lvl1pPr>
              <a:defRPr b="0">
                <a:solidFill>
                  <a:schemeClr val="tx1">
                    <a:lumMod val="50000"/>
                    <a:lumOff val="50000"/>
                  </a:schemeClr>
                </a:solidFill>
              </a:defRPr>
            </a:lvl1pPr>
          </a:lstStyle>
          <a:p>
            <a:r>
              <a:rPr lang="en-US"/>
              <a:t>Click icon to add chart</a:t>
            </a:r>
            <a:endParaRPr lang="en-US" dirty="0"/>
          </a:p>
        </p:txBody>
      </p:sp>
      <p:sp>
        <p:nvSpPr>
          <p:cNvPr id="8" name="Table Placeholder 7">
            <a:extLst>
              <a:ext uri="{FF2B5EF4-FFF2-40B4-BE49-F238E27FC236}">
                <a16:creationId xmlns:a16="http://schemas.microsoft.com/office/drawing/2014/main" id="{DF938284-2F1E-584D-9337-D7B87CBC5AA9}"/>
              </a:ext>
            </a:extLst>
          </p:cNvPr>
          <p:cNvSpPr>
            <a:spLocks noGrp="1"/>
          </p:cNvSpPr>
          <p:nvPr>
            <p:ph type="tbl" sz="quarter" idx="114"/>
          </p:nvPr>
        </p:nvSpPr>
        <p:spPr>
          <a:xfrm>
            <a:off x="9735671" y="1877126"/>
            <a:ext cx="1880596" cy="4142674"/>
          </a:xfrm>
        </p:spPr>
        <p:txBody>
          <a:bodyPr/>
          <a:lstStyle>
            <a:lvl1pPr>
              <a:defRPr b="0">
                <a:solidFill>
                  <a:schemeClr val="tx1">
                    <a:lumMod val="50000"/>
                    <a:lumOff val="50000"/>
                  </a:schemeClr>
                </a:solidFill>
              </a:defRPr>
            </a:lvl1pPr>
          </a:lstStyle>
          <a:p>
            <a:r>
              <a:rPr lang="en-US"/>
              <a:t>Click icon to add table</a:t>
            </a:r>
            <a:endParaRPr lang="en-US" dirty="0"/>
          </a:p>
        </p:txBody>
      </p:sp>
      <p:sp>
        <p:nvSpPr>
          <p:cNvPr id="1000" name="Footnotes Placeholder">
            <a:extLst>
              <a:ext uri="{FF2B5EF4-FFF2-40B4-BE49-F238E27FC236}">
                <a16:creationId xmlns:a16="http://schemas.microsoft.com/office/drawing/2014/main" id="{36A53150-D08D-9841-95BF-646666A13560}"/>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74" name="Text Placeholder 6">
            <a:extLst>
              <a:ext uri="{FF2B5EF4-FFF2-40B4-BE49-F238E27FC236}">
                <a16:creationId xmlns:a16="http://schemas.microsoft.com/office/drawing/2014/main" id="{0EEFD735-CCDF-DA48-8D5E-802BC215A699}"/>
              </a:ext>
            </a:extLst>
          </p:cNvPr>
          <p:cNvSpPr>
            <a:spLocks noGrp="1"/>
          </p:cNvSpPr>
          <p:nvPr>
            <p:ph type="body" sz="quarter" idx="108" hasCustomPrompt="1"/>
          </p:nvPr>
        </p:nvSpPr>
        <p:spPr>
          <a:xfrm>
            <a:off x="575734" y="1224318"/>
            <a:ext cx="1904367" cy="386926"/>
          </a:xfrm>
          <a:blipFill dpi="0" rotWithShape="1">
            <a:blip r:embed="rId2"/>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dirty="0"/>
              <a:t>Click to add chart title</a:t>
            </a:r>
          </a:p>
          <a:p>
            <a:pPr lvl="1"/>
            <a:r>
              <a:rPr lang="en-US" dirty="0"/>
              <a:t>Chart subtitle (second level)</a:t>
            </a:r>
          </a:p>
        </p:txBody>
      </p:sp>
      <p:sp>
        <p:nvSpPr>
          <p:cNvPr id="75" name="Text Placeholder 6">
            <a:extLst>
              <a:ext uri="{FF2B5EF4-FFF2-40B4-BE49-F238E27FC236}">
                <a16:creationId xmlns:a16="http://schemas.microsoft.com/office/drawing/2014/main" id="{F2931FB7-F796-0A4B-9B3B-8EBE98CF1E80}"/>
              </a:ext>
            </a:extLst>
          </p:cNvPr>
          <p:cNvSpPr>
            <a:spLocks noGrp="1"/>
          </p:cNvSpPr>
          <p:nvPr>
            <p:ph type="body" sz="quarter" idx="115" hasCustomPrompt="1"/>
          </p:nvPr>
        </p:nvSpPr>
        <p:spPr>
          <a:xfrm>
            <a:off x="9735671" y="1211494"/>
            <a:ext cx="1880596" cy="399750"/>
          </a:xfrm>
          <a:blipFill dpi="0" rotWithShape="1">
            <a:blip r:embed="rId2"/>
            <a:srcRect/>
            <a:tile tx="0" ty="0" sx="100000" sy="100000" flip="xy" algn="b"/>
          </a:blipFill>
          <a:effectLst/>
        </p:spPr>
        <p:txBody>
          <a:bodyPr wrap="square" bIns="54000" anchor="b">
            <a:spAutoFit/>
          </a:bodyPr>
          <a:lstStyle>
            <a:lvl1pPr marL="3175" indent="0" algn="ctr">
              <a:spcBef>
                <a:spcPts val="100"/>
              </a:spcBef>
              <a:spcAft>
                <a:spcPts val="0"/>
              </a:spcAft>
              <a:tabLst/>
              <a:defRPr sz="1200">
                <a:solidFill>
                  <a:schemeClr val="tx1"/>
                </a:solidFill>
              </a:defRPr>
            </a:lvl1pPr>
            <a:lvl2pPr marL="3175" indent="0" algn="ctr">
              <a:spcAft>
                <a:spcPts val="0"/>
              </a:spcAft>
              <a:buFont typeface="Arial" panose="020B0604020202020204" pitchFamily="34" charset="0"/>
              <a:buNone/>
              <a:tabLst/>
              <a:defRPr sz="1200">
                <a:solidFill>
                  <a:schemeClr val="tx1"/>
                </a:solidFill>
              </a:defRPr>
            </a:lvl2pPr>
            <a:lvl3pPr marL="3175" indent="0" algn="ctr">
              <a:buNone/>
              <a:tabLst/>
              <a:defRPr sz="1200">
                <a:solidFill>
                  <a:schemeClr val="tx1"/>
                </a:solidFill>
              </a:defRPr>
            </a:lvl3pPr>
            <a:lvl4pPr marL="3175" indent="0" algn="ctr">
              <a:spcAft>
                <a:spcPts val="0"/>
              </a:spcAft>
              <a:buNone/>
              <a:tabLst/>
              <a:defRPr sz="1200">
                <a:solidFill>
                  <a:schemeClr val="tx1"/>
                </a:solidFill>
              </a:defRPr>
            </a:lvl4pPr>
            <a:lvl5pPr marL="3175" indent="0" algn="ctr">
              <a:spcAft>
                <a:spcPts val="0"/>
              </a:spcAft>
              <a:buFont typeface="Arial" panose="020B0604020202020204" pitchFamily="34" charset="0"/>
              <a:buNone/>
              <a:tabLst/>
              <a:defRPr sz="1200">
                <a:solidFill>
                  <a:schemeClr val="tx1"/>
                </a:solidFill>
              </a:defRPr>
            </a:lvl5pPr>
            <a:lvl6pPr marL="3175" indent="0" algn="ctr">
              <a:spcAft>
                <a:spcPts val="0"/>
              </a:spcAft>
              <a:buNone/>
              <a:tabLst/>
              <a:defRPr sz="1200">
                <a:solidFill>
                  <a:schemeClr val="tx1"/>
                </a:solidFill>
              </a:defRPr>
            </a:lvl6pPr>
            <a:lvl7pPr marL="3175" indent="0" algn="ctr">
              <a:spcAft>
                <a:spcPts val="0"/>
              </a:spcAft>
              <a:buNone/>
              <a:tabLst/>
              <a:defRPr sz="1200">
                <a:solidFill>
                  <a:schemeClr val="tx1"/>
                </a:solidFill>
              </a:defRPr>
            </a:lvl7pPr>
            <a:lvl8pPr marL="3175" indent="0" algn="ctr">
              <a:spcAft>
                <a:spcPts val="0"/>
              </a:spcAft>
              <a:buNone/>
              <a:tabLst/>
              <a:defRPr sz="1200">
                <a:solidFill>
                  <a:schemeClr val="tx1"/>
                </a:solidFill>
              </a:defRPr>
            </a:lvl8pPr>
            <a:lvl9pPr marL="3175" indent="0" algn="ctr">
              <a:spcAft>
                <a:spcPts val="0"/>
              </a:spcAft>
              <a:buNone/>
              <a:tabLst/>
              <a:defRPr sz="1200">
                <a:solidFill>
                  <a:schemeClr val="tx1"/>
                </a:solidFill>
              </a:defRPr>
            </a:lvl9pPr>
          </a:lstStyle>
          <a:p>
            <a:pPr lvl="0"/>
            <a:r>
              <a:rPr lang="en-US" dirty="0"/>
              <a:t>Click to add topic</a:t>
            </a:r>
          </a:p>
          <a:p>
            <a:pPr lvl="1"/>
            <a:r>
              <a:rPr lang="en-US" dirty="0"/>
              <a:t>Subtitle</a:t>
            </a:r>
          </a:p>
        </p:txBody>
      </p:sp>
      <p:sp>
        <p:nvSpPr>
          <p:cNvPr id="6" name="Date Placeholder 5">
            <a:extLst>
              <a:ext uri="{FF2B5EF4-FFF2-40B4-BE49-F238E27FC236}">
                <a16:creationId xmlns:a16="http://schemas.microsoft.com/office/drawing/2014/main" id="{00E0EC71-9467-C940-A5C4-5AE2C2306E07}"/>
              </a:ext>
            </a:extLst>
          </p:cNvPr>
          <p:cNvSpPr>
            <a:spLocks noGrp="1"/>
          </p:cNvSpPr>
          <p:nvPr userDrawn="1">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71040711-9799-2949-9707-943424D7AC7C}"/>
              </a:ext>
            </a:extLst>
          </p:cNvPr>
          <p:cNvSpPr>
            <a:spLocks noGrp="1"/>
          </p:cNvSpPr>
          <p:nvPr userDrawn="1">
            <p:ph type="ftr" sz="quarter" idx="117"/>
          </p:nvPr>
        </p:nvSpPr>
        <p:spPr/>
        <p:txBody>
          <a:bodyPr/>
          <a:lstStyle/>
          <a:p>
            <a:endParaRPr lang="en-US" dirty="0"/>
          </a:p>
        </p:txBody>
      </p:sp>
      <p:sp>
        <p:nvSpPr>
          <p:cNvPr id="10" name="Slide Number Placeholder 9">
            <a:extLst>
              <a:ext uri="{FF2B5EF4-FFF2-40B4-BE49-F238E27FC236}">
                <a16:creationId xmlns:a16="http://schemas.microsoft.com/office/drawing/2014/main" id="{1CAA4B3A-4569-BE43-A665-117BBA2442D6}"/>
              </a:ext>
            </a:extLst>
          </p:cNvPr>
          <p:cNvSpPr>
            <a:spLocks noGrp="1"/>
          </p:cNvSpPr>
          <p:nvPr userDrawn="1">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17" name="Group 16">
            <a:extLst>
              <a:ext uri="{FF2B5EF4-FFF2-40B4-BE49-F238E27FC236}">
                <a16:creationId xmlns:a16="http://schemas.microsoft.com/office/drawing/2014/main" id="{B864070E-A16B-8540-98EE-429756CFB812}"/>
              </a:ext>
            </a:extLst>
          </p:cNvPr>
          <p:cNvGrpSpPr/>
          <p:nvPr userDrawn="1"/>
        </p:nvGrpSpPr>
        <p:grpSpPr>
          <a:xfrm>
            <a:off x="12532244" y="-1"/>
            <a:ext cx="3948953" cy="9267987"/>
            <a:chOff x="9399182" y="-1"/>
            <a:chExt cx="2961715" cy="9267987"/>
          </a:xfrm>
        </p:grpSpPr>
        <p:sp>
          <p:nvSpPr>
            <p:cNvPr id="77" name="Rectangle 76">
              <a:extLst>
                <a:ext uri="{FF2B5EF4-FFF2-40B4-BE49-F238E27FC236}">
                  <a16:creationId xmlns:a16="http://schemas.microsoft.com/office/drawing/2014/main" id="{0603B78C-BC30-1640-816E-69DA7CE83E2F}"/>
                </a:ext>
              </a:extLst>
            </p:cNvPr>
            <p:cNvSpPr/>
            <p:nvPr userDrawn="1"/>
          </p:nvSpPr>
          <p:spPr>
            <a:xfrm>
              <a:off x="9399182" y="-1"/>
              <a:ext cx="2798651" cy="926798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56" name="Picture 55">
              <a:extLst>
                <a:ext uri="{FF2B5EF4-FFF2-40B4-BE49-F238E27FC236}">
                  <a16:creationId xmlns:a16="http://schemas.microsoft.com/office/drawing/2014/main" id="{9826FF71-3274-F14B-B6F7-E4981E065655}"/>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78" name="Group 77">
              <a:extLst>
                <a:ext uri="{FF2B5EF4-FFF2-40B4-BE49-F238E27FC236}">
                  <a16:creationId xmlns:a16="http://schemas.microsoft.com/office/drawing/2014/main" id="{98722430-68E5-C049-90EB-29339645DED9}"/>
                </a:ext>
              </a:extLst>
            </p:cNvPr>
            <p:cNvGrpSpPr/>
            <p:nvPr userDrawn="1"/>
          </p:nvGrpSpPr>
          <p:grpSpPr>
            <a:xfrm>
              <a:off x="9541497" y="162442"/>
              <a:ext cx="2819400" cy="814510"/>
              <a:chOff x="-3644733" y="165205"/>
              <a:chExt cx="2819400" cy="814510"/>
            </a:xfrm>
          </p:grpSpPr>
          <p:sp>
            <p:nvSpPr>
              <p:cNvPr id="104" name="Rectangle 103">
                <a:extLst>
                  <a:ext uri="{FF2B5EF4-FFF2-40B4-BE49-F238E27FC236}">
                    <a16:creationId xmlns:a16="http://schemas.microsoft.com/office/drawing/2014/main" id="{28459255-E604-9343-87B1-649A2191144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05" name="TextBox 104">
                <a:extLst>
                  <a:ext uri="{FF2B5EF4-FFF2-40B4-BE49-F238E27FC236}">
                    <a16:creationId xmlns:a16="http://schemas.microsoft.com/office/drawing/2014/main" id="{69499230-744A-E14B-9620-23F5B206215C}"/>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06" name="Picture 105">
                <a:extLst>
                  <a:ext uri="{FF2B5EF4-FFF2-40B4-BE49-F238E27FC236}">
                    <a16:creationId xmlns:a16="http://schemas.microsoft.com/office/drawing/2014/main" id="{8FC05E41-787F-E742-AC69-7912BA0ECCDD}"/>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sp>
          <p:nvSpPr>
            <p:cNvPr id="96" name="TextBox 95">
              <a:extLst>
                <a:ext uri="{FF2B5EF4-FFF2-40B4-BE49-F238E27FC236}">
                  <a16:creationId xmlns:a16="http://schemas.microsoft.com/office/drawing/2014/main" id="{70A88B44-6F55-9D4E-AAE3-48BC61C70445}"/>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97" name="Straight Connector 96">
              <a:extLst>
                <a:ext uri="{FF2B5EF4-FFF2-40B4-BE49-F238E27FC236}">
                  <a16:creationId xmlns:a16="http://schemas.microsoft.com/office/drawing/2014/main" id="{2EAF79B9-3FFF-124B-B1AD-B933F83802D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79" name="Group 78">
              <a:extLst>
                <a:ext uri="{FF2B5EF4-FFF2-40B4-BE49-F238E27FC236}">
                  <a16:creationId xmlns:a16="http://schemas.microsoft.com/office/drawing/2014/main" id="{E91BEBAB-D308-674B-BF77-07962DFE1A2B}"/>
                </a:ext>
              </a:extLst>
            </p:cNvPr>
            <p:cNvGrpSpPr/>
            <p:nvPr userDrawn="1"/>
          </p:nvGrpSpPr>
          <p:grpSpPr>
            <a:xfrm>
              <a:off x="9521833" y="8003265"/>
              <a:ext cx="2676002" cy="1052731"/>
              <a:chOff x="9521833" y="2036288"/>
              <a:chExt cx="2676002" cy="1052731"/>
            </a:xfrm>
          </p:grpSpPr>
          <p:sp>
            <p:nvSpPr>
              <p:cNvPr id="98" name="TextBox 97">
                <a:extLst>
                  <a:ext uri="{FF2B5EF4-FFF2-40B4-BE49-F238E27FC236}">
                    <a16:creationId xmlns:a16="http://schemas.microsoft.com/office/drawing/2014/main" id="{8E29CC56-D7E0-A743-8545-C70D5769BB5C}"/>
                  </a:ext>
                </a:extLst>
              </p:cNvPr>
              <p:cNvSpPr txBox="1"/>
              <p:nvPr userDrawn="1"/>
            </p:nvSpPr>
            <p:spPr>
              <a:xfrm>
                <a:off x="9558507" y="2036288"/>
                <a:ext cx="99666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ADD A NEW CHART</a:t>
                </a:r>
              </a:p>
            </p:txBody>
          </p:sp>
          <p:cxnSp>
            <p:nvCxnSpPr>
              <p:cNvPr id="99" name="Straight Connector 98">
                <a:extLst>
                  <a:ext uri="{FF2B5EF4-FFF2-40B4-BE49-F238E27FC236}">
                    <a16:creationId xmlns:a16="http://schemas.microsoft.com/office/drawing/2014/main" id="{37B40757-D8C1-EC41-9432-9B3652E3815F}"/>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0" name="Group 99">
                <a:extLst>
                  <a:ext uri="{FF2B5EF4-FFF2-40B4-BE49-F238E27FC236}">
                    <a16:creationId xmlns:a16="http://schemas.microsoft.com/office/drawing/2014/main" id="{8B671BCA-8DB9-E644-88C5-5BC2E18F782D}"/>
                  </a:ext>
                </a:extLst>
              </p:cNvPr>
              <p:cNvGrpSpPr/>
              <p:nvPr userDrawn="1"/>
            </p:nvGrpSpPr>
            <p:grpSpPr>
              <a:xfrm>
                <a:off x="9521833" y="2361408"/>
                <a:ext cx="2557391" cy="323165"/>
                <a:chOff x="12352022" y="513115"/>
                <a:chExt cx="2557391" cy="323165"/>
              </a:xfrm>
            </p:grpSpPr>
            <p:sp>
              <p:nvSpPr>
                <p:cNvPr id="102" name="TextBox 101">
                  <a:extLst>
                    <a:ext uri="{FF2B5EF4-FFF2-40B4-BE49-F238E27FC236}">
                      <a16:creationId xmlns:a16="http://schemas.microsoft.com/office/drawing/2014/main" id="{BEB784B2-AE05-A243-8FAF-336308ECBC8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03" name="TextBox 102">
                  <a:extLst>
                    <a:ext uri="{FF2B5EF4-FFF2-40B4-BE49-F238E27FC236}">
                      <a16:creationId xmlns:a16="http://schemas.microsoft.com/office/drawing/2014/main" id="{D7E60B24-6CF0-D146-894F-6A8172D604DE}"/>
                    </a:ext>
                  </a:extLst>
                </p:cNvPr>
                <p:cNvSpPr txBox="1"/>
                <p:nvPr userDrawn="1"/>
              </p:nvSpPr>
              <p:spPr>
                <a:xfrm>
                  <a:off x="12516615" y="513115"/>
                  <a:ext cx="2392798"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Open the </a:t>
                  </a:r>
                  <a:r>
                    <a:rPr lang="en-US" sz="1050" b="1" dirty="0"/>
                    <a:t>VEDP Template Assets file </a:t>
                  </a:r>
                  <a:r>
                    <a:rPr lang="en-US" sz="1050" dirty="0"/>
                    <a:t>and copy the desired chart type into your presentation.</a:t>
                  </a:r>
                </a:p>
              </p:txBody>
            </p:sp>
          </p:grpSp>
          <p:sp>
            <p:nvSpPr>
              <p:cNvPr id="101" name="TextBox 100">
                <a:extLst>
                  <a:ext uri="{FF2B5EF4-FFF2-40B4-BE49-F238E27FC236}">
                    <a16:creationId xmlns:a16="http://schemas.microsoft.com/office/drawing/2014/main" id="{F035D1A9-98A9-1540-B091-D067CCAC007C}"/>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80" name="TextBox 79">
              <a:extLst>
                <a:ext uri="{FF2B5EF4-FFF2-40B4-BE49-F238E27FC236}">
                  <a16:creationId xmlns:a16="http://schemas.microsoft.com/office/drawing/2014/main" id="{FFA433AB-7A83-FE46-B7D5-E3E9223C94FE}"/>
                </a:ext>
              </a:extLst>
            </p:cNvPr>
            <p:cNvSpPr txBox="1"/>
            <p:nvPr userDrawn="1"/>
          </p:nvSpPr>
          <p:spPr>
            <a:xfrm>
              <a:off x="9558507" y="4314602"/>
              <a:ext cx="15424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FORMAT AN EXISTING CHART</a:t>
              </a:r>
            </a:p>
          </p:txBody>
        </p:sp>
        <p:cxnSp>
          <p:nvCxnSpPr>
            <p:cNvPr id="81" name="Straight Connector 80">
              <a:extLst>
                <a:ext uri="{FF2B5EF4-FFF2-40B4-BE49-F238E27FC236}">
                  <a16:creationId xmlns:a16="http://schemas.microsoft.com/office/drawing/2014/main" id="{1B09943F-2379-404A-B5DA-E7E4342B6C86}"/>
                </a:ext>
              </a:extLst>
            </p:cNvPr>
            <p:cNvCxnSpPr>
              <a:cxnSpLocks/>
            </p:cNvCxnSpPr>
            <p:nvPr userDrawn="1"/>
          </p:nvCxnSpPr>
          <p:spPr>
            <a:xfrm>
              <a:off x="9558507" y="4517219"/>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BFB006C8-D07C-804E-A72A-C50DBCE312C1}"/>
                </a:ext>
              </a:extLst>
            </p:cNvPr>
            <p:cNvSpPr txBox="1">
              <a:spLocks noChangeAspect="1"/>
            </p:cNvSpPr>
            <p:nvPr userDrawn="1"/>
          </p:nvSpPr>
          <p:spPr>
            <a:xfrm>
              <a:off x="9521833" y="466474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3" name="TextBox 82">
              <a:extLst>
                <a:ext uri="{FF2B5EF4-FFF2-40B4-BE49-F238E27FC236}">
                  <a16:creationId xmlns:a16="http://schemas.microsoft.com/office/drawing/2014/main" id="{98FC336D-B4A7-4A4A-8AD2-1F9EF034E3AD}"/>
                </a:ext>
              </a:extLst>
            </p:cNvPr>
            <p:cNvSpPr txBox="1">
              <a:spLocks noChangeAspect="1"/>
            </p:cNvSpPr>
            <p:nvPr userDrawn="1"/>
          </p:nvSpPr>
          <p:spPr>
            <a:xfrm>
              <a:off x="9521833" y="539179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4" name="TextBox 83">
              <a:extLst>
                <a:ext uri="{FF2B5EF4-FFF2-40B4-BE49-F238E27FC236}">
                  <a16:creationId xmlns:a16="http://schemas.microsoft.com/office/drawing/2014/main" id="{84AF85FC-1918-5741-B46D-5BD00B98A8B4}"/>
                </a:ext>
              </a:extLst>
            </p:cNvPr>
            <p:cNvSpPr txBox="1"/>
            <p:nvPr userDrawn="1"/>
          </p:nvSpPr>
          <p:spPr>
            <a:xfrm>
              <a:off x="9686426" y="4639722"/>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the chart placeholder and then paste your existing chart.</a:t>
              </a:r>
            </a:p>
          </p:txBody>
        </p:sp>
        <p:sp>
          <p:nvSpPr>
            <p:cNvPr id="85" name="TextBox 84">
              <a:extLst>
                <a:ext uri="{FF2B5EF4-FFF2-40B4-BE49-F238E27FC236}">
                  <a16:creationId xmlns:a16="http://schemas.microsoft.com/office/drawing/2014/main" id="{D674EEFB-EF3C-2340-BE36-9233624B9308}"/>
                </a:ext>
              </a:extLst>
            </p:cNvPr>
            <p:cNvSpPr txBox="1"/>
            <p:nvPr userDrawn="1"/>
          </p:nvSpPr>
          <p:spPr>
            <a:xfrm>
              <a:off x="9686426" y="5368928"/>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Right-click on the chart and choose “Change Chart Type…”</a:t>
              </a:r>
            </a:p>
          </p:txBody>
        </p:sp>
        <p:sp>
          <p:nvSpPr>
            <p:cNvPr id="86" name="TextBox 85">
              <a:extLst>
                <a:ext uri="{FF2B5EF4-FFF2-40B4-BE49-F238E27FC236}">
                  <a16:creationId xmlns:a16="http://schemas.microsoft.com/office/drawing/2014/main" id="{C863F9D4-3950-0241-850A-C88B4A8B95D4}"/>
                </a:ext>
              </a:extLst>
            </p:cNvPr>
            <p:cNvSpPr txBox="1">
              <a:spLocks noChangeAspect="1"/>
            </p:cNvSpPr>
            <p:nvPr userDrawn="1"/>
          </p:nvSpPr>
          <p:spPr>
            <a:xfrm>
              <a:off x="9521833" y="5854789"/>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87" name="TextBox 86">
              <a:extLst>
                <a:ext uri="{FF2B5EF4-FFF2-40B4-BE49-F238E27FC236}">
                  <a16:creationId xmlns:a16="http://schemas.microsoft.com/office/drawing/2014/main" id="{157780A7-784A-CE4E-A107-6AD67C7614A3}"/>
                </a:ext>
              </a:extLst>
            </p:cNvPr>
            <p:cNvSpPr txBox="1"/>
            <p:nvPr userDrawn="1"/>
          </p:nvSpPr>
          <p:spPr>
            <a:xfrm>
              <a:off x="9686426" y="5831918"/>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Choose one of the VEDP chart styles from the ‘Templates’ category.</a:t>
              </a:r>
            </a:p>
          </p:txBody>
        </p:sp>
        <p:sp>
          <p:nvSpPr>
            <p:cNvPr id="88" name="TextBox 87">
              <a:extLst>
                <a:ext uri="{FF2B5EF4-FFF2-40B4-BE49-F238E27FC236}">
                  <a16:creationId xmlns:a16="http://schemas.microsoft.com/office/drawing/2014/main" id="{E018981E-3F1A-7146-9B4B-4485D3EC3895}"/>
                </a:ext>
              </a:extLst>
            </p:cNvPr>
            <p:cNvSpPr txBox="1"/>
            <p:nvPr userDrawn="1"/>
          </p:nvSpPr>
          <p:spPr>
            <a:xfrm>
              <a:off x="9674268" y="5002944"/>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91" name="Group 90">
              <a:extLst>
                <a:ext uri="{FF2B5EF4-FFF2-40B4-BE49-F238E27FC236}">
                  <a16:creationId xmlns:a16="http://schemas.microsoft.com/office/drawing/2014/main" id="{A9C1A1AE-A143-5B45-A93F-D2BC596FED56}"/>
                </a:ext>
              </a:extLst>
            </p:cNvPr>
            <p:cNvGrpSpPr/>
            <p:nvPr userDrawn="1"/>
          </p:nvGrpSpPr>
          <p:grpSpPr>
            <a:xfrm>
              <a:off x="9541497" y="6326507"/>
              <a:ext cx="2735151" cy="1475581"/>
              <a:chOff x="9296567" y="4910411"/>
              <a:chExt cx="2735151" cy="1475581"/>
            </a:xfrm>
          </p:grpSpPr>
          <p:sp>
            <p:nvSpPr>
              <p:cNvPr id="92" name="Rectangle 91">
                <a:extLst>
                  <a:ext uri="{FF2B5EF4-FFF2-40B4-BE49-F238E27FC236}">
                    <a16:creationId xmlns:a16="http://schemas.microsoft.com/office/drawing/2014/main" id="{205C3E47-B0FB-6D42-8FE4-533A345103DB}"/>
                  </a:ext>
                </a:extLst>
              </p:cNvPr>
              <p:cNvSpPr/>
              <p:nvPr userDrawn="1"/>
            </p:nvSpPr>
            <p:spPr>
              <a:xfrm>
                <a:off x="9296567" y="4910411"/>
                <a:ext cx="2735151" cy="1475581"/>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93" name="TextBox 92">
                <a:extLst>
                  <a:ext uri="{FF2B5EF4-FFF2-40B4-BE49-F238E27FC236}">
                    <a16:creationId xmlns:a16="http://schemas.microsoft.com/office/drawing/2014/main" id="{05B3AB36-11C1-B345-B1C6-7001A0937B3A}"/>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94" name="Graphic 93">
                <a:extLst>
                  <a:ext uri="{FF2B5EF4-FFF2-40B4-BE49-F238E27FC236}">
                    <a16:creationId xmlns:a16="http://schemas.microsoft.com/office/drawing/2014/main" id="{26163978-6874-234F-A1D2-D12DAC94998E}"/>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5" name="TextBox 94">
                <a:extLst>
                  <a:ext uri="{FF2B5EF4-FFF2-40B4-BE49-F238E27FC236}">
                    <a16:creationId xmlns:a16="http://schemas.microsoft.com/office/drawing/2014/main" id="{69B7DBB9-0A63-934A-91F0-2514D4B24140}"/>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dirty="0"/>
                  <a:t>In case of error, return legend entries, data labels, and/or chart formatting by re-applying the current VEDP chart style template.</a:t>
                </a:r>
              </a:p>
              <a:p>
                <a:pPr lvl="1"/>
                <a:r>
                  <a:rPr lang="en-US" sz="900" dirty="0"/>
                  <a:t>Right-click the chart and choose</a:t>
                </a:r>
                <a:br>
                  <a:rPr lang="en-US" sz="900" dirty="0"/>
                </a:br>
                <a:r>
                  <a:rPr lang="en-US" sz="900" dirty="0"/>
                  <a:t>“Change Chart Type”</a:t>
                </a:r>
              </a:p>
              <a:p>
                <a:pPr lvl="1"/>
                <a:r>
                  <a:rPr lang="en-US" sz="900" dirty="0"/>
                  <a:t>Then choose the matching VEDP chart style from the ‘Templates’ category.</a:t>
                </a:r>
              </a:p>
            </p:txBody>
          </p:sp>
        </p:grpSp>
        <p:grpSp>
          <p:nvGrpSpPr>
            <p:cNvPr id="46" name="Group 45">
              <a:extLst>
                <a:ext uri="{FF2B5EF4-FFF2-40B4-BE49-F238E27FC236}">
                  <a16:creationId xmlns:a16="http://schemas.microsoft.com/office/drawing/2014/main" id="{EDC97BF0-6494-054B-BAC7-76B18D15D463}"/>
                </a:ext>
              </a:extLst>
            </p:cNvPr>
            <p:cNvGrpSpPr/>
            <p:nvPr userDrawn="1"/>
          </p:nvGrpSpPr>
          <p:grpSpPr>
            <a:xfrm>
              <a:off x="9541497" y="1990481"/>
              <a:ext cx="2735151" cy="2124319"/>
              <a:chOff x="9296567" y="4910411"/>
              <a:chExt cx="2735151" cy="2124319"/>
            </a:xfrm>
          </p:grpSpPr>
          <p:sp>
            <p:nvSpPr>
              <p:cNvPr id="47" name="Rectangle 46">
                <a:extLst>
                  <a:ext uri="{FF2B5EF4-FFF2-40B4-BE49-F238E27FC236}">
                    <a16:creationId xmlns:a16="http://schemas.microsoft.com/office/drawing/2014/main" id="{6EA5BD78-0CA6-1D44-AE20-16CD67196734}"/>
                  </a:ext>
                </a:extLst>
              </p:cNvPr>
              <p:cNvSpPr/>
              <p:nvPr userDrawn="1"/>
            </p:nvSpPr>
            <p:spPr>
              <a:xfrm>
                <a:off x="9296567" y="4910411"/>
                <a:ext cx="2735151" cy="2124319"/>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8" name="TextBox 47">
                <a:extLst>
                  <a:ext uri="{FF2B5EF4-FFF2-40B4-BE49-F238E27FC236}">
                    <a16:creationId xmlns:a16="http://schemas.microsoft.com/office/drawing/2014/main" id="{C9B44842-1EC0-ED4A-8AFC-859D10E283B5}"/>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se a table to add data column</a:t>
                </a:r>
              </a:p>
            </p:txBody>
          </p:sp>
          <p:pic>
            <p:nvPicPr>
              <p:cNvPr id="49" name="Graphic 48">
                <a:extLst>
                  <a:ext uri="{FF2B5EF4-FFF2-40B4-BE49-F238E27FC236}">
                    <a16:creationId xmlns:a16="http://schemas.microsoft.com/office/drawing/2014/main" id="{B936CAA9-65A1-FC4A-875A-7639F7F131D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50" name="TextBox 49">
                <a:extLst>
                  <a:ext uri="{FF2B5EF4-FFF2-40B4-BE49-F238E27FC236}">
                    <a16:creationId xmlns:a16="http://schemas.microsoft.com/office/drawing/2014/main" id="{101400F7-2DF9-9C4E-8B1C-7F2315B8FDAC}"/>
                  </a:ext>
                </a:extLst>
              </p:cNvPr>
              <p:cNvSpPr txBox="1"/>
              <p:nvPr userDrawn="1"/>
            </p:nvSpPr>
            <p:spPr>
              <a:xfrm>
                <a:off x="9471805" y="5300350"/>
                <a:ext cx="2399065" cy="648896"/>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pPr lvl="1"/>
                <a:r>
                  <a:rPr lang="en-US" sz="900" dirty="0"/>
                  <a:t>Click the table icon and insert a table with</a:t>
                </a:r>
                <a:br>
                  <a:rPr lang="en-US" sz="900" dirty="0"/>
                </a:br>
                <a:r>
                  <a:rPr lang="en-US" sz="900" dirty="0"/>
                  <a:t>1 column and the same number of rows as categories in your chart.</a:t>
                </a:r>
              </a:p>
              <a:p>
                <a:pPr lvl="1"/>
                <a:r>
                  <a:rPr lang="en-US" sz="900" dirty="0"/>
                  <a:t>In the Table Design tab, choose the</a:t>
                </a:r>
                <a:br>
                  <a:rPr lang="en-US" sz="900" dirty="0"/>
                </a:br>
                <a:r>
                  <a:rPr lang="en-US" sz="900" dirty="0"/>
                  <a:t>“No Style, No Grid” table style.</a:t>
                </a:r>
              </a:p>
            </p:txBody>
          </p:sp>
          <p:sp>
            <p:nvSpPr>
              <p:cNvPr id="55" name="TextBox 54">
                <a:extLst>
                  <a:ext uri="{FF2B5EF4-FFF2-40B4-BE49-F238E27FC236}">
                    <a16:creationId xmlns:a16="http://schemas.microsoft.com/office/drawing/2014/main" id="{3BF0B28D-ACDE-694B-AE6D-61241B43B83E}"/>
                  </a:ext>
                </a:extLst>
              </p:cNvPr>
              <p:cNvSpPr txBox="1"/>
              <p:nvPr userDrawn="1"/>
            </p:nvSpPr>
            <p:spPr>
              <a:xfrm>
                <a:off x="9471805" y="6471925"/>
                <a:ext cx="2284765" cy="274947"/>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pPr lvl="1"/>
                <a:r>
                  <a:rPr lang="en-US" sz="900" dirty="0"/>
                  <a:t>Change the text alignment to “Center”</a:t>
                </a:r>
              </a:p>
              <a:p>
                <a:pPr lvl="1"/>
                <a:r>
                  <a:rPr lang="en-US" sz="900" dirty="0"/>
                  <a:t>Change the vertical alignment of the cells to “Middle”</a:t>
                </a:r>
              </a:p>
            </p:txBody>
          </p:sp>
        </p:grpSp>
        <p:pic>
          <p:nvPicPr>
            <p:cNvPr id="14" name="Picture 13">
              <a:extLst>
                <a:ext uri="{FF2B5EF4-FFF2-40B4-BE49-F238E27FC236}">
                  <a16:creationId xmlns:a16="http://schemas.microsoft.com/office/drawing/2014/main" id="{59A68EBB-78D1-BF41-BBB4-FEEDFBED0038}"/>
                </a:ext>
              </a:extLst>
            </p:cNvPr>
            <p:cNvPicPr>
              <a:picLocks noChangeAspect="1"/>
            </p:cNvPicPr>
            <p:nvPr userDrawn="1"/>
          </p:nvPicPr>
          <p:blipFill>
            <a:blip r:embed="rId7"/>
            <a:stretch>
              <a:fillRect/>
            </a:stretch>
          </p:blipFill>
          <p:spPr>
            <a:xfrm>
              <a:off x="9779333" y="3076329"/>
              <a:ext cx="2265030" cy="324185"/>
            </a:xfrm>
            <a:prstGeom prst="rect">
              <a:avLst/>
            </a:prstGeom>
          </p:spPr>
        </p:pic>
        <p:pic>
          <p:nvPicPr>
            <p:cNvPr id="16" name="Picture 15">
              <a:extLst>
                <a:ext uri="{FF2B5EF4-FFF2-40B4-BE49-F238E27FC236}">
                  <a16:creationId xmlns:a16="http://schemas.microsoft.com/office/drawing/2014/main" id="{B9CE2B6D-A88E-BF47-88F9-0FD3CD4DD4D2}"/>
                </a:ext>
              </a:extLst>
            </p:cNvPr>
            <p:cNvPicPr>
              <a:picLocks noChangeAspect="1"/>
            </p:cNvPicPr>
            <p:nvPr userDrawn="1"/>
          </p:nvPicPr>
          <p:blipFill rotWithShape="1">
            <a:blip r:embed="rId8"/>
            <a:srcRect l="1073" t="3423" r="1434" b="3096"/>
            <a:stretch/>
          </p:blipFill>
          <p:spPr>
            <a:xfrm>
              <a:off x="10594975" y="3279775"/>
              <a:ext cx="739775" cy="184150"/>
            </a:xfrm>
            <a:prstGeom prst="rect">
              <a:avLst/>
            </a:prstGeom>
          </p:spPr>
        </p:pic>
      </p:grpSp>
    </p:spTree>
    <p:extLst>
      <p:ext uri="{BB962C8B-B14F-4D97-AF65-F5344CB8AC3E}">
        <p14:creationId xmlns:p14="http://schemas.microsoft.com/office/powerpoint/2010/main" val="222495924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hart and Callout Box">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B99E022-6BD1-074D-A651-0F1D3CDA165E}"/>
              </a:ext>
            </a:extLst>
          </p:cNvPr>
          <p:cNvSpPr/>
          <p:nvPr userDrawn="1"/>
        </p:nvSpPr>
        <p:spPr>
          <a:xfrm>
            <a:off x="12532243" y="-1"/>
            <a:ext cx="3731535" cy="846557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70" name="Picture 69">
            <a:extLst>
              <a:ext uri="{FF2B5EF4-FFF2-40B4-BE49-F238E27FC236}">
                <a16:creationId xmlns:a16="http://schemas.microsoft.com/office/drawing/2014/main" id="{9C63083C-E80F-E145-8345-4B0E6010FB67}"/>
              </a:ext>
            </a:extLst>
          </p:cNvPr>
          <p:cNvPicPr>
            <a:picLocks noChangeAspect="1"/>
          </p:cNvPicPr>
          <p:nvPr userDrawn="1"/>
        </p:nvPicPr>
        <p:blipFill rotWithShape="1">
          <a:blip r:embed="rId2"/>
          <a:srcRect r="43480"/>
          <a:stretch/>
        </p:blipFill>
        <p:spPr>
          <a:xfrm>
            <a:off x="12744673" y="2429172"/>
            <a:ext cx="3519099" cy="935038"/>
          </a:xfrm>
          <a:prstGeom prst="rect">
            <a:avLst/>
          </a:prstGeom>
        </p:spPr>
      </p:pic>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6" name="Chart Placeholder 2">
            <a:extLst>
              <a:ext uri="{FF2B5EF4-FFF2-40B4-BE49-F238E27FC236}">
                <a16:creationId xmlns:a16="http://schemas.microsoft.com/office/drawing/2014/main" id="{A52282EC-86DC-8D43-96A4-DCB61C454A07}"/>
              </a:ext>
            </a:extLst>
          </p:cNvPr>
          <p:cNvSpPr>
            <a:spLocks noGrp="1"/>
          </p:cNvSpPr>
          <p:nvPr>
            <p:ph type="chart" sz="quarter" idx="113"/>
          </p:nvPr>
        </p:nvSpPr>
        <p:spPr>
          <a:xfrm>
            <a:off x="575732" y="1735138"/>
            <a:ext cx="7683365" cy="4430712"/>
          </a:xfrm>
        </p:spPr>
        <p:txBody>
          <a:bodyPr/>
          <a:lstStyle>
            <a:lvl1pPr>
              <a:defRPr b="0">
                <a:solidFill>
                  <a:schemeClr val="tx1">
                    <a:lumMod val="50000"/>
                    <a:lumOff val="50000"/>
                  </a:schemeClr>
                </a:solidFill>
              </a:defRPr>
            </a:lvl1pPr>
          </a:lstStyle>
          <a:p>
            <a:r>
              <a:rPr lang="en-US"/>
              <a:t>Click icon to add chart</a:t>
            </a:r>
            <a:endParaRPr lang="en-US" dirty="0"/>
          </a:p>
        </p:txBody>
      </p:sp>
      <p:sp>
        <p:nvSpPr>
          <p:cNvPr id="3" name="Text Placeholder 2">
            <a:extLst>
              <a:ext uri="{FF2B5EF4-FFF2-40B4-BE49-F238E27FC236}">
                <a16:creationId xmlns:a16="http://schemas.microsoft.com/office/drawing/2014/main" id="{B4047063-0C39-EB47-B9DB-09006681A5FA}"/>
              </a:ext>
            </a:extLst>
          </p:cNvPr>
          <p:cNvSpPr>
            <a:spLocks noGrp="1"/>
          </p:cNvSpPr>
          <p:nvPr>
            <p:ph type="body" sz="quarter" idx="114" hasCustomPrompt="1"/>
          </p:nvPr>
        </p:nvSpPr>
        <p:spPr>
          <a:xfrm>
            <a:off x="8711381" y="1735139"/>
            <a:ext cx="2904887" cy="4430712"/>
          </a:xfrm>
          <a:ln w="12700">
            <a:solidFill>
              <a:schemeClr val="accent1"/>
            </a:solidFill>
          </a:ln>
        </p:spPr>
        <p:txBody>
          <a:bodyPr lIns="216000" tIns="360000" rIns="216000" bIns="216000" anchor="t"/>
          <a:lst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lang="en-US" sz="3200"/>
            </a:lvl1pPr>
            <a:lvl2pPr>
              <a:defRPr lang="en-US" dirty="0"/>
            </a:lvl2pPr>
            <a:lvl3pPr marL="0" indent="0">
              <a:buFontTx/>
              <a:buNone/>
              <a:defRPr lang="en-US" dirty="0"/>
            </a:lvl3pPr>
            <a:lvl4pPr marL="0" indent="0">
              <a:buFontTx/>
              <a:buNone/>
              <a:defRPr lang="en-US" dirty="0"/>
            </a:lvl4pPr>
            <a:lvl5pPr marL="0" indent="0">
              <a:buFontTx/>
              <a:buNone/>
              <a:defRPr lang="en-US" dirty="0"/>
            </a:lvl5pPr>
            <a:lvl6pPr marL="0" indent="0">
              <a:buFontTx/>
              <a:buNone/>
              <a:defRPr/>
            </a:lvl6pPr>
            <a:lvl7pPr marL="0" indent="0">
              <a:buFontTx/>
              <a:buNone/>
              <a:defRPr/>
            </a:lvl7pPr>
            <a:lvl8pPr marL="0" indent="0">
              <a:buFontTx/>
              <a:buNone/>
              <a:defRPr/>
            </a:lvl8pPr>
            <a:lvl9pPr marL="0" indent="0">
              <a:buFontTx/>
              <a:buNone/>
              <a:defRPr/>
            </a:lvl9pPr>
          </a:lstStyle>
          <a:p>
            <a:pPr marL="0" marR="0" lvl="0" indent="0" algn="l" defTabSz="914400" rtl="0" eaLnBrk="1" fontAlgn="auto" latinLnBrk="0" hangingPunct="1">
              <a:lnSpc>
                <a:spcPct val="90000"/>
              </a:lnSpc>
              <a:spcBef>
                <a:spcPts val="600"/>
              </a:spcBef>
              <a:spcAft>
                <a:spcPts val="300"/>
              </a:spcAft>
              <a:buClrTx/>
              <a:buSzTx/>
              <a:buFont typeface="Wingdings" pitchFamily="2" charset="2"/>
              <a:buNone/>
              <a:tabLst/>
              <a:defRPr/>
            </a:pPr>
            <a:r>
              <a:rPr lang="en-US" dirty="0"/>
              <a:t>XX%</a:t>
            </a:r>
          </a:p>
          <a:p>
            <a:pPr lvl="1"/>
            <a:r>
              <a:rPr lang="en-US" dirty="0"/>
              <a:t>Body text (second level)</a:t>
            </a:r>
          </a:p>
        </p:txBody>
      </p:sp>
      <p:sp>
        <p:nvSpPr>
          <p:cNvPr id="14" name="Text Placeholder 6">
            <a:extLst>
              <a:ext uri="{FF2B5EF4-FFF2-40B4-BE49-F238E27FC236}">
                <a16:creationId xmlns:a16="http://schemas.microsoft.com/office/drawing/2014/main" id="{67041110-B28F-8541-8B72-CE723F208693}"/>
              </a:ext>
            </a:extLst>
          </p:cNvPr>
          <p:cNvSpPr>
            <a:spLocks noGrp="1"/>
          </p:cNvSpPr>
          <p:nvPr>
            <p:ph type="body" sz="quarter" idx="115" hasCustomPrompt="1"/>
          </p:nvPr>
        </p:nvSpPr>
        <p:spPr>
          <a:xfrm>
            <a:off x="9448321" y="1578357"/>
            <a:ext cx="1431015" cy="332399"/>
          </a:xfrm>
          <a:solidFill>
            <a:schemeClr val="bg1"/>
          </a:solidFill>
          <a:effectLst/>
        </p:spPr>
        <p:txBody>
          <a:bodyPr wrap="none" lIns="72000" tIns="0" rIns="72000" bIns="0" anchor="ctr">
            <a:spAutoFit/>
          </a:bodyPr>
          <a:lstStyle>
            <a:lvl1pPr algn="ctr">
              <a:spcBef>
                <a:spcPts val="100"/>
              </a:spcBef>
              <a:spcAft>
                <a:spcPts val="0"/>
              </a:spcAft>
              <a:defRPr sz="1200">
                <a:solidFill>
                  <a:schemeClr val="accent1"/>
                </a:solidFill>
              </a:defRPr>
            </a:lvl1pPr>
            <a:lvl2pPr marL="3175" indent="0" algn="ctr">
              <a:spcAft>
                <a:spcPts val="0"/>
              </a:spcAft>
              <a:buFont typeface="Arial" panose="020B0604020202020204" pitchFamily="34" charset="0"/>
              <a:buNone/>
              <a:tabLst/>
              <a:defRPr sz="1200">
                <a:solidFill>
                  <a:schemeClr val="accent1"/>
                </a:solidFill>
              </a:defRPr>
            </a:lvl2pPr>
            <a:lvl3pPr marL="9525" indent="0" algn="ctr">
              <a:buNone/>
              <a:tabLst/>
              <a:defRPr sz="1200">
                <a:solidFill>
                  <a:schemeClr val="accent1"/>
                </a:solidFill>
              </a:defRPr>
            </a:lvl3pPr>
            <a:lvl4pPr marL="9525" indent="0" algn="ctr">
              <a:buNone/>
              <a:tabLst/>
              <a:defRPr sz="1200">
                <a:solidFill>
                  <a:schemeClr val="accent1"/>
                </a:solidFill>
              </a:defRPr>
            </a:lvl4pPr>
            <a:lvl5pPr marL="9525" indent="0" algn="ctr">
              <a:buFont typeface="Arial" panose="020B0604020202020204" pitchFamily="34" charset="0"/>
              <a:buNone/>
              <a:tabLst/>
              <a:defRPr sz="1200">
                <a:solidFill>
                  <a:schemeClr val="accent1"/>
                </a:solidFill>
              </a:defRPr>
            </a:lvl5pPr>
            <a:lvl6pPr marL="9525" indent="0" algn="ctr">
              <a:buNone/>
              <a:tabLst/>
              <a:defRPr sz="1200">
                <a:solidFill>
                  <a:schemeClr val="accent1"/>
                </a:solidFill>
              </a:defRPr>
            </a:lvl6pPr>
            <a:lvl7pPr marL="9525" indent="0" algn="ctr">
              <a:buNone/>
              <a:tabLst/>
              <a:defRPr sz="1200">
                <a:solidFill>
                  <a:schemeClr val="accent1"/>
                </a:solidFill>
              </a:defRPr>
            </a:lvl7pPr>
            <a:lvl8pPr marL="9525" indent="0" algn="ctr">
              <a:buNone/>
              <a:tabLst/>
              <a:defRPr sz="1200">
                <a:solidFill>
                  <a:schemeClr val="accent1"/>
                </a:solidFill>
              </a:defRPr>
            </a:lvl8pPr>
            <a:lvl9pPr marL="9525" indent="0" algn="ctr">
              <a:buNone/>
              <a:tabLst/>
              <a:defRPr sz="1200">
                <a:solidFill>
                  <a:schemeClr val="accent1"/>
                </a:solidFill>
              </a:defRPr>
            </a:lvl9pPr>
          </a:lstStyle>
          <a:p>
            <a:pPr lvl="0"/>
            <a:r>
              <a:rPr lang="en-US" dirty="0"/>
              <a:t>Click to add topic</a:t>
            </a:r>
          </a:p>
          <a:p>
            <a:pPr lvl="1"/>
            <a:r>
              <a:rPr lang="en-US" dirty="0"/>
              <a:t>Subtopic</a:t>
            </a:r>
          </a:p>
        </p:txBody>
      </p:sp>
      <p:sp>
        <p:nvSpPr>
          <p:cNvPr id="1000" name="Footnotes Placeholder">
            <a:extLst>
              <a:ext uri="{FF2B5EF4-FFF2-40B4-BE49-F238E27FC236}">
                <a16:creationId xmlns:a16="http://schemas.microsoft.com/office/drawing/2014/main" id="{60CEA154-018A-D041-9D08-46D2C2864923}"/>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71" name="Text Placeholder 6">
            <a:extLst>
              <a:ext uri="{FF2B5EF4-FFF2-40B4-BE49-F238E27FC236}">
                <a16:creationId xmlns:a16="http://schemas.microsoft.com/office/drawing/2014/main" id="{5097C055-E96E-DC48-9B57-3C90E8692550}"/>
              </a:ext>
            </a:extLst>
          </p:cNvPr>
          <p:cNvSpPr>
            <a:spLocks noGrp="1"/>
          </p:cNvSpPr>
          <p:nvPr userDrawn="1">
            <p:ph type="body" sz="quarter" idx="108" hasCustomPrompt="1"/>
          </p:nvPr>
        </p:nvSpPr>
        <p:spPr>
          <a:xfrm>
            <a:off x="575734" y="1224318"/>
            <a:ext cx="1904367" cy="386926"/>
          </a:xfrm>
          <a:blipFill dpi="0" rotWithShape="1">
            <a:blip r:embed="rId3"/>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dirty="0"/>
              <a:t>Click to add chart title</a:t>
            </a:r>
          </a:p>
          <a:p>
            <a:pPr lvl="1"/>
            <a:r>
              <a:rPr lang="en-US" dirty="0"/>
              <a:t>Chart subtitle (second level)</a:t>
            </a:r>
          </a:p>
        </p:txBody>
      </p:sp>
      <p:grpSp>
        <p:nvGrpSpPr>
          <p:cNvPr id="20" name="Group 19">
            <a:extLst>
              <a:ext uri="{FF2B5EF4-FFF2-40B4-BE49-F238E27FC236}">
                <a16:creationId xmlns:a16="http://schemas.microsoft.com/office/drawing/2014/main" id="{1304FF1D-0CE8-E345-906B-4A0F37157528}"/>
              </a:ext>
            </a:extLst>
          </p:cNvPr>
          <p:cNvGrpSpPr/>
          <p:nvPr userDrawn="1"/>
        </p:nvGrpSpPr>
        <p:grpSpPr>
          <a:xfrm>
            <a:off x="12721996" y="162442"/>
            <a:ext cx="3759200" cy="814510"/>
            <a:chOff x="-3644733" y="165205"/>
            <a:chExt cx="2819400" cy="814510"/>
          </a:xfrm>
        </p:grpSpPr>
        <p:sp>
          <p:nvSpPr>
            <p:cNvPr id="48" name="Rectangle 47">
              <a:extLst>
                <a:ext uri="{FF2B5EF4-FFF2-40B4-BE49-F238E27FC236}">
                  <a16:creationId xmlns:a16="http://schemas.microsoft.com/office/drawing/2014/main" id="{A4CD39F0-34C6-E349-B508-223A8EC300CE}"/>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9" name="TextBox 48">
              <a:extLst>
                <a:ext uri="{FF2B5EF4-FFF2-40B4-BE49-F238E27FC236}">
                  <a16:creationId xmlns:a16="http://schemas.microsoft.com/office/drawing/2014/main" id="{ACF4FF2B-41D7-814F-ADC3-B8F4D688F688}"/>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0" name="Picture 49">
              <a:extLst>
                <a:ext uri="{FF2B5EF4-FFF2-40B4-BE49-F238E27FC236}">
                  <a16:creationId xmlns:a16="http://schemas.microsoft.com/office/drawing/2014/main" id="{26933AA9-32A1-AC4B-BE8F-5AD8531E5B21}"/>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29" name="Group 28">
            <a:extLst>
              <a:ext uri="{FF2B5EF4-FFF2-40B4-BE49-F238E27FC236}">
                <a16:creationId xmlns:a16="http://schemas.microsoft.com/office/drawing/2014/main" id="{5B92A826-7A09-9E44-916B-E29522B6D922}"/>
              </a:ext>
            </a:extLst>
          </p:cNvPr>
          <p:cNvGrpSpPr/>
          <p:nvPr userDrawn="1"/>
        </p:nvGrpSpPr>
        <p:grpSpPr>
          <a:xfrm>
            <a:off x="12744676" y="1119892"/>
            <a:ext cx="3519104" cy="202617"/>
            <a:chOff x="9303325" y="149270"/>
            <a:chExt cx="2639328" cy="202617"/>
          </a:xfrm>
        </p:grpSpPr>
        <p:sp>
          <p:nvSpPr>
            <p:cNvPr id="30" name="TextBox 29">
              <a:extLst>
                <a:ext uri="{FF2B5EF4-FFF2-40B4-BE49-F238E27FC236}">
                  <a16:creationId xmlns:a16="http://schemas.microsoft.com/office/drawing/2014/main" id="{E88FFA9C-3A10-3948-84B4-9B1DF715F79D}"/>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31" name="Straight Connector 30">
              <a:extLst>
                <a:ext uri="{FF2B5EF4-FFF2-40B4-BE49-F238E27FC236}">
                  <a16:creationId xmlns:a16="http://schemas.microsoft.com/office/drawing/2014/main" id="{EC121F51-5A96-A745-9B63-72CEF196AD68}"/>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62" name="Group 61">
            <a:extLst>
              <a:ext uri="{FF2B5EF4-FFF2-40B4-BE49-F238E27FC236}">
                <a16:creationId xmlns:a16="http://schemas.microsoft.com/office/drawing/2014/main" id="{5AC2D6C2-0BE1-AA4F-AB14-C27A2EB40593}"/>
              </a:ext>
            </a:extLst>
          </p:cNvPr>
          <p:cNvGrpSpPr/>
          <p:nvPr userDrawn="1"/>
        </p:nvGrpSpPr>
        <p:grpSpPr>
          <a:xfrm>
            <a:off x="12695778" y="1389697"/>
            <a:ext cx="3490511" cy="161583"/>
            <a:chOff x="12352022" y="513115"/>
            <a:chExt cx="2617883" cy="161583"/>
          </a:xfrm>
        </p:grpSpPr>
        <p:sp>
          <p:nvSpPr>
            <p:cNvPr id="63" name="TextBox 62">
              <a:extLst>
                <a:ext uri="{FF2B5EF4-FFF2-40B4-BE49-F238E27FC236}">
                  <a16:creationId xmlns:a16="http://schemas.microsoft.com/office/drawing/2014/main" id="{7BC9D9FD-67BD-FB47-8182-C2E4CCB01CA9}"/>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5" name="TextBox 64">
              <a:extLst>
                <a:ext uri="{FF2B5EF4-FFF2-40B4-BE49-F238E27FC236}">
                  <a16:creationId xmlns:a16="http://schemas.microsoft.com/office/drawing/2014/main" id="{5C58E318-D8E3-D542-BEA7-9E8EF8674240}"/>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Chart Title</a:t>
              </a:r>
            </a:p>
          </p:txBody>
        </p:sp>
      </p:grpSp>
      <p:grpSp>
        <p:nvGrpSpPr>
          <p:cNvPr id="66" name="Group 65">
            <a:extLst>
              <a:ext uri="{FF2B5EF4-FFF2-40B4-BE49-F238E27FC236}">
                <a16:creationId xmlns:a16="http://schemas.microsoft.com/office/drawing/2014/main" id="{5616D80C-A2C8-7A41-97B1-0131E7C240B3}"/>
              </a:ext>
            </a:extLst>
          </p:cNvPr>
          <p:cNvGrpSpPr/>
          <p:nvPr userDrawn="1"/>
        </p:nvGrpSpPr>
        <p:grpSpPr>
          <a:xfrm>
            <a:off x="12695778" y="2233978"/>
            <a:ext cx="3490511" cy="161583"/>
            <a:chOff x="12352022" y="513115"/>
            <a:chExt cx="2617883" cy="161583"/>
          </a:xfrm>
        </p:grpSpPr>
        <p:sp>
          <p:nvSpPr>
            <p:cNvPr id="67" name="TextBox 66">
              <a:extLst>
                <a:ext uri="{FF2B5EF4-FFF2-40B4-BE49-F238E27FC236}">
                  <a16:creationId xmlns:a16="http://schemas.microsoft.com/office/drawing/2014/main" id="{F96FB928-F772-BE46-A91F-588D2B103C8E}"/>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68" name="TextBox 67">
              <a:extLst>
                <a:ext uri="{FF2B5EF4-FFF2-40B4-BE49-F238E27FC236}">
                  <a16:creationId xmlns:a16="http://schemas.microsoft.com/office/drawing/2014/main" id="{57CCCD1E-0E8A-7F4E-8102-CB018E6B6E8F}"/>
                </a:ext>
              </a:extLst>
            </p:cNvPr>
            <p:cNvSpPr txBox="1"/>
            <p:nvPr userDrawn="1"/>
          </p:nvSpPr>
          <p:spPr>
            <a:xfrm>
              <a:off x="12516615" y="513115"/>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Callout Box</a:t>
              </a:r>
            </a:p>
          </p:txBody>
        </p:sp>
      </p:grpSp>
      <p:grpSp>
        <p:nvGrpSpPr>
          <p:cNvPr id="19" name="Group 18">
            <a:extLst>
              <a:ext uri="{FF2B5EF4-FFF2-40B4-BE49-F238E27FC236}">
                <a16:creationId xmlns:a16="http://schemas.microsoft.com/office/drawing/2014/main" id="{330AAE65-D135-5F4E-A8FA-538A1821D4A0}"/>
              </a:ext>
            </a:extLst>
          </p:cNvPr>
          <p:cNvGrpSpPr/>
          <p:nvPr userDrawn="1"/>
        </p:nvGrpSpPr>
        <p:grpSpPr>
          <a:xfrm>
            <a:off x="12695778" y="3502223"/>
            <a:ext cx="3673087" cy="4801460"/>
            <a:chOff x="9521833" y="3656659"/>
            <a:chExt cx="2754815" cy="4801460"/>
          </a:xfrm>
        </p:grpSpPr>
        <p:grpSp>
          <p:nvGrpSpPr>
            <p:cNvPr id="75" name="Group 74">
              <a:extLst>
                <a:ext uri="{FF2B5EF4-FFF2-40B4-BE49-F238E27FC236}">
                  <a16:creationId xmlns:a16="http://schemas.microsoft.com/office/drawing/2014/main" id="{FF00C3E3-3773-C749-A347-050E2BBEB510}"/>
                </a:ext>
              </a:extLst>
            </p:cNvPr>
            <p:cNvGrpSpPr/>
            <p:nvPr userDrawn="1"/>
          </p:nvGrpSpPr>
          <p:grpSpPr>
            <a:xfrm>
              <a:off x="9521833" y="7405388"/>
              <a:ext cx="2676002" cy="1052731"/>
              <a:chOff x="9521833" y="2036288"/>
              <a:chExt cx="2676002" cy="1052731"/>
            </a:xfrm>
          </p:grpSpPr>
          <p:sp>
            <p:nvSpPr>
              <p:cNvPr id="94" name="TextBox 93">
                <a:extLst>
                  <a:ext uri="{FF2B5EF4-FFF2-40B4-BE49-F238E27FC236}">
                    <a16:creationId xmlns:a16="http://schemas.microsoft.com/office/drawing/2014/main" id="{82CAC38A-6253-2D46-A9C1-302180EED363}"/>
                  </a:ext>
                </a:extLst>
              </p:cNvPr>
              <p:cNvSpPr txBox="1"/>
              <p:nvPr userDrawn="1"/>
            </p:nvSpPr>
            <p:spPr>
              <a:xfrm>
                <a:off x="9558507" y="2036288"/>
                <a:ext cx="996667"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ADD A NEW CHART</a:t>
                </a:r>
              </a:p>
            </p:txBody>
          </p:sp>
          <p:cxnSp>
            <p:nvCxnSpPr>
              <p:cNvPr id="95" name="Straight Connector 94">
                <a:extLst>
                  <a:ext uri="{FF2B5EF4-FFF2-40B4-BE49-F238E27FC236}">
                    <a16:creationId xmlns:a16="http://schemas.microsoft.com/office/drawing/2014/main" id="{AD2B3722-E54B-F241-BF5C-4E06D9858DE0}"/>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6" name="Group 95">
                <a:extLst>
                  <a:ext uri="{FF2B5EF4-FFF2-40B4-BE49-F238E27FC236}">
                    <a16:creationId xmlns:a16="http://schemas.microsoft.com/office/drawing/2014/main" id="{DE6DD331-B8FF-724A-88A0-EDAB740240BC}"/>
                  </a:ext>
                </a:extLst>
              </p:cNvPr>
              <p:cNvGrpSpPr/>
              <p:nvPr userDrawn="1"/>
            </p:nvGrpSpPr>
            <p:grpSpPr>
              <a:xfrm>
                <a:off x="9521833" y="2361408"/>
                <a:ext cx="2557391" cy="323165"/>
                <a:chOff x="12352022" y="513115"/>
                <a:chExt cx="2557391" cy="323165"/>
              </a:xfrm>
            </p:grpSpPr>
            <p:sp>
              <p:nvSpPr>
                <p:cNvPr id="98" name="TextBox 97">
                  <a:extLst>
                    <a:ext uri="{FF2B5EF4-FFF2-40B4-BE49-F238E27FC236}">
                      <a16:creationId xmlns:a16="http://schemas.microsoft.com/office/drawing/2014/main" id="{01BD870A-BDFF-AD42-9F9F-680AB538E99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9" name="TextBox 98">
                  <a:extLst>
                    <a:ext uri="{FF2B5EF4-FFF2-40B4-BE49-F238E27FC236}">
                      <a16:creationId xmlns:a16="http://schemas.microsoft.com/office/drawing/2014/main" id="{D46E1157-8158-3D41-83D2-9C0A0041030B}"/>
                    </a:ext>
                  </a:extLst>
                </p:cNvPr>
                <p:cNvSpPr txBox="1"/>
                <p:nvPr userDrawn="1"/>
              </p:nvSpPr>
              <p:spPr>
                <a:xfrm>
                  <a:off x="12516615" y="513115"/>
                  <a:ext cx="2392798"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Open the </a:t>
                  </a:r>
                  <a:r>
                    <a:rPr lang="en-US" sz="1050" b="1" dirty="0"/>
                    <a:t>VEDP Template Assets file </a:t>
                  </a:r>
                  <a:r>
                    <a:rPr lang="en-US" sz="1050" dirty="0"/>
                    <a:t>and copy the desired chart type into your presentation.</a:t>
                  </a:r>
                </a:p>
              </p:txBody>
            </p:sp>
          </p:grpSp>
          <p:sp>
            <p:nvSpPr>
              <p:cNvPr id="97" name="TextBox 96">
                <a:extLst>
                  <a:ext uri="{FF2B5EF4-FFF2-40B4-BE49-F238E27FC236}">
                    <a16:creationId xmlns:a16="http://schemas.microsoft.com/office/drawing/2014/main" id="{C12B8CA1-E11D-D840-A89D-9BDC9316EDA6}"/>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76" name="TextBox 75">
              <a:extLst>
                <a:ext uri="{FF2B5EF4-FFF2-40B4-BE49-F238E27FC236}">
                  <a16:creationId xmlns:a16="http://schemas.microsoft.com/office/drawing/2014/main" id="{19F3EA98-82D3-ED4F-B900-49458C4A36FA}"/>
                </a:ext>
              </a:extLst>
            </p:cNvPr>
            <p:cNvSpPr txBox="1"/>
            <p:nvPr userDrawn="1"/>
          </p:nvSpPr>
          <p:spPr>
            <a:xfrm>
              <a:off x="9558507" y="3656659"/>
              <a:ext cx="15424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FORMAT AN EXISTING CHART</a:t>
              </a:r>
            </a:p>
          </p:txBody>
        </p:sp>
        <p:cxnSp>
          <p:nvCxnSpPr>
            <p:cNvPr id="77" name="Straight Connector 76">
              <a:extLst>
                <a:ext uri="{FF2B5EF4-FFF2-40B4-BE49-F238E27FC236}">
                  <a16:creationId xmlns:a16="http://schemas.microsoft.com/office/drawing/2014/main" id="{30A1EA8F-07DE-014F-AA10-6C9333AAD7A8}"/>
                </a:ext>
              </a:extLst>
            </p:cNvPr>
            <p:cNvCxnSpPr>
              <a:cxnSpLocks/>
            </p:cNvCxnSpPr>
            <p:nvPr userDrawn="1"/>
          </p:nvCxnSpPr>
          <p:spPr>
            <a:xfrm>
              <a:off x="9558507" y="385927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8" name="TextBox 77">
              <a:extLst>
                <a:ext uri="{FF2B5EF4-FFF2-40B4-BE49-F238E27FC236}">
                  <a16:creationId xmlns:a16="http://schemas.microsoft.com/office/drawing/2014/main" id="{1807A3DB-B170-C543-827E-1797D79B35BD}"/>
                </a:ext>
              </a:extLst>
            </p:cNvPr>
            <p:cNvSpPr txBox="1">
              <a:spLocks noChangeAspect="1"/>
            </p:cNvSpPr>
            <p:nvPr/>
          </p:nvSpPr>
          <p:spPr>
            <a:xfrm>
              <a:off x="9521833" y="400680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9" name="TextBox 78">
              <a:extLst>
                <a:ext uri="{FF2B5EF4-FFF2-40B4-BE49-F238E27FC236}">
                  <a16:creationId xmlns:a16="http://schemas.microsoft.com/office/drawing/2014/main" id="{21F6557E-4825-E045-B871-0D127A0BFF5B}"/>
                </a:ext>
              </a:extLst>
            </p:cNvPr>
            <p:cNvSpPr txBox="1">
              <a:spLocks noChangeAspect="1"/>
            </p:cNvSpPr>
            <p:nvPr/>
          </p:nvSpPr>
          <p:spPr>
            <a:xfrm>
              <a:off x="9521833" y="473385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0" name="TextBox 79">
              <a:extLst>
                <a:ext uri="{FF2B5EF4-FFF2-40B4-BE49-F238E27FC236}">
                  <a16:creationId xmlns:a16="http://schemas.microsoft.com/office/drawing/2014/main" id="{A11A289F-F032-6D42-A3A4-E7A6C9F596ED}"/>
                </a:ext>
              </a:extLst>
            </p:cNvPr>
            <p:cNvSpPr txBox="1"/>
            <p:nvPr userDrawn="1"/>
          </p:nvSpPr>
          <p:spPr>
            <a:xfrm>
              <a:off x="9686426" y="3981779"/>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the chart placeholder and then paste your existing chart.</a:t>
              </a:r>
            </a:p>
          </p:txBody>
        </p:sp>
        <p:sp>
          <p:nvSpPr>
            <p:cNvPr id="81" name="TextBox 80">
              <a:extLst>
                <a:ext uri="{FF2B5EF4-FFF2-40B4-BE49-F238E27FC236}">
                  <a16:creationId xmlns:a16="http://schemas.microsoft.com/office/drawing/2014/main" id="{56CC7998-FBBA-984A-B3BB-B8422CBF5A84}"/>
                </a:ext>
              </a:extLst>
            </p:cNvPr>
            <p:cNvSpPr txBox="1"/>
            <p:nvPr userDrawn="1"/>
          </p:nvSpPr>
          <p:spPr>
            <a:xfrm>
              <a:off x="9686426" y="4710985"/>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Right-click on the chart and choose “Change Chart Type…”</a:t>
              </a:r>
            </a:p>
          </p:txBody>
        </p:sp>
        <p:sp>
          <p:nvSpPr>
            <p:cNvPr id="82" name="TextBox 81">
              <a:extLst>
                <a:ext uri="{FF2B5EF4-FFF2-40B4-BE49-F238E27FC236}">
                  <a16:creationId xmlns:a16="http://schemas.microsoft.com/office/drawing/2014/main" id="{18527B35-9EDF-3247-A18C-B5CEAF526738}"/>
                </a:ext>
              </a:extLst>
            </p:cNvPr>
            <p:cNvSpPr txBox="1">
              <a:spLocks noChangeAspect="1"/>
            </p:cNvSpPr>
            <p:nvPr userDrawn="1"/>
          </p:nvSpPr>
          <p:spPr>
            <a:xfrm>
              <a:off x="9521833" y="519684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83" name="TextBox 82">
              <a:extLst>
                <a:ext uri="{FF2B5EF4-FFF2-40B4-BE49-F238E27FC236}">
                  <a16:creationId xmlns:a16="http://schemas.microsoft.com/office/drawing/2014/main" id="{26539DAF-BEC6-744B-B400-8FA0A0079295}"/>
                </a:ext>
              </a:extLst>
            </p:cNvPr>
            <p:cNvSpPr txBox="1"/>
            <p:nvPr userDrawn="1"/>
          </p:nvSpPr>
          <p:spPr>
            <a:xfrm>
              <a:off x="9686426" y="5173975"/>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Choose one of the VEDP chart styles from the ‘Templates’ category.</a:t>
              </a:r>
            </a:p>
          </p:txBody>
        </p:sp>
        <p:sp>
          <p:nvSpPr>
            <p:cNvPr id="84" name="TextBox 83">
              <a:extLst>
                <a:ext uri="{FF2B5EF4-FFF2-40B4-BE49-F238E27FC236}">
                  <a16:creationId xmlns:a16="http://schemas.microsoft.com/office/drawing/2014/main" id="{85DB54E3-20CB-F84D-BA87-AE6461071775}"/>
                </a:ext>
              </a:extLst>
            </p:cNvPr>
            <p:cNvSpPr txBox="1"/>
            <p:nvPr userDrawn="1"/>
          </p:nvSpPr>
          <p:spPr>
            <a:xfrm>
              <a:off x="9674268" y="4345001"/>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87" name="Group 86">
              <a:extLst>
                <a:ext uri="{FF2B5EF4-FFF2-40B4-BE49-F238E27FC236}">
                  <a16:creationId xmlns:a16="http://schemas.microsoft.com/office/drawing/2014/main" id="{FF601E2C-20C4-8448-BDCB-09817050A9EF}"/>
                </a:ext>
              </a:extLst>
            </p:cNvPr>
            <p:cNvGrpSpPr/>
            <p:nvPr userDrawn="1"/>
          </p:nvGrpSpPr>
          <p:grpSpPr>
            <a:xfrm>
              <a:off x="9541497" y="5668564"/>
              <a:ext cx="2735151" cy="1538827"/>
              <a:chOff x="9296567" y="4910411"/>
              <a:chExt cx="2735151" cy="1538827"/>
            </a:xfrm>
          </p:grpSpPr>
          <p:sp>
            <p:nvSpPr>
              <p:cNvPr id="88" name="Rectangle 87">
                <a:extLst>
                  <a:ext uri="{FF2B5EF4-FFF2-40B4-BE49-F238E27FC236}">
                    <a16:creationId xmlns:a16="http://schemas.microsoft.com/office/drawing/2014/main" id="{10D997EE-0253-9948-A6ED-E7D0D161D2C0}"/>
                  </a:ext>
                </a:extLst>
              </p:cNvPr>
              <p:cNvSpPr/>
              <p:nvPr userDrawn="1"/>
            </p:nvSpPr>
            <p:spPr>
              <a:xfrm>
                <a:off x="9296567" y="4910411"/>
                <a:ext cx="2735151" cy="1538827"/>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9" name="TextBox 88">
                <a:extLst>
                  <a:ext uri="{FF2B5EF4-FFF2-40B4-BE49-F238E27FC236}">
                    <a16:creationId xmlns:a16="http://schemas.microsoft.com/office/drawing/2014/main" id="{697CF5BD-F20F-DE4A-92B5-C2CEBD4ED53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90" name="Graphic 89">
                <a:extLst>
                  <a:ext uri="{FF2B5EF4-FFF2-40B4-BE49-F238E27FC236}">
                    <a16:creationId xmlns:a16="http://schemas.microsoft.com/office/drawing/2014/main" id="{8F021B2D-63E0-7348-9C34-06C74EB29FA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1" name="TextBox 90">
                <a:extLst>
                  <a:ext uri="{FF2B5EF4-FFF2-40B4-BE49-F238E27FC236}">
                    <a16:creationId xmlns:a16="http://schemas.microsoft.com/office/drawing/2014/main" id="{547D6D74-E159-4349-960D-F7C54F8A34D8}"/>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dirty="0"/>
                  <a:t>In case of error, return legend entries, data labels, and/or chart formatting by re-applying the current VEDP chart style template.</a:t>
                </a:r>
              </a:p>
              <a:p>
                <a:pPr lvl="1"/>
                <a:r>
                  <a:rPr lang="en-US" sz="900" dirty="0"/>
                  <a:t>Right-click the chart and choose</a:t>
                </a:r>
                <a:br>
                  <a:rPr lang="en-US" sz="900" dirty="0"/>
                </a:br>
                <a:r>
                  <a:rPr lang="en-US" sz="900" dirty="0"/>
                  <a:t>“Change Chart Type”</a:t>
                </a:r>
              </a:p>
              <a:p>
                <a:pPr lvl="1"/>
                <a:r>
                  <a:rPr lang="en-US" sz="900" dirty="0"/>
                  <a:t>Then choose the matching VEDP chart style from the ‘Templates’ category.</a:t>
                </a:r>
              </a:p>
            </p:txBody>
          </p:sp>
        </p:grpSp>
      </p:grpSp>
      <p:sp>
        <p:nvSpPr>
          <p:cNvPr id="13" name="Date Placeholder 12">
            <a:extLst>
              <a:ext uri="{FF2B5EF4-FFF2-40B4-BE49-F238E27FC236}">
                <a16:creationId xmlns:a16="http://schemas.microsoft.com/office/drawing/2014/main" id="{C9A997CF-9195-6143-A783-C6007CE38DB9}"/>
              </a:ext>
            </a:extLst>
          </p:cNvPr>
          <p:cNvSpPr>
            <a:spLocks noGrp="1"/>
          </p:cNvSpPr>
          <p:nvPr>
            <p:ph type="dt" sz="half" idx="116"/>
          </p:nvPr>
        </p:nvSpPr>
        <p:spPr/>
        <p:txBody>
          <a:bodyPr/>
          <a:lstStyle/>
          <a:p>
            <a:endParaRPr lang="en-US" dirty="0"/>
          </a:p>
        </p:txBody>
      </p:sp>
      <p:sp>
        <p:nvSpPr>
          <p:cNvPr id="17" name="Footer Placeholder 16">
            <a:extLst>
              <a:ext uri="{FF2B5EF4-FFF2-40B4-BE49-F238E27FC236}">
                <a16:creationId xmlns:a16="http://schemas.microsoft.com/office/drawing/2014/main" id="{7816C2B4-6EA9-7D40-A112-32D7F9DB85D9}"/>
              </a:ext>
            </a:extLst>
          </p:cNvPr>
          <p:cNvSpPr>
            <a:spLocks noGrp="1"/>
          </p:cNvSpPr>
          <p:nvPr>
            <p:ph type="ftr" sz="quarter" idx="117"/>
          </p:nvPr>
        </p:nvSpPr>
        <p:spPr/>
        <p:txBody>
          <a:bodyPr/>
          <a:lstStyle/>
          <a:p>
            <a:endParaRPr lang="en-US" dirty="0"/>
          </a:p>
        </p:txBody>
      </p:sp>
      <p:sp>
        <p:nvSpPr>
          <p:cNvPr id="18" name="Slide Number Placeholder 17">
            <a:extLst>
              <a:ext uri="{FF2B5EF4-FFF2-40B4-BE49-F238E27FC236}">
                <a16:creationId xmlns:a16="http://schemas.microsoft.com/office/drawing/2014/main" id="{6C8A9A10-E846-7A4E-B2F3-E64EB163031D}"/>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pic>
        <p:nvPicPr>
          <p:cNvPr id="104" name="Picture 103">
            <a:extLst>
              <a:ext uri="{FF2B5EF4-FFF2-40B4-BE49-F238E27FC236}">
                <a16:creationId xmlns:a16="http://schemas.microsoft.com/office/drawing/2014/main" id="{E76FC806-1745-034B-9D8A-1CAFCD9FE3BC}"/>
              </a:ext>
            </a:extLst>
          </p:cNvPr>
          <p:cNvPicPr>
            <a:picLocks noChangeAspect="1"/>
          </p:cNvPicPr>
          <p:nvPr userDrawn="1"/>
        </p:nvPicPr>
        <p:blipFill rotWithShape="1">
          <a:blip r:embed="rId7"/>
          <a:srcRect r="36104"/>
          <a:stretch/>
        </p:blipFill>
        <p:spPr>
          <a:xfrm>
            <a:off x="12744664" y="1610212"/>
            <a:ext cx="3519105" cy="522522"/>
          </a:xfrm>
          <a:prstGeom prst="rect">
            <a:avLst/>
          </a:prstGeom>
        </p:spPr>
      </p:pic>
    </p:spTree>
    <p:extLst>
      <p:ext uri="{BB962C8B-B14F-4D97-AF65-F5344CB8AC3E}">
        <p14:creationId xmlns:p14="http://schemas.microsoft.com/office/powerpoint/2010/main" val="404866878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2 Photos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1" name="Picture Placeholder 7">
            <a:extLst>
              <a:ext uri="{FF2B5EF4-FFF2-40B4-BE49-F238E27FC236}">
                <a16:creationId xmlns:a16="http://schemas.microsoft.com/office/drawing/2014/main" id="{F7232953-10D7-9346-B58D-EA3D767D05C8}"/>
              </a:ext>
            </a:extLst>
          </p:cNvPr>
          <p:cNvSpPr>
            <a:spLocks noGrp="1"/>
          </p:cNvSpPr>
          <p:nvPr>
            <p:ph type="pic" sz="quarter" idx="13" hasCustomPrompt="1"/>
          </p:nvPr>
        </p:nvSpPr>
        <p:spPr>
          <a:xfrm>
            <a:off x="575711" y="1233641"/>
            <a:ext cx="5255999" cy="2134716"/>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br>
              <a:rPr lang="en-US" dirty="0"/>
            </a:br>
            <a:endParaRPr lang="en-US" dirty="0"/>
          </a:p>
        </p:txBody>
      </p:sp>
      <p:sp>
        <p:nvSpPr>
          <p:cNvPr id="12" name="Picture Placeholder 7">
            <a:extLst>
              <a:ext uri="{FF2B5EF4-FFF2-40B4-BE49-F238E27FC236}">
                <a16:creationId xmlns:a16="http://schemas.microsoft.com/office/drawing/2014/main" id="{5852B5E0-86AD-3749-B882-594E0C761812}"/>
              </a:ext>
            </a:extLst>
          </p:cNvPr>
          <p:cNvSpPr>
            <a:spLocks noGrp="1"/>
          </p:cNvSpPr>
          <p:nvPr>
            <p:ph type="pic" sz="quarter" idx="14" hasCustomPrompt="1"/>
          </p:nvPr>
        </p:nvSpPr>
        <p:spPr>
          <a:xfrm>
            <a:off x="6361038" y="1233488"/>
            <a:ext cx="5255229" cy="2134938"/>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br>
              <a:rPr lang="en-US" dirty="0"/>
            </a:br>
            <a:endParaRPr lang="en-US" dirty="0"/>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a:off x="6096000" y="1233488"/>
            <a:ext cx="0" cy="4932363"/>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500" name="Caption">
            <a:extLst>
              <a:ext uri="{FF2B5EF4-FFF2-40B4-BE49-F238E27FC236}">
                <a16:creationId xmlns:a16="http://schemas.microsoft.com/office/drawing/2014/main" id="{CF4AE758-84F6-C54D-A7DE-052D01982D22}"/>
              </a:ext>
            </a:extLst>
          </p:cNvPr>
          <p:cNvSpPr>
            <a:spLocks noGrp="1"/>
          </p:cNvSpPr>
          <p:nvPr>
            <p:ph type="body" sz="quarter" idx="500" hasCustomPrompt="1"/>
          </p:nvPr>
        </p:nvSpPr>
        <p:spPr>
          <a:xfrm>
            <a:off x="574967" y="2634840"/>
            <a:ext cx="5255997" cy="733587"/>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502" name="Caption 2">
            <a:extLst>
              <a:ext uri="{FF2B5EF4-FFF2-40B4-BE49-F238E27FC236}">
                <a16:creationId xmlns:a16="http://schemas.microsoft.com/office/drawing/2014/main" id="{AC269ED5-A2B1-6A4F-BE9E-2525E65191C5}"/>
              </a:ext>
            </a:extLst>
          </p:cNvPr>
          <p:cNvSpPr>
            <a:spLocks noGrp="1"/>
          </p:cNvSpPr>
          <p:nvPr>
            <p:ph type="body" sz="quarter" idx="502" hasCustomPrompt="1"/>
          </p:nvPr>
        </p:nvSpPr>
        <p:spPr>
          <a:xfrm>
            <a:off x="6360270" y="2634840"/>
            <a:ext cx="5255997" cy="733587"/>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499" name="Text Placeholder 1">
            <a:extLst>
              <a:ext uri="{FF2B5EF4-FFF2-40B4-BE49-F238E27FC236}">
                <a16:creationId xmlns:a16="http://schemas.microsoft.com/office/drawing/2014/main" id="{41B64066-3F3A-DB41-BCF0-E80DA5C45921}"/>
              </a:ext>
            </a:extLst>
          </p:cNvPr>
          <p:cNvSpPr>
            <a:spLocks noGrp="1"/>
          </p:cNvSpPr>
          <p:nvPr>
            <p:ph type="body" sz="quarter" idx="499"/>
          </p:nvPr>
        </p:nvSpPr>
        <p:spPr>
          <a:xfrm>
            <a:off x="575734" y="3535516"/>
            <a:ext cx="5255684" cy="26303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01" name="Text Placeholder 2">
            <a:extLst>
              <a:ext uri="{FF2B5EF4-FFF2-40B4-BE49-F238E27FC236}">
                <a16:creationId xmlns:a16="http://schemas.microsoft.com/office/drawing/2014/main" id="{260EFF75-E658-614B-A491-3B51B67CB5AB}"/>
              </a:ext>
            </a:extLst>
          </p:cNvPr>
          <p:cNvSpPr>
            <a:spLocks noGrp="1"/>
          </p:cNvSpPr>
          <p:nvPr>
            <p:ph type="body" sz="quarter" idx="501"/>
          </p:nvPr>
        </p:nvSpPr>
        <p:spPr>
          <a:xfrm>
            <a:off x="6360583" y="3535516"/>
            <a:ext cx="5255684" cy="263033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00" name="Footnotes Placeholder">
            <a:extLst>
              <a:ext uri="{FF2B5EF4-FFF2-40B4-BE49-F238E27FC236}">
                <a16:creationId xmlns:a16="http://schemas.microsoft.com/office/drawing/2014/main" id="{C2462BB1-A914-C04A-8D72-3148BA19C440}"/>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5" name="Date Placeholder 4">
            <a:extLst>
              <a:ext uri="{FF2B5EF4-FFF2-40B4-BE49-F238E27FC236}">
                <a16:creationId xmlns:a16="http://schemas.microsoft.com/office/drawing/2014/main" id="{260B3C8A-5655-8B44-8713-F8E0DC8EB268}"/>
              </a:ext>
            </a:extLst>
          </p:cNvPr>
          <p:cNvSpPr>
            <a:spLocks noGrp="1"/>
          </p:cNvSpPr>
          <p:nvPr userDrawn="1">
            <p:ph type="dt" sz="half" idx="112"/>
          </p:nvPr>
        </p:nvSpPr>
        <p:spPr/>
        <p:txBody>
          <a:bodyPr/>
          <a:lstStyle/>
          <a:p>
            <a:endParaRPr lang="en-US" dirty="0"/>
          </a:p>
        </p:txBody>
      </p:sp>
      <p:sp>
        <p:nvSpPr>
          <p:cNvPr id="6" name="Footer Placeholder 5">
            <a:extLst>
              <a:ext uri="{FF2B5EF4-FFF2-40B4-BE49-F238E27FC236}">
                <a16:creationId xmlns:a16="http://schemas.microsoft.com/office/drawing/2014/main" id="{BA55FF92-D07E-284C-BB1E-EFB0F62B0728}"/>
              </a:ext>
            </a:extLst>
          </p:cNvPr>
          <p:cNvSpPr>
            <a:spLocks noGrp="1"/>
          </p:cNvSpPr>
          <p:nvPr userDrawn="1">
            <p:ph type="ftr" sz="quarter" idx="113"/>
          </p:nvPr>
        </p:nvSpPr>
        <p:spPr/>
        <p:txBody>
          <a:bodyPr/>
          <a:lstStyle/>
          <a:p>
            <a:endParaRPr lang="en-US" dirty="0"/>
          </a:p>
        </p:txBody>
      </p:sp>
      <p:sp>
        <p:nvSpPr>
          <p:cNvPr id="7" name="Slide Number Placeholder 6">
            <a:extLst>
              <a:ext uri="{FF2B5EF4-FFF2-40B4-BE49-F238E27FC236}">
                <a16:creationId xmlns:a16="http://schemas.microsoft.com/office/drawing/2014/main" id="{125CB6C4-3F83-8C46-9B51-1523B5214FBC}"/>
              </a:ext>
            </a:extLst>
          </p:cNvPr>
          <p:cNvSpPr>
            <a:spLocks noGrp="1"/>
          </p:cNvSpPr>
          <p:nvPr userDrawn="1">
            <p:ph type="sldNum" sz="quarter" idx="114"/>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 name="Group 2">
            <a:extLst>
              <a:ext uri="{FF2B5EF4-FFF2-40B4-BE49-F238E27FC236}">
                <a16:creationId xmlns:a16="http://schemas.microsoft.com/office/drawing/2014/main" id="{B5DD4673-07D8-2F47-AE16-41FB7DB1F691}"/>
              </a:ext>
            </a:extLst>
          </p:cNvPr>
          <p:cNvGrpSpPr/>
          <p:nvPr userDrawn="1"/>
        </p:nvGrpSpPr>
        <p:grpSpPr>
          <a:xfrm>
            <a:off x="12532243" y="-2"/>
            <a:ext cx="3965960" cy="9769405"/>
            <a:chOff x="9399182" y="-2"/>
            <a:chExt cx="2974470" cy="9769405"/>
          </a:xfrm>
        </p:grpSpPr>
        <p:sp>
          <p:nvSpPr>
            <p:cNvPr id="57" name="Rectangle 56">
              <a:extLst>
                <a:ext uri="{FF2B5EF4-FFF2-40B4-BE49-F238E27FC236}">
                  <a16:creationId xmlns:a16="http://schemas.microsoft.com/office/drawing/2014/main" id="{1EB07126-E360-1041-9164-DD8BA167A8AB}"/>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58" name="Picture 57">
              <a:extLst>
                <a:ext uri="{FF2B5EF4-FFF2-40B4-BE49-F238E27FC236}">
                  <a16:creationId xmlns:a16="http://schemas.microsoft.com/office/drawing/2014/main" id="{6821E402-D350-E444-8856-CC46A758A65E}"/>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9" name="Group 58">
              <a:extLst>
                <a:ext uri="{FF2B5EF4-FFF2-40B4-BE49-F238E27FC236}">
                  <a16:creationId xmlns:a16="http://schemas.microsoft.com/office/drawing/2014/main" id="{66715B48-D70E-A34F-8B62-E282410AAC7D}"/>
                </a:ext>
              </a:extLst>
            </p:cNvPr>
            <p:cNvGrpSpPr/>
            <p:nvPr userDrawn="1"/>
          </p:nvGrpSpPr>
          <p:grpSpPr>
            <a:xfrm>
              <a:off x="9541497" y="162442"/>
              <a:ext cx="2819400" cy="814510"/>
              <a:chOff x="-3644733" y="165205"/>
              <a:chExt cx="2819400" cy="814510"/>
            </a:xfrm>
          </p:grpSpPr>
          <p:sp>
            <p:nvSpPr>
              <p:cNvPr id="87" name="Rectangle 86">
                <a:extLst>
                  <a:ext uri="{FF2B5EF4-FFF2-40B4-BE49-F238E27FC236}">
                    <a16:creationId xmlns:a16="http://schemas.microsoft.com/office/drawing/2014/main" id="{258C8417-A50B-8A40-AAC7-69B29D878C1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8" name="TextBox 87">
                <a:extLst>
                  <a:ext uri="{FF2B5EF4-FFF2-40B4-BE49-F238E27FC236}">
                    <a16:creationId xmlns:a16="http://schemas.microsoft.com/office/drawing/2014/main" id="{D5350C49-A777-6241-98F9-3A4F555D085D}"/>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89" name="Picture 88">
                <a:extLst>
                  <a:ext uri="{FF2B5EF4-FFF2-40B4-BE49-F238E27FC236}">
                    <a16:creationId xmlns:a16="http://schemas.microsoft.com/office/drawing/2014/main" id="{6602266A-7721-2749-BEF8-F0041AD01BC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0" name="Group 59">
              <a:extLst>
                <a:ext uri="{FF2B5EF4-FFF2-40B4-BE49-F238E27FC236}">
                  <a16:creationId xmlns:a16="http://schemas.microsoft.com/office/drawing/2014/main" id="{CA2A2AE4-DD6D-8844-B557-F45A9D1F1E5E}"/>
                </a:ext>
              </a:extLst>
            </p:cNvPr>
            <p:cNvGrpSpPr/>
            <p:nvPr userDrawn="1"/>
          </p:nvGrpSpPr>
          <p:grpSpPr>
            <a:xfrm>
              <a:off x="9521833" y="3755578"/>
              <a:ext cx="2754815" cy="6013825"/>
              <a:chOff x="9521833" y="2566288"/>
              <a:chExt cx="2754815" cy="6013825"/>
            </a:xfrm>
          </p:grpSpPr>
          <p:sp>
            <p:nvSpPr>
              <p:cNvPr id="63" name="TextBox 62">
                <a:extLst>
                  <a:ext uri="{FF2B5EF4-FFF2-40B4-BE49-F238E27FC236}">
                    <a16:creationId xmlns:a16="http://schemas.microsoft.com/office/drawing/2014/main" id="{399905FA-4468-DE44-8356-F030E128DE0E}"/>
                  </a:ext>
                </a:extLst>
              </p:cNvPr>
              <p:cNvSpPr txBox="1"/>
              <p:nvPr userDrawn="1"/>
            </p:nvSpPr>
            <p:spPr>
              <a:xfrm>
                <a:off x="9558507" y="256628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64" name="Straight Connector 63">
                <a:extLst>
                  <a:ext uri="{FF2B5EF4-FFF2-40B4-BE49-F238E27FC236}">
                    <a16:creationId xmlns:a16="http://schemas.microsoft.com/office/drawing/2014/main" id="{EEB7F7FC-6FB7-6B48-A4C7-1784FFA3B477}"/>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CFB53592-0368-5E42-BA03-98211B0977AE}"/>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6" name="Group 65">
                <a:extLst>
                  <a:ext uri="{FF2B5EF4-FFF2-40B4-BE49-F238E27FC236}">
                    <a16:creationId xmlns:a16="http://schemas.microsoft.com/office/drawing/2014/main" id="{70D6C76B-0CBD-8541-947F-B20A36C671CF}"/>
                  </a:ext>
                </a:extLst>
              </p:cNvPr>
              <p:cNvGrpSpPr/>
              <p:nvPr userDrawn="1"/>
            </p:nvGrpSpPr>
            <p:grpSpPr>
              <a:xfrm>
                <a:off x="9541497" y="7168798"/>
                <a:ext cx="2735151" cy="1411315"/>
                <a:chOff x="9296567" y="4910411"/>
                <a:chExt cx="2735151" cy="1411315"/>
              </a:xfrm>
            </p:grpSpPr>
            <p:sp>
              <p:nvSpPr>
                <p:cNvPr id="81" name="Rectangle 80">
                  <a:extLst>
                    <a:ext uri="{FF2B5EF4-FFF2-40B4-BE49-F238E27FC236}">
                      <a16:creationId xmlns:a16="http://schemas.microsoft.com/office/drawing/2014/main" id="{7B060E3F-3460-1340-A955-A0E0058CA96A}"/>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2" name="TextBox 81">
                  <a:extLst>
                    <a:ext uri="{FF2B5EF4-FFF2-40B4-BE49-F238E27FC236}">
                      <a16:creationId xmlns:a16="http://schemas.microsoft.com/office/drawing/2014/main" id="{CF89F7B0-F650-8844-A28B-9665EB78F56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83" name="Graphic 82">
                  <a:extLst>
                    <a:ext uri="{FF2B5EF4-FFF2-40B4-BE49-F238E27FC236}">
                      <a16:creationId xmlns:a16="http://schemas.microsoft.com/office/drawing/2014/main" id="{AC2297FF-4363-464B-AD47-EFF94E8CC136}"/>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84" name="TextBox 83">
                  <a:extLst>
                    <a:ext uri="{FF2B5EF4-FFF2-40B4-BE49-F238E27FC236}">
                      <a16:creationId xmlns:a16="http://schemas.microsoft.com/office/drawing/2014/main" id="{ECD7ABCD-E747-9145-B364-C6EE6679ED8D}"/>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5" name="TextBox 84">
                  <a:extLst>
                    <a:ext uri="{FF2B5EF4-FFF2-40B4-BE49-F238E27FC236}">
                      <a16:creationId xmlns:a16="http://schemas.microsoft.com/office/drawing/2014/main" id="{9D2EDEA1-AFD7-8144-9BFE-E95C524E5D8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6" name="TextBox 85">
                  <a:extLst>
                    <a:ext uri="{FF2B5EF4-FFF2-40B4-BE49-F238E27FC236}">
                      <a16:creationId xmlns:a16="http://schemas.microsoft.com/office/drawing/2014/main" id="{5D7D6192-8EC2-3147-944F-C9990998399D}"/>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67" name="Group 66">
                <a:extLst>
                  <a:ext uri="{FF2B5EF4-FFF2-40B4-BE49-F238E27FC236}">
                    <a16:creationId xmlns:a16="http://schemas.microsoft.com/office/drawing/2014/main" id="{07C54234-03B7-ED4C-95A6-74560FB7E24D}"/>
                  </a:ext>
                </a:extLst>
              </p:cNvPr>
              <p:cNvGrpSpPr/>
              <p:nvPr userDrawn="1"/>
            </p:nvGrpSpPr>
            <p:grpSpPr>
              <a:xfrm>
                <a:off x="9541497" y="5812142"/>
                <a:ext cx="2735151" cy="1280928"/>
                <a:chOff x="9286315" y="6976989"/>
                <a:chExt cx="2735151" cy="1280928"/>
              </a:xfrm>
            </p:grpSpPr>
            <p:sp>
              <p:nvSpPr>
                <p:cNvPr id="76" name="Rectangle 75">
                  <a:extLst>
                    <a:ext uri="{FF2B5EF4-FFF2-40B4-BE49-F238E27FC236}">
                      <a16:creationId xmlns:a16="http://schemas.microsoft.com/office/drawing/2014/main" id="{F53BB598-EA50-564F-ACB0-AF0849D9E4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7" name="TextBox 76">
                  <a:extLst>
                    <a:ext uri="{FF2B5EF4-FFF2-40B4-BE49-F238E27FC236}">
                      <a16:creationId xmlns:a16="http://schemas.microsoft.com/office/drawing/2014/main" id="{5709B753-3BAD-BA41-9041-2E20667632BC}"/>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8" name="Graphic 77">
                  <a:extLst>
                    <a:ext uri="{FF2B5EF4-FFF2-40B4-BE49-F238E27FC236}">
                      <a16:creationId xmlns:a16="http://schemas.microsoft.com/office/drawing/2014/main" id="{506AF462-47AB-2D41-9BC3-AFB0E9F9D82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79" name="TextBox 78">
                  <a:extLst>
                    <a:ext uri="{FF2B5EF4-FFF2-40B4-BE49-F238E27FC236}">
                      <a16:creationId xmlns:a16="http://schemas.microsoft.com/office/drawing/2014/main" id="{9A627AE6-C7F3-334D-A34F-2BC4E58C2E95}"/>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0" name="Picture 79">
                  <a:extLst>
                    <a:ext uri="{FF2B5EF4-FFF2-40B4-BE49-F238E27FC236}">
                      <a16:creationId xmlns:a16="http://schemas.microsoft.com/office/drawing/2014/main" id="{BA46C26C-A1B1-3143-B061-C7CB9671CDE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8" name="Group 67">
                <a:extLst>
                  <a:ext uri="{FF2B5EF4-FFF2-40B4-BE49-F238E27FC236}">
                    <a16:creationId xmlns:a16="http://schemas.microsoft.com/office/drawing/2014/main" id="{B638C602-8F7A-FF4F-9436-99BFF634F80A}"/>
                  </a:ext>
                </a:extLst>
              </p:cNvPr>
              <p:cNvGrpSpPr/>
              <p:nvPr userDrawn="1"/>
            </p:nvGrpSpPr>
            <p:grpSpPr>
              <a:xfrm>
                <a:off x="9521833" y="2891408"/>
                <a:ext cx="2617883" cy="651460"/>
                <a:chOff x="12352022" y="513115"/>
                <a:chExt cx="2617883" cy="651460"/>
              </a:xfrm>
            </p:grpSpPr>
            <p:sp>
              <p:nvSpPr>
                <p:cNvPr id="73" name="TextBox 72">
                  <a:extLst>
                    <a:ext uri="{FF2B5EF4-FFF2-40B4-BE49-F238E27FC236}">
                      <a16:creationId xmlns:a16="http://schemas.microsoft.com/office/drawing/2014/main" id="{F5E8575C-58DF-6F4D-846B-64E64AEAD4B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4" name="TextBox 73">
                  <a:extLst>
                    <a:ext uri="{FF2B5EF4-FFF2-40B4-BE49-F238E27FC236}">
                      <a16:creationId xmlns:a16="http://schemas.microsoft.com/office/drawing/2014/main" id="{7F689E54-3DDE-9146-9E71-0F9EF77EB584}"/>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75" name="TextBox 74">
                  <a:extLst>
                    <a:ext uri="{FF2B5EF4-FFF2-40B4-BE49-F238E27FC236}">
                      <a16:creationId xmlns:a16="http://schemas.microsoft.com/office/drawing/2014/main" id="{E200D3D3-053D-F342-9A67-0E660D73F76B}"/>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69" name="TextBox 68">
                <a:extLst>
                  <a:ext uri="{FF2B5EF4-FFF2-40B4-BE49-F238E27FC236}">
                    <a16:creationId xmlns:a16="http://schemas.microsoft.com/office/drawing/2014/main" id="{7C8EB52F-15EB-7449-9FC6-CFECD8E81D6C}"/>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0" name="TextBox 69">
                <a:extLst>
                  <a:ext uri="{FF2B5EF4-FFF2-40B4-BE49-F238E27FC236}">
                    <a16:creationId xmlns:a16="http://schemas.microsoft.com/office/drawing/2014/main" id="{56C11956-D135-0244-8935-77ECF9139C68}"/>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71" name="TextBox 70">
                <a:extLst>
                  <a:ext uri="{FF2B5EF4-FFF2-40B4-BE49-F238E27FC236}">
                    <a16:creationId xmlns:a16="http://schemas.microsoft.com/office/drawing/2014/main" id="{841BDB28-CB56-C346-9DF5-E30F5ADD0CB7}"/>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72" name="TextBox 71">
                <a:extLst>
                  <a:ext uri="{FF2B5EF4-FFF2-40B4-BE49-F238E27FC236}">
                    <a16:creationId xmlns:a16="http://schemas.microsoft.com/office/drawing/2014/main" id="{7841BCCC-4BF1-1644-8598-448D5C40EC05}"/>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61" name="TextBox 60">
              <a:extLst>
                <a:ext uri="{FF2B5EF4-FFF2-40B4-BE49-F238E27FC236}">
                  <a16:creationId xmlns:a16="http://schemas.microsoft.com/office/drawing/2014/main" id="{A0C7E1FE-3DCE-F245-ADBB-D7351343D700}"/>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62" name="Straight Connector 61">
              <a:extLst>
                <a:ext uri="{FF2B5EF4-FFF2-40B4-BE49-F238E27FC236}">
                  <a16:creationId xmlns:a16="http://schemas.microsoft.com/office/drawing/2014/main" id="{47B69573-680F-C847-8FB3-E97B96F0087B}"/>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156E90A0-F5F3-7D4A-BCA0-0B455A043EC4}"/>
                </a:ext>
              </a:extLst>
            </p:cNvPr>
            <p:cNvGrpSpPr/>
            <p:nvPr userDrawn="1"/>
          </p:nvGrpSpPr>
          <p:grpSpPr>
            <a:xfrm>
              <a:off x="9554253" y="2414886"/>
              <a:ext cx="2819399" cy="1181890"/>
              <a:chOff x="9541498" y="3352649"/>
              <a:chExt cx="2819399" cy="1181890"/>
            </a:xfrm>
          </p:grpSpPr>
          <p:grpSp>
            <p:nvGrpSpPr>
              <p:cNvPr id="53" name="Group 52">
                <a:extLst>
                  <a:ext uri="{FF2B5EF4-FFF2-40B4-BE49-F238E27FC236}">
                    <a16:creationId xmlns:a16="http://schemas.microsoft.com/office/drawing/2014/main" id="{E3B8AD0A-9353-E743-98CA-44AFA4D7C166}"/>
                  </a:ext>
                </a:extLst>
              </p:cNvPr>
              <p:cNvGrpSpPr/>
              <p:nvPr userDrawn="1"/>
            </p:nvGrpSpPr>
            <p:grpSpPr>
              <a:xfrm>
                <a:off x="9541498" y="3352649"/>
                <a:ext cx="2735150" cy="1181890"/>
                <a:chOff x="9541498" y="3751132"/>
                <a:chExt cx="2735150" cy="1181890"/>
              </a:xfrm>
            </p:grpSpPr>
            <p:grpSp>
              <p:nvGrpSpPr>
                <p:cNvPr id="55" name="Group 54">
                  <a:extLst>
                    <a:ext uri="{FF2B5EF4-FFF2-40B4-BE49-F238E27FC236}">
                      <a16:creationId xmlns:a16="http://schemas.microsoft.com/office/drawing/2014/main" id="{B0E8F800-E1AB-E746-8851-BE07C9573DF5}"/>
                    </a:ext>
                  </a:extLst>
                </p:cNvPr>
                <p:cNvGrpSpPr/>
                <p:nvPr userDrawn="1"/>
              </p:nvGrpSpPr>
              <p:grpSpPr>
                <a:xfrm>
                  <a:off x="9541498" y="3751132"/>
                  <a:ext cx="2735150" cy="1181890"/>
                  <a:chOff x="9296568" y="4910411"/>
                  <a:chExt cx="2735150" cy="1181890"/>
                </a:xfrm>
              </p:grpSpPr>
              <p:sp>
                <p:nvSpPr>
                  <p:cNvPr id="90" name="Rectangle 89">
                    <a:extLst>
                      <a:ext uri="{FF2B5EF4-FFF2-40B4-BE49-F238E27FC236}">
                        <a16:creationId xmlns:a16="http://schemas.microsoft.com/office/drawing/2014/main" id="{F0341023-B297-EE44-B1E7-3A1B988C0D34}"/>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91" name="TextBox 90">
                    <a:extLst>
                      <a:ext uri="{FF2B5EF4-FFF2-40B4-BE49-F238E27FC236}">
                        <a16:creationId xmlns:a16="http://schemas.microsoft.com/office/drawing/2014/main" id="{004FF57D-84DA-054C-BAE1-86A84ADB8BFA}"/>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92" name="TextBox 91">
                    <a:extLst>
                      <a:ext uri="{FF2B5EF4-FFF2-40B4-BE49-F238E27FC236}">
                        <a16:creationId xmlns:a16="http://schemas.microsoft.com/office/drawing/2014/main" id="{14A089B3-40F5-BA48-9C89-18CED644A608}"/>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56" name="Graphic 55">
                  <a:extLst>
                    <a:ext uri="{FF2B5EF4-FFF2-40B4-BE49-F238E27FC236}">
                      <a16:creationId xmlns:a16="http://schemas.microsoft.com/office/drawing/2014/main" id="{0F683FF8-BB88-8D4C-AFF7-96AC3276CB73}"/>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54" name="Picture 53">
                <a:extLst>
                  <a:ext uri="{FF2B5EF4-FFF2-40B4-BE49-F238E27FC236}">
                    <a16:creationId xmlns:a16="http://schemas.microsoft.com/office/drawing/2014/main" id="{CF48C183-4FC2-8B43-8812-4E977634650E}"/>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167638103"/>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 Photos and Text (Vertical)">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1" name="Picture Placeholder 7">
            <a:extLst>
              <a:ext uri="{FF2B5EF4-FFF2-40B4-BE49-F238E27FC236}">
                <a16:creationId xmlns:a16="http://schemas.microsoft.com/office/drawing/2014/main" id="{F7232953-10D7-9346-B58D-EA3D767D05C8}"/>
              </a:ext>
            </a:extLst>
          </p:cNvPr>
          <p:cNvSpPr>
            <a:spLocks noGrp="1"/>
          </p:cNvSpPr>
          <p:nvPr>
            <p:ph type="pic" sz="quarter" idx="13" hasCustomPrompt="1"/>
          </p:nvPr>
        </p:nvSpPr>
        <p:spPr>
          <a:xfrm>
            <a:off x="576481" y="1233642"/>
            <a:ext cx="3289905"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12" name="Picture Placeholder 7">
            <a:extLst>
              <a:ext uri="{FF2B5EF4-FFF2-40B4-BE49-F238E27FC236}">
                <a16:creationId xmlns:a16="http://schemas.microsoft.com/office/drawing/2014/main" id="{5852B5E0-86AD-3749-B882-594E0C761812}"/>
              </a:ext>
            </a:extLst>
          </p:cNvPr>
          <p:cNvSpPr>
            <a:spLocks noGrp="1"/>
          </p:cNvSpPr>
          <p:nvPr>
            <p:ph type="pic" sz="quarter" idx="14" hasCustomPrompt="1"/>
          </p:nvPr>
        </p:nvSpPr>
        <p:spPr>
          <a:xfrm>
            <a:off x="4451900" y="1233488"/>
            <a:ext cx="3289424" cy="1466229"/>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0" name="Caption">
            <a:extLst>
              <a:ext uri="{FF2B5EF4-FFF2-40B4-BE49-F238E27FC236}">
                <a16:creationId xmlns:a16="http://schemas.microsoft.com/office/drawing/2014/main" id="{CF4AE758-84F6-C54D-A7DE-052D01982D22}"/>
              </a:ext>
            </a:extLst>
          </p:cNvPr>
          <p:cNvSpPr>
            <a:spLocks noGrp="1"/>
          </p:cNvSpPr>
          <p:nvPr>
            <p:ph type="body" sz="quarter" idx="500" hasCustomPrompt="1"/>
          </p:nvPr>
        </p:nvSpPr>
        <p:spPr>
          <a:xfrm>
            <a:off x="575734" y="2147777"/>
            <a:ext cx="328990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502" name="Caption 2">
            <a:extLst>
              <a:ext uri="{FF2B5EF4-FFF2-40B4-BE49-F238E27FC236}">
                <a16:creationId xmlns:a16="http://schemas.microsoft.com/office/drawing/2014/main" id="{AC269ED5-A2B1-6A4F-BE9E-2525E65191C5}"/>
              </a:ext>
            </a:extLst>
          </p:cNvPr>
          <p:cNvSpPr>
            <a:spLocks noGrp="1"/>
          </p:cNvSpPr>
          <p:nvPr>
            <p:ph type="body" sz="quarter" idx="502" hasCustomPrompt="1"/>
          </p:nvPr>
        </p:nvSpPr>
        <p:spPr>
          <a:xfrm>
            <a:off x="4451042" y="2147777"/>
            <a:ext cx="328990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100" name="Photo">
            <a:extLst>
              <a:ext uri="{FF2B5EF4-FFF2-40B4-BE49-F238E27FC236}">
                <a16:creationId xmlns:a16="http://schemas.microsoft.com/office/drawing/2014/main" id="{A5A98BB7-3BBC-BF47-A9BC-1EE83DF5EEF5}"/>
              </a:ext>
            </a:extLst>
          </p:cNvPr>
          <p:cNvSpPr>
            <a:spLocks noGrp="1"/>
          </p:cNvSpPr>
          <p:nvPr>
            <p:ph type="pic" sz="quarter" idx="100" hasCustomPrompt="1"/>
          </p:nvPr>
        </p:nvSpPr>
        <p:spPr>
          <a:xfrm>
            <a:off x="8326839" y="1233488"/>
            <a:ext cx="3289424" cy="1466229"/>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grpSp>
        <p:nvGrpSpPr>
          <p:cNvPr id="2" name="Group 1">
            <a:extLst>
              <a:ext uri="{FF2B5EF4-FFF2-40B4-BE49-F238E27FC236}">
                <a16:creationId xmlns:a16="http://schemas.microsoft.com/office/drawing/2014/main" id="{88F1C867-7832-304B-B6CD-BF0427937307}"/>
              </a:ext>
            </a:extLst>
          </p:cNvPr>
          <p:cNvGrpSpPr/>
          <p:nvPr userDrawn="1"/>
        </p:nvGrpSpPr>
        <p:grpSpPr>
          <a:xfrm>
            <a:off x="4159142" y="1233488"/>
            <a:ext cx="3874939" cy="4932363"/>
            <a:chOff x="3119357" y="1233487"/>
            <a:chExt cx="2906204" cy="4861079"/>
          </a:xfrm>
        </p:grpSpPr>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a:off x="3119357" y="1233487"/>
              <a:ext cx="0" cy="4861079"/>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a:off x="6025561" y="1233487"/>
              <a:ext cx="0" cy="4861079"/>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grpSp>
      <p:sp>
        <p:nvSpPr>
          <p:cNvPr id="504" name="Caption 3">
            <a:extLst>
              <a:ext uri="{FF2B5EF4-FFF2-40B4-BE49-F238E27FC236}">
                <a16:creationId xmlns:a16="http://schemas.microsoft.com/office/drawing/2014/main" id="{42868E29-E783-A54C-A4B5-63DAB28D5BEF}"/>
              </a:ext>
            </a:extLst>
          </p:cNvPr>
          <p:cNvSpPr>
            <a:spLocks noGrp="1"/>
          </p:cNvSpPr>
          <p:nvPr>
            <p:ph type="body" sz="quarter" idx="504" hasCustomPrompt="1"/>
          </p:nvPr>
        </p:nvSpPr>
        <p:spPr>
          <a:xfrm>
            <a:off x="8326357" y="2147777"/>
            <a:ext cx="3289905"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499" name="Text Placeholder 1">
            <a:extLst>
              <a:ext uri="{FF2B5EF4-FFF2-40B4-BE49-F238E27FC236}">
                <a16:creationId xmlns:a16="http://schemas.microsoft.com/office/drawing/2014/main" id="{092CA0F9-EE9F-8C4F-9A14-8B88D9656C37}"/>
              </a:ext>
            </a:extLst>
          </p:cNvPr>
          <p:cNvSpPr>
            <a:spLocks noGrp="1"/>
          </p:cNvSpPr>
          <p:nvPr>
            <p:ph type="body" sz="quarter" idx="499"/>
          </p:nvPr>
        </p:nvSpPr>
        <p:spPr>
          <a:xfrm>
            <a:off x="575735" y="2866844"/>
            <a:ext cx="3289904"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01" name="Text Placeholder 2">
            <a:extLst>
              <a:ext uri="{FF2B5EF4-FFF2-40B4-BE49-F238E27FC236}">
                <a16:creationId xmlns:a16="http://schemas.microsoft.com/office/drawing/2014/main" id="{781EEB42-430C-9948-97C1-B9A99786D432}"/>
              </a:ext>
            </a:extLst>
          </p:cNvPr>
          <p:cNvSpPr>
            <a:spLocks noGrp="1"/>
          </p:cNvSpPr>
          <p:nvPr>
            <p:ph type="body" sz="quarter" idx="501"/>
          </p:nvPr>
        </p:nvSpPr>
        <p:spPr>
          <a:xfrm>
            <a:off x="4451041" y="2866844"/>
            <a:ext cx="3289904"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03" name="Text Placeholder 3">
            <a:extLst>
              <a:ext uri="{FF2B5EF4-FFF2-40B4-BE49-F238E27FC236}">
                <a16:creationId xmlns:a16="http://schemas.microsoft.com/office/drawing/2014/main" id="{8C3607B2-9D2D-5E49-86D7-3D3FC05F0012}"/>
              </a:ext>
            </a:extLst>
          </p:cNvPr>
          <p:cNvSpPr>
            <a:spLocks noGrp="1"/>
          </p:cNvSpPr>
          <p:nvPr>
            <p:ph type="body" sz="quarter" idx="503"/>
          </p:nvPr>
        </p:nvSpPr>
        <p:spPr>
          <a:xfrm>
            <a:off x="8326357" y="2866844"/>
            <a:ext cx="3289904" cy="329900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00" name="Footnotes Placeholder">
            <a:extLst>
              <a:ext uri="{FF2B5EF4-FFF2-40B4-BE49-F238E27FC236}">
                <a16:creationId xmlns:a16="http://schemas.microsoft.com/office/drawing/2014/main" id="{0EF6CB6B-94CC-654E-AE09-4DED2D6EA769}"/>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6" name="Date Placeholder 5">
            <a:extLst>
              <a:ext uri="{FF2B5EF4-FFF2-40B4-BE49-F238E27FC236}">
                <a16:creationId xmlns:a16="http://schemas.microsoft.com/office/drawing/2014/main" id="{D895EACF-4F1C-3842-A7FF-4AC5A2D2E696}"/>
              </a:ext>
            </a:extLst>
          </p:cNvPr>
          <p:cNvSpPr>
            <a:spLocks noGrp="1"/>
          </p:cNvSpPr>
          <p:nvPr>
            <p:ph type="dt" sz="half" idx="116"/>
          </p:nvPr>
        </p:nvSpPr>
        <p:spPr/>
        <p:txBody>
          <a:bodyPr/>
          <a:lstStyle/>
          <a:p>
            <a:endParaRPr lang="en-US" dirty="0"/>
          </a:p>
        </p:txBody>
      </p:sp>
      <p:sp>
        <p:nvSpPr>
          <p:cNvPr id="7" name="Footer Placeholder 6">
            <a:extLst>
              <a:ext uri="{FF2B5EF4-FFF2-40B4-BE49-F238E27FC236}">
                <a16:creationId xmlns:a16="http://schemas.microsoft.com/office/drawing/2014/main" id="{56214F30-9FE6-D845-91CA-9835E0CF8D52}"/>
              </a:ext>
            </a:extLst>
          </p:cNvPr>
          <p:cNvSpPr>
            <a:spLocks noGrp="1"/>
          </p:cNvSpPr>
          <p:nvPr>
            <p:ph type="ftr" sz="quarter" idx="117"/>
          </p:nvPr>
        </p:nvSpPr>
        <p:spPr/>
        <p:txBody>
          <a:bodyPr/>
          <a:lstStyle/>
          <a:p>
            <a:endParaRPr lang="en-US" dirty="0"/>
          </a:p>
        </p:txBody>
      </p:sp>
      <p:sp>
        <p:nvSpPr>
          <p:cNvPr id="8" name="Slide Number Placeholder 7">
            <a:extLst>
              <a:ext uri="{FF2B5EF4-FFF2-40B4-BE49-F238E27FC236}">
                <a16:creationId xmlns:a16="http://schemas.microsoft.com/office/drawing/2014/main" id="{93172460-2E71-5943-A56D-3D902E900BD0}"/>
              </a:ext>
            </a:extLst>
          </p:cNvPr>
          <p:cNvSpPr>
            <a:spLocks noGrp="1"/>
          </p:cNvSpPr>
          <p:nvPr>
            <p:ph type="sldNum" sz="quarter" idx="1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57" name="Group 56">
            <a:extLst>
              <a:ext uri="{FF2B5EF4-FFF2-40B4-BE49-F238E27FC236}">
                <a16:creationId xmlns:a16="http://schemas.microsoft.com/office/drawing/2014/main" id="{9B420A68-79DB-DB41-B02A-F2E31E6651C4}"/>
              </a:ext>
            </a:extLst>
          </p:cNvPr>
          <p:cNvGrpSpPr/>
          <p:nvPr userDrawn="1"/>
        </p:nvGrpSpPr>
        <p:grpSpPr>
          <a:xfrm>
            <a:off x="12532243" y="-2"/>
            <a:ext cx="3965960" cy="9769405"/>
            <a:chOff x="9399182" y="-2"/>
            <a:chExt cx="2974470" cy="9769405"/>
          </a:xfrm>
        </p:grpSpPr>
        <p:sp>
          <p:nvSpPr>
            <p:cNvPr id="58" name="Rectangle 57">
              <a:extLst>
                <a:ext uri="{FF2B5EF4-FFF2-40B4-BE49-F238E27FC236}">
                  <a16:creationId xmlns:a16="http://schemas.microsoft.com/office/drawing/2014/main" id="{1FD61CBE-4EF4-9744-9738-8709C50F1AFF}"/>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59" name="Picture 58">
              <a:extLst>
                <a:ext uri="{FF2B5EF4-FFF2-40B4-BE49-F238E27FC236}">
                  <a16:creationId xmlns:a16="http://schemas.microsoft.com/office/drawing/2014/main" id="{A3D0F9C7-1B58-504B-9BB8-DB9D4FABA977}"/>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0" name="Group 59">
              <a:extLst>
                <a:ext uri="{FF2B5EF4-FFF2-40B4-BE49-F238E27FC236}">
                  <a16:creationId xmlns:a16="http://schemas.microsoft.com/office/drawing/2014/main" id="{35358C56-D8B9-2D44-A534-272FE4FBDFFA}"/>
                </a:ext>
              </a:extLst>
            </p:cNvPr>
            <p:cNvGrpSpPr/>
            <p:nvPr userDrawn="1"/>
          </p:nvGrpSpPr>
          <p:grpSpPr>
            <a:xfrm>
              <a:off x="9541497" y="162442"/>
              <a:ext cx="2819400" cy="814510"/>
              <a:chOff x="-3644733" y="165205"/>
              <a:chExt cx="2819400" cy="814510"/>
            </a:xfrm>
          </p:grpSpPr>
          <p:sp>
            <p:nvSpPr>
              <p:cNvPr id="135" name="Rectangle 134">
                <a:extLst>
                  <a:ext uri="{FF2B5EF4-FFF2-40B4-BE49-F238E27FC236}">
                    <a16:creationId xmlns:a16="http://schemas.microsoft.com/office/drawing/2014/main" id="{95659F2A-19A0-4447-8057-CFEE8FF56B2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6" name="TextBox 135">
                <a:extLst>
                  <a:ext uri="{FF2B5EF4-FFF2-40B4-BE49-F238E27FC236}">
                    <a16:creationId xmlns:a16="http://schemas.microsoft.com/office/drawing/2014/main" id="{B67C9E65-EC19-3442-B39D-EF200814B68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7" name="Picture 136">
                <a:extLst>
                  <a:ext uri="{FF2B5EF4-FFF2-40B4-BE49-F238E27FC236}">
                    <a16:creationId xmlns:a16="http://schemas.microsoft.com/office/drawing/2014/main" id="{323C1721-626E-314E-A318-8CD718694A2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95" name="Group 94">
              <a:extLst>
                <a:ext uri="{FF2B5EF4-FFF2-40B4-BE49-F238E27FC236}">
                  <a16:creationId xmlns:a16="http://schemas.microsoft.com/office/drawing/2014/main" id="{B17DCDDF-F1BE-DE4A-A470-27619CEB4EA1}"/>
                </a:ext>
              </a:extLst>
            </p:cNvPr>
            <p:cNvGrpSpPr/>
            <p:nvPr userDrawn="1"/>
          </p:nvGrpSpPr>
          <p:grpSpPr>
            <a:xfrm>
              <a:off x="9521833" y="3755578"/>
              <a:ext cx="2754815" cy="6013825"/>
              <a:chOff x="9521833" y="2566288"/>
              <a:chExt cx="2754815" cy="6013825"/>
            </a:xfrm>
          </p:grpSpPr>
          <p:sp>
            <p:nvSpPr>
              <p:cNvPr id="107" name="TextBox 106">
                <a:extLst>
                  <a:ext uri="{FF2B5EF4-FFF2-40B4-BE49-F238E27FC236}">
                    <a16:creationId xmlns:a16="http://schemas.microsoft.com/office/drawing/2014/main" id="{E6F2A99C-3FE4-AD45-B484-C0BE917FD294}"/>
                  </a:ext>
                </a:extLst>
              </p:cNvPr>
              <p:cNvSpPr txBox="1"/>
              <p:nvPr userDrawn="1"/>
            </p:nvSpPr>
            <p:spPr>
              <a:xfrm>
                <a:off x="9558507" y="256628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108" name="Straight Connector 107">
                <a:extLst>
                  <a:ext uri="{FF2B5EF4-FFF2-40B4-BE49-F238E27FC236}">
                    <a16:creationId xmlns:a16="http://schemas.microsoft.com/office/drawing/2014/main" id="{FB66869C-518A-4E44-A5D8-215292EBADF3}"/>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1E6E8BDE-A518-5A4C-8679-EEE8B59A8496}"/>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10" name="Group 109">
                <a:extLst>
                  <a:ext uri="{FF2B5EF4-FFF2-40B4-BE49-F238E27FC236}">
                    <a16:creationId xmlns:a16="http://schemas.microsoft.com/office/drawing/2014/main" id="{856B91D7-AFB6-D14D-9C1A-039849E808D4}"/>
                  </a:ext>
                </a:extLst>
              </p:cNvPr>
              <p:cNvGrpSpPr/>
              <p:nvPr userDrawn="1"/>
            </p:nvGrpSpPr>
            <p:grpSpPr>
              <a:xfrm>
                <a:off x="9541497" y="7168798"/>
                <a:ext cx="2735151" cy="1411315"/>
                <a:chOff x="9296567" y="4910411"/>
                <a:chExt cx="2735151" cy="1411315"/>
              </a:xfrm>
            </p:grpSpPr>
            <p:sp>
              <p:nvSpPr>
                <p:cNvPr id="129" name="Rectangle 128">
                  <a:extLst>
                    <a:ext uri="{FF2B5EF4-FFF2-40B4-BE49-F238E27FC236}">
                      <a16:creationId xmlns:a16="http://schemas.microsoft.com/office/drawing/2014/main" id="{FD2AE5C6-3677-724F-92E6-5538D45B8D48}"/>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0" name="TextBox 129">
                  <a:extLst>
                    <a:ext uri="{FF2B5EF4-FFF2-40B4-BE49-F238E27FC236}">
                      <a16:creationId xmlns:a16="http://schemas.microsoft.com/office/drawing/2014/main" id="{FA964FC1-48D0-784E-9777-5823D5FA266D}"/>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31" name="Graphic 130">
                  <a:extLst>
                    <a:ext uri="{FF2B5EF4-FFF2-40B4-BE49-F238E27FC236}">
                      <a16:creationId xmlns:a16="http://schemas.microsoft.com/office/drawing/2014/main" id="{9A1BCB32-2903-F44E-8F4D-87C1D9ADEAA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2" name="TextBox 131">
                  <a:extLst>
                    <a:ext uri="{FF2B5EF4-FFF2-40B4-BE49-F238E27FC236}">
                      <a16:creationId xmlns:a16="http://schemas.microsoft.com/office/drawing/2014/main" id="{55BE347B-59DF-6947-A01C-B5DC935B7398}"/>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3" name="TextBox 132">
                  <a:extLst>
                    <a:ext uri="{FF2B5EF4-FFF2-40B4-BE49-F238E27FC236}">
                      <a16:creationId xmlns:a16="http://schemas.microsoft.com/office/drawing/2014/main" id="{31AE7AC1-83E2-C248-979E-EF4CCB978969}"/>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34" name="TextBox 133">
                  <a:extLst>
                    <a:ext uri="{FF2B5EF4-FFF2-40B4-BE49-F238E27FC236}">
                      <a16:creationId xmlns:a16="http://schemas.microsoft.com/office/drawing/2014/main" id="{34ED295B-81B0-9948-AC39-03FB2489D319}"/>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11" name="Group 110">
                <a:extLst>
                  <a:ext uri="{FF2B5EF4-FFF2-40B4-BE49-F238E27FC236}">
                    <a16:creationId xmlns:a16="http://schemas.microsoft.com/office/drawing/2014/main" id="{FA21885C-5903-6E41-AC43-23C29B0342C1}"/>
                  </a:ext>
                </a:extLst>
              </p:cNvPr>
              <p:cNvGrpSpPr/>
              <p:nvPr userDrawn="1"/>
            </p:nvGrpSpPr>
            <p:grpSpPr>
              <a:xfrm>
                <a:off x="9541497" y="5812142"/>
                <a:ext cx="2735151" cy="1280928"/>
                <a:chOff x="9286315" y="6976989"/>
                <a:chExt cx="2735151" cy="1280928"/>
              </a:xfrm>
            </p:grpSpPr>
            <p:sp>
              <p:nvSpPr>
                <p:cNvPr id="120" name="Rectangle 119">
                  <a:extLst>
                    <a:ext uri="{FF2B5EF4-FFF2-40B4-BE49-F238E27FC236}">
                      <a16:creationId xmlns:a16="http://schemas.microsoft.com/office/drawing/2014/main" id="{0CBDA1BF-3DF5-AF4A-A75B-16654E5BBE0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21" name="TextBox 120">
                  <a:extLst>
                    <a:ext uri="{FF2B5EF4-FFF2-40B4-BE49-F238E27FC236}">
                      <a16:creationId xmlns:a16="http://schemas.microsoft.com/office/drawing/2014/main" id="{FB9070B7-F38E-B145-B116-93DD07A0ED7F}"/>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26" name="Graphic 125">
                  <a:extLst>
                    <a:ext uri="{FF2B5EF4-FFF2-40B4-BE49-F238E27FC236}">
                      <a16:creationId xmlns:a16="http://schemas.microsoft.com/office/drawing/2014/main" id="{05297A0C-0DFC-3F40-AA58-4B1BF710AC1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27" name="TextBox 126">
                  <a:extLst>
                    <a:ext uri="{FF2B5EF4-FFF2-40B4-BE49-F238E27FC236}">
                      <a16:creationId xmlns:a16="http://schemas.microsoft.com/office/drawing/2014/main" id="{B2923AFA-67A9-EE4B-A5F0-0027855F0D74}"/>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28" name="Picture 127">
                  <a:extLst>
                    <a:ext uri="{FF2B5EF4-FFF2-40B4-BE49-F238E27FC236}">
                      <a16:creationId xmlns:a16="http://schemas.microsoft.com/office/drawing/2014/main" id="{140F5F94-D2B2-394D-8B07-BF813910FA3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12" name="Group 111">
                <a:extLst>
                  <a:ext uri="{FF2B5EF4-FFF2-40B4-BE49-F238E27FC236}">
                    <a16:creationId xmlns:a16="http://schemas.microsoft.com/office/drawing/2014/main" id="{F33273B7-FF85-EB44-BD0E-E50B420269F5}"/>
                  </a:ext>
                </a:extLst>
              </p:cNvPr>
              <p:cNvGrpSpPr/>
              <p:nvPr userDrawn="1"/>
            </p:nvGrpSpPr>
            <p:grpSpPr>
              <a:xfrm>
                <a:off x="9521833" y="2891408"/>
                <a:ext cx="2617883" cy="651460"/>
                <a:chOff x="12352022" y="513115"/>
                <a:chExt cx="2617883" cy="651460"/>
              </a:xfrm>
            </p:grpSpPr>
            <p:sp>
              <p:nvSpPr>
                <p:cNvPr id="117" name="TextBox 116">
                  <a:extLst>
                    <a:ext uri="{FF2B5EF4-FFF2-40B4-BE49-F238E27FC236}">
                      <a16:creationId xmlns:a16="http://schemas.microsoft.com/office/drawing/2014/main" id="{842D6F5C-1CCA-7743-AA36-CF22419CFF39}"/>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18" name="TextBox 117">
                  <a:extLst>
                    <a:ext uri="{FF2B5EF4-FFF2-40B4-BE49-F238E27FC236}">
                      <a16:creationId xmlns:a16="http://schemas.microsoft.com/office/drawing/2014/main" id="{3B5E7011-3C06-A54E-BC42-0AC71F269195}"/>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19" name="TextBox 118">
                  <a:extLst>
                    <a:ext uri="{FF2B5EF4-FFF2-40B4-BE49-F238E27FC236}">
                      <a16:creationId xmlns:a16="http://schemas.microsoft.com/office/drawing/2014/main" id="{8BABC65A-2E00-2C47-8534-CC7BF92B8C44}"/>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113" name="TextBox 112">
                <a:extLst>
                  <a:ext uri="{FF2B5EF4-FFF2-40B4-BE49-F238E27FC236}">
                    <a16:creationId xmlns:a16="http://schemas.microsoft.com/office/drawing/2014/main" id="{1200E688-1FCE-BE4D-ADD7-CEC6FCA2EEFD}"/>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14" name="TextBox 113">
                <a:extLst>
                  <a:ext uri="{FF2B5EF4-FFF2-40B4-BE49-F238E27FC236}">
                    <a16:creationId xmlns:a16="http://schemas.microsoft.com/office/drawing/2014/main" id="{7785D546-828D-3146-ACAC-55A0A0A07D3C}"/>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15" name="TextBox 114">
                <a:extLst>
                  <a:ext uri="{FF2B5EF4-FFF2-40B4-BE49-F238E27FC236}">
                    <a16:creationId xmlns:a16="http://schemas.microsoft.com/office/drawing/2014/main" id="{3BD9DF96-0C2D-4240-A433-266ED2D6EDFD}"/>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16" name="TextBox 115">
                <a:extLst>
                  <a:ext uri="{FF2B5EF4-FFF2-40B4-BE49-F238E27FC236}">
                    <a16:creationId xmlns:a16="http://schemas.microsoft.com/office/drawing/2014/main" id="{E6D29337-01D2-6545-ADD5-AB53F0139F0B}"/>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96" name="TextBox 95">
              <a:extLst>
                <a:ext uri="{FF2B5EF4-FFF2-40B4-BE49-F238E27FC236}">
                  <a16:creationId xmlns:a16="http://schemas.microsoft.com/office/drawing/2014/main" id="{A6874E17-02C1-C946-A42C-55A813E95DDC}"/>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97" name="Straight Connector 96">
              <a:extLst>
                <a:ext uri="{FF2B5EF4-FFF2-40B4-BE49-F238E27FC236}">
                  <a16:creationId xmlns:a16="http://schemas.microsoft.com/office/drawing/2014/main" id="{E676D275-6C7A-794E-B3A4-9C0D2F01BA21}"/>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id="{9E39727D-7666-D944-A279-9C6F9F522EAA}"/>
                </a:ext>
              </a:extLst>
            </p:cNvPr>
            <p:cNvGrpSpPr/>
            <p:nvPr userDrawn="1"/>
          </p:nvGrpSpPr>
          <p:grpSpPr>
            <a:xfrm>
              <a:off x="9554253" y="2414886"/>
              <a:ext cx="2819399" cy="1181890"/>
              <a:chOff x="9541498" y="3352649"/>
              <a:chExt cx="2819399" cy="1181890"/>
            </a:xfrm>
          </p:grpSpPr>
          <p:grpSp>
            <p:nvGrpSpPr>
              <p:cNvPr id="99" name="Group 98">
                <a:extLst>
                  <a:ext uri="{FF2B5EF4-FFF2-40B4-BE49-F238E27FC236}">
                    <a16:creationId xmlns:a16="http://schemas.microsoft.com/office/drawing/2014/main" id="{D43C113E-CE1B-0E46-8157-A4043B1705E1}"/>
                  </a:ext>
                </a:extLst>
              </p:cNvPr>
              <p:cNvGrpSpPr/>
              <p:nvPr userDrawn="1"/>
            </p:nvGrpSpPr>
            <p:grpSpPr>
              <a:xfrm>
                <a:off x="9541498" y="3352649"/>
                <a:ext cx="2735150" cy="1181890"/>
                <a:chOff x="9541498" y="3751132"/>
                <a:chExt cx="2735150" cy="1181890"/>
              </a:xfrm>
            </p:grpSpPr>
            <p:grpSp>
              <p:nvGrpSpPr>
                <p:cNvPr id="102" name="Group 101">
                  <a:extLst>
                    <a:ext uri="{FF2B5EF4-FFF2-40B4-BE49-F238E27FC236}">
                      <a16:creationId xmlns:a16="http://schemas.microsoft.com/office/drawing/2014/main" id="{2F7911CF-19AC-2E45-BF56-1473CD99BDBB}"/>
                    </a:ext>
                  </a:extLst>
                </p:cNvPr>
                <p:cNvGrpSpPr/>
                <p:nvPr userDrawn="1"/>
              </p:nvGrpSpPr>
              <p:grpSpPr>
                <a:xfrm>
                  <a:off x="9541498" y="3751132"/>
                  <a:ext cx="2735150" cy="1181890"/>
                  <a:chOff x="9296568" y="4910411"/>
                  <a:chExt cx="2735150" cy="1181890"/>
                </a:xfrm>
              </p:grpSpPr>
              <p:sp>
                <p:nvSpPr>
                  <p:cNvPr id="104" name="Rectangle 103">
                    <a:extLst>
                      <a:ext uri="{FF2B5EF4-FFF2-40B4-BE49-F238E27FC236}">
                        <a16:creationId xmlns:a16="http://schemas.microsoft.com/office/drawing/2014/main" id="{21935321-67DF-0942-B103-5EBEA1A11C6D}"/>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05" name="TextBox 104">
                    <a:extLst>
                      <a:ext uri="{FF2B5EF4-FFF2-40B4-BE49-F238E27FC236}">
                        <a16:creationId xmlns:a16="http://schemas.microsoft.com/office/drawing/2014/main" id="{5084153E-429E-984E-9780-BCE1637F49BF}"/>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06" name="TextBox 105">
                    <a:extLst>
                      <a:ext uri="{FF2B5EF4-FFF2-40B4-BE49-F238E27FC236}">
                        <a16:creationId xmlns:a16="http://schemas.microsoft.com/office/drawing/2014/main" id="{FD4E6000-FEEF-524E-88BD-FDBE78CDD820}"/>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03" name="Graphic 102">
                  <a:extLst>
                    <a:ext uri="{FF2B5EF4-FFF2-40B4-BE49-F238E27FC236}">
                      <a16:creationId xmlns:a16="http://schemas.microsoft.com/office/drawing/2014/main" id="{A25C8F3C-F2C1-8A40-AD08-DDCA82F39ED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01" name="Picture 100">
                <a:extLst>
                  <a:ext uri="{FF2B5EF4-FFF2-40B4-BE49-F238E27FC236}">
                    <a16:creationId xmlns:a16="http://schemas.microsoft.com/office/drawing/2014/main" id="{BC4EC8E7-BEED-1048-9857-E678954434A6}"/>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95142074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 Photos and Text (Horizontal)">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rot="5400000">
            <a:off x="6082599" y="-2675693"/>
            <a:ext cx="0" cy="1101378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rot="5400000">
            <a:off x="6082599" y="-946202"/>
            <a:ext cx="0" cy="1101378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499" name="Text Placeholder 1">
            <a:extLst>
              <a:ext uri="{FF2B5EF4-FFF2-40B4-BE49-F238E27FC236}">
                <a16:creationId xmlns:a16="http://schemas.microsoft.com/office/drawing/2014/main" id="{EA8D8CC5-DDED-9445-8A9A-D06B2B9A91DE}"/>
              </a:ext>
            </a:extLst>
          </p:cNvPr>
          <p:cNvSpPr>
            <a:spLocks noGrp="1"/>
          </p:cNvSpPr>
          <p:nvPr>
            <p:ph type="body" sz="quarter" idx="499"/>
          </p:nvPr>
        </p:nvSpPr>
        <p:spPr>
          <a:xfrm>
            <a:off x="3805768" y="1233488"/>
            <a:ext cx="7809985"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01" name="Text Placeholder 2">
            <a:extLst>
              <a:ext uri="{FF2B5EF4-FFF2-40B4-BE49-F238E27FC236}">
                <a16:creationId xmlns:a16="http://schemas.microsoft.com/office/drawing/2014/main" id="{65A45B82-A28A-C541-9948-969822196900}"/>
              </a:ext>
            </a:extLst>
          </p:cNvPr>
          <p:cNvSpPr>
            <a:spLocks noGrp="1"/>
          </p:cNvSpPr>
          <p:nvPr>
            <p:ph type="body" sz="quarter" idx="501"/>
          </p:nvPr>
        </p:nvSpPr>
        <p:spPr>
          <a:xfrm>
            <a:off x="3805768" y="2962517"/>
            <a:ext cx="7809985"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03" name="Text Placeholder 3">
            <a:extLst>
              <a:ext uri="{FF2B5EF4-FFF2-40B4-BE49-F238E27FC236}">
                <a16:creationId xmlns:a16="http://schemas.microsoft.com/office/drawing/2014/main" id="{8B46136D-9E6B-7348-A230-0C0B61F4043F}"/>
              </a:ext>
            </a:extLst>
          </p:cNvPr>
          <p:cNvSpPr>
            <a:spLocks noGrp="1"/>
          </p:cNvSpPr>
          <p:nvPr>
            <p:ph type="body" sz="quarter" idx="503"/>
          </p:nvPr>
        </p:nvSpPr>
        <p:spPr>
          <a:xfrm>
            <a:off x="3805768" y="4691546"/>
            <a:ext cx="7809985"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00" name="Footnotes Placeholder">
            <a:extLst>
              <a:ext uri="{FF2B5EF4-FFF2-40B4-BE49-F238E27FC236}">
                <a16:creationId xmlns:a16="http://schemas.microsoft.com/office/drawing/2014/main" id="{A9BB490B-C309-B748-9B19-AF93AAACA3CF}"/>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58" name="Picture Placeholder 7">
            <a:extLst>
              <a:ext uri="{FF2B5EF4-FFF2-40B4-BE49-F238E27FC236}">
                <a16:creationId xmlns:a16="http://schemas.microsoft.com/office/drawing/2014/main" id="{6F749DAD-56A6-D649-9F35-5B56FF579CB0}"/>
              </a:ext>
            </a:extLst>
          </p:cNvPr>
          <p:cNvSpPr>
            <a:spLocks noGrp="1"/>
          </p:cNvSpPr>
          <p:nvPr userDrawn="1">
            <p:ph type="pic" sz="quarter" idx="13" hasCustomPrompt="1"/>
          </p:nvPr>
        </p:nvSpPr>
        <p:spPr>
          <a:xfrm>
            <a:off x="576481" y="1233642"/>
            <a:ext cx="2896393"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0" name="Caption">
            <a:extLst>
              <a:ext uri="{FF2B5EF4-FFF2-40B4-BE49-F238E27FC236}">
                <a16:creationId xmlns:a16="http://schemas.microsoft.com/office/drawing/2014/main" id="{D94C6D6D-4FAA-B44F-ACF0-6E5AB0A38656}"/>
              </a:ext>
            </a:extLst>
          </p:cNvPr>
          <p:cNvSpPr>
            <a:spLocks noGrp="1"/>
          </p:cNvSpPr>
          <p:nvPr userDrawn="1">
            <p:ph type="body" sz="quarter" idx="500" hasCustomPrompt="1"/>
          </p:nvPr>
        </p:nvSpPr>
        <p:spPr>
          <a:xfrm>
            <a:off x="575734" y="2147777"/>
            <a:ext cx="2896393"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60" name="Picture Placeholder 7">
            <a:extLst>
              <a:ext uri="{FF2B5EF4-FFF2-40B4-BE49-F238E27FC236}">
                <a16:creationId xmlns:a16="http://schemas.microsoft.com/office/drawing/2014/main" id="{2D1E164C-A44E-6C43-B08A-9A9E7394EE60}"/>
              </a:ext>
            </a:extLst>
          </p:cNvPr>
          <p:cNvSpPr>
            <a:spLocks noGrp="1"/>
          </p:cNvSpPr>
          <p:nvPr userDrawn="1">
            <p:ph type="pic" sz="quarter" idx="121" hasCustomPrompt="1"/>
          </p:nvPr>
        </p:nvSpPr>
        <p:spPr>
          <a:xfrm>
            <a:off x="576481" y="2962056"/>
            <a:ext cx="2896393"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2" name="Caption 2">
            <a:extLst>
              <a:ext uri="{FF2B5EF4-FFF2-40B4-BE49-F238E27FC236}">
                <a16:creationId xmlns:a16="http://schemas.microsoft.com/office/drawing/2014/main" id="{72DD6B82-4027-214C-907A-917585DE52E2}"/>
              </a:ext>
            </a:extLst>
          </p:cNvPr>
          <p:cNvSpPr>
            <a:spLocks noGrp="1"/>
          </p:cNvSpPr>
          <p:nvPr userDrawn="1">
            <p:ph type="body" sz="quarter" idx="502" hasCustomPrompt="1"/>
          </p:nvPr>
        </p:nvSpPr>
        <p:spPr>
          <a:xfrm>
            <a:off x="575734" y="3876191"/>
            <a:ext cx="2896393"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62" name="Picture Placeholder 7">
            <a:extLst>
              <a:ext uri="{FF2B5EF4-FFF2-40B4-BE49-F238E27FC236}">
                <a16:creationId xmlns:a16="http://schemas.microsoft.com/office/drawing/2014/main" id="{12ACC18C-7823-4243-80B6-3AD22ABEB0F0}"/>
              </a:ext>
            </a:extLst>
          </p:cNvPr>
          <p:cNvSpPr>
            <a:spLocks noGrp="1"/>
          </p:cNvSpPr>
          <p:nvPr userDrawn="1">
            <p:ph type="pic" sz="quarter" idx="123" hasCustomPrompt="1"/>
          </p:nvPr>
        </p:nvSpPr>
        <p:spPr>
          <a:xfrm>
            <a:off x="576481" y="4691545"/>
            <a:ext cx="2896393" cy="1466077"/>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504" name="Caption 3">
            <a:extLst>
              <a:ext uri="{FF2B5EF4-FFF2-40B4-BE49-F238E27FC236}">
                <a16:creationId xmlns:a16="http://schemas.microsoft.com/office/drawing/2014/main" id="{BFF4272A-93C5-194D-96DD-141C47B60F8F}"/>
              </a:ext>
            </a:extLst>
          </p:cNvPr>
          <p:cNvSpPr>
            <a:spLocks noGrp="1"/>
          </p:cNvSpPr>
          <p:nvPr userDrawn="1">
            <p:ph type="body" sz="quarter" idx="504" hasCustomPrompt="1"/>
          </p:nvPr>
        </p:nvSpPr>
        <p:spPr>
          <a:xfrm>
            <a:off x="575734" y="5605680"/>
            <a:ext cx="2896393" cy="551940"/>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8" name="Date Placeholder 7">
            <a:extLst>
              <a:ext uri="{FF2B5EF4-FFF2-40B4-BE49-F238E27FC236}">
                <a16:creationId xmlns:a16="http://schemas.microsoft.com/office/drawing/2014/main" id="{5D5C0E79-A3BD-5144-8C77-5A57F1DFDA10}"/>
              </a:ext>
            </a:extLst>
          </p:cNvPr>
          <p:cNvSpPr>
            <a:spLocks noGrp="1"/>
          </p:cNvSpPr>
          <p:nvPr userDrawn="1">
            <p:ph type="dt" sz="half" idx="125"/>
          </p:nvPr>
        </p:nvSpPr>
        <p:spPr/>
        <p:txBody>
          <a:bodyPr/>
          <a:lstStyle/>
          <a:p>
            <a:endParaRPr lang="en-US" dirty="0"/>
          </a:p>
        </p:txBody>
      </p:sp>
      <p:sp>
        <p:nvSpPr>
          <p:cNvPr id="10" name="Footer Placeholder 9">
            <a:extLst>
              <a:ext uri="{FF2B5EF4-FFF2-40B4-BE49-F238E27FC236}">
                <a16:creationId xmlns:a16="http://schemas.microsoft.com/office/drawing/2014/main" id="{AA4A8FA1-CC46-7144-84B1-17C00BC259EB}"/>
              </a:ext>
            </a:extLst>
          </p:cNvPr>
          <p:cNvSpPr>
            <a:spLocks noGrp="1"/>
          </p:cNvSpPr>
          <p:nvPr userDrawn="1">
            <p:ph type="ftr" sz="quarter" idx="126"/>
          </p:nvPr>
        </p:nvSpPr>
        <p:spPr/>
        <p:txBody>
          <a:bodyPr/>
          <a:lstStyle/>
          <a:p>
            <a:endParaRPr lang="en-US" dirty="0"/>
          </a:p>
        </p:txBody>
      </p:sp>
      <p:sp>
        <p:nvSpPr>
          <p:cNvPr id="14" name="Slide Number Placeholder 13">
            <a:extLst>
              <a:ext uri="{FF2B5EF4-FFF2-40B4-BE49-F238E27FC236}">
                <a16:creationId xmlns:a16="http://schemas.microsoft.com/office/drawing/2014/main" id="{ACB2D2FD-3057-D74D-B44D-0EB64193CE1C}"/>
              </a:ext>
            </a:extLst>
          </p:cNvPr>
          <p:cNvSpPr>
            <a:spLocks noGrp="1"/>
          </p:cNvSpPr>
          <p:nvPr userDrawn="1">
            <p:ph type="sldNum" sz="quarter" idx="12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56" name="Group 55">
            <a:extLst>
              <a:ext uri="{FF2B5EF4-FFF2-40B4-BE49-F238E27FC236}">
                <a16:creationId xmlns:a16="http://schemas.microsoft.com/office/drawing/2014/main" id="{05E9C379-DDF1-7B44-89A9-61472AAB938F}"/>
              </a:ext>
            </a:extLst>
          </p:cNvPr>
          <p:cNvGrpSpPr/>
          <p:nvPr userDrawn="1"/>
        </p:nvGrpSpPr>
        <p:grpSpPr>
          <a:xfrm>
            <a:off x="12532243" y="-2"/>
            <a:ext cx="3965960" cy="9769405"/>
            <a:chOff x="9399182" y="-2"/>
            <a:chExt cx="2974470" cy="9769405"/>
          </a:xfrm>
        </p:grpSpPr>
        <p:sp>
          <p:nvSpPr>
            <p:cNvPr id="57" name="Rectangle 56">
              <a:extLst>
                <a:ext uri="{FF2B5EF4-FFF2-40B4-BE49-F238E27FC236}">
                  <a16:creationId xmlns:a16="http://schemas.microsoft.com/office/drawing/2014/main" id="{02AA4587-5464-694B-A0E3-F705C2D6C38B}"/>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59" name="Picture 58">
              <a:extLst>
                <a:ext uri="{FF2B5EF4-FFF2-40B4-BE49-F238E27FC236}">
                  <a16:creationId xmlns:a16="http://schemas.microsoft.com/office/drawing/2014/main" id="{184225E7-8754-CD4D-AE0E-53076B270764}"/>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1" name="Group 60">
              <a:extLst>
                <a:ext uri="{FF2B5EF4-FFF2-40B4-BE49-F238E27FC236}">
                  <a16:creationId xmlns:a16="http://schemas.microsoft.com/office/drawing/2014/main" id="{53ED5C7E-A3C9-E44F-9C13-86E78B48E65F}"/>
                </a:ext>
              </a:extLst>
            </p:cNvPr>
            <p:cNvGrpSpPr/>
            <p:nvPr userDrawn="1"/>
          </p:nvGrpSpPr>
          <p:grpSpPr>
            <a:xfrm>
              <a:off x="9541497" y="162442"/>
              <a:ext cx="2819400" cy="814510"/>
              <a:chOff x="-3644733" y="165205"/>
              <a:chExt cx="2819400" cy="814510"/>
            </a:xfrm>
          </p:grpSpPr>
          <p:sp>
            <p:nvSpPr>
              <p:cNvPr id="136" name="Rectangle 135">
                <a:extLst>
                  <a:ext uri="{FF2B5EF4-FFF2-40B4-BE49-F238E27FC236}">
                    <a16:creationId xmlns:a16="http://schemas.microsoft.com/office/drawing/2014/main" id="{ACE05B8D-FE1E-1145-90BB-9998F8CA2CAB}"/>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7" name="TextBox 136">
                <a:extLst>
                  <a:ext uri="{FF2B5EF4-FFF2-40B4-BE49-F238E27FC236}">
                    <a16:creationId xmlns:a16="http://schemas.microsoft.com/office/drawing/2014/main" id="{443BD4B2-7A49-7B4D-A180-98D5EB1AD43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8" name="Picture 137">
                <a:extLst>
                  <a:ext uri="{FF2B5EF4-FFF2-40B4-BE49-F238E27FC236}">
                    <a16:creationId xmlns:a16="http://schemas.microsoft.com/office/drawing/2014/main" id="{08065AFB-7BEE-0F47-BED7-2DE8C591FB2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3" name="Group 62">
              <a:extLst>
                <a:ext uri="{FF2B5EF4-FFF2-40B4-BE49-F238E27FC236}">
                  <a16:creationId xmlns:a16="http://schemas.microsoft.com/office/drawing/2014/main" id="{764EAB81-6824-4047-9BA3-6AFFE7AE03F3}"/>
                </a:ext>
              </a:extLst>
            </p:cNvPr>
            <p:cNvGrpSpPr/>
            <p:nvPr userDrawn="1"/>
          </p:nvGrpSpPr>
          <p:grpSpPr>
            <a:xfrm>
              <a:off x="9521833" y="3755578"/>
              <a:ext cx="2754815" cy="6013825"/>
              <a:chOff x="9521833" y="2566288"/>
              <a:chExt cx="2754815" cy="6013825"/>
            </a:xfrm>
          </p:grpSpPr>
          <p:sp>
            <p:nvSpPr>
              <p:cNvPr id="74" name="TextBox 73">
                <a:extLst>
                  <a:ext uri="{FF2B5EF4-FFF2-40B4-BE49-F238E27FC236}">
                    <a16:creationId xmlns:a16="http://schemas.microsoft.com/office/drawing/2014/main" id="{B89A63E2-40AE-6F46-A362-BFE20BF1B080}"/>
                  </a:ext>
                </a:extLst>
              </p:cNvPr>
              <p:cNvSpPr txBox="1"/>
              <p:nvPr userDrawn="1"/>
            </p:nvSpPr>
            <p:spPr>
              <a:xfrm>
                <a:off x="9558507" y="256628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75" name="Straight Connector 74">
                <a:extLst>
                  <a:ext uri="{FF2B5EF4-FFF2-40B4-BE49-F238E27FC236}">
                    <a16:creationId xmlns:a16="http://schemas.microsoft.com/office/drawing/2014/main" id="{1DD9B0EE-DBC0-FE43-992A-95582817972C}"/>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6" name="TextBox 75">
                <a:extLst>
                  <a:ext uri="{FF2B5EF4-FFF2-40B4-BE49-F238E27FC236}">
                    <a16:creationId xmlns:a16="http://schemas.microsoft.com/office/drawing/2014/main" id="{2099CD36-FA5E-D446-83AD-9BEB40BDDA39}"/>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7" name="Group 76">
                <a:extLst>
                  <a:ext uri="{FF2B5EF4-FFF2-40B4-BE49-F238E27FC236}">
                    <a16:creationId xmlns:a16="http://schemas.microsoft.com/office/drawing/2014/main" id="{506D11A7-2578-BA40-896C-CE07CC36B340}"/>
                  </a:ext>
                </a:extLst>
              </p:cNvPr>
              <p:cNvGrpSpPr/>
              <p:nvPr userDrawn="1"/>
            </p:nvGrpSpPr>
            <p:grpSpPr>
              <a:xfrm>
                <a:off x="9541497" y="7168798"/>
                <a:ext cx="2735151" cy="1411315"/>
                <a:chOff x="9296567" y="4910411"/>
                <a:chExt cx="2735151" cy="1411315"/>
              </a:xfrm>
            </p:grpSpPr>
            <p:sp>
              <p:nvSpPr>
                <p:cNvPr id="130" name="Rectangle 129">
                  <a:extLst>
                    <a:ext uri="{FF2B5EF4-FFF2-40B4-BE49-F238E27FC236}">
                      <a16:creationId xmlns:a16="http://schemas.microsoft.com/office/drawing/2014/main" id="{234AFB33-F664-1B42-AC5B-833976E236C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1" name="TextBox 130">
                  <a:extLst>
                    <a:ext uri="{FF2B5EF4-FFF2-40B4-BE49-F238E27FC236}">
                      <a16:creationId xmlns:a16="http://schemas.microsoft.com/office/drawing/2014/main" id="{DC3973FE-EA67-1446-90F5-00311B24E762}"/>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32" name="Graphic 131">
                  <a:extLst>
                    <a:ext uri="{FF2B5EF4-FFF2-40B4-BE49-F238E27FC236}">
                      <a16:creationId xmlns:a16="http://schemas.microsoft.com/office/drawing/2014/main" id="{9754AA2E-1658-B94E-BD64-D044C2E502B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3" name="TextBox 132">
                  <a:extLst>
                    <a:ext uri="{FF2B5EF4-FFF2-40B4-BE49-F238E27FC236}">
                      <a16:creationId xmlns:a16="http://schemas.microsoft.com/office/drawing/2014/main" id="{DFCE0AA6-50EE-9641-B168-FBEF90AE66A2}"/>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4" name="TextBox 133">
                  <a:extLst>
                    <a:ext uri="{FF2B5EF4-FFF2-40B4-BE49-F238E27FC236}">
                      <a16:creationId xmlns:a16="http://schemas.microsoft.com/office/drawing/2014/main" id="{A15B11FC-4E91-5D4F-8B9F-F43F6D56913E}"/>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35" name="TextBox 134">
                  <a:extLst>
                    <a:ext uri="{FF2B5EF4-FFF2-40B4-BE49-F238E27FC236}">
                      <a16:creationId xmlns:a16="http://schemas.microsoft.com/office/drawing/2014/main" id="{93BEE3EB-479B-2440-BD75-3378D4FCFF3D}"/>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8" name="Group 77">
                <a:extLst>
                  <a:ext uri="{FF2B5EF4-FFF2-40B4-BE49-F238E27FC236}">
                    <a16:creationId xmlns:a16="http://schemas.microsoft.com/office/drawing/2014/main" id="{434F34EB-E608-1447-8D3A-0EA4F1F48519}"/>
                  </a:ext>
                </a:extLst>
              </p:cNvPr>
              <p:cNvGrpSpPr/>
              <p:nvPr userDrawn="1"/>
            </p:nvGrpSpPr>
            <p:grpSpPr>
              <a:xfrm>
                <a:off x="9541497" y="5812142"/>
                <a:ext cx="2735151" cy="1280928"/>
                <a:chOff x="9286315" y="6976989"/>
                <a:chExt cx="2735151" cy="1280928"/>
              </a:xfrm>
            </p:grpSpPr>
            <p:sp>
              <p:nvSpPr>
                <p:cNvPr id="87" name="Rectangle 86">
                  <a:extLst>
                    <a:ext uri="{FF2B5EF4-FFF2-40B4-BE49-F238E27FC236}">
                      <a16:creationId xmlns:a16="http://schemas.microsoft.com/office/drawing/2014/main" id="{E32A3E2E-D1F0-9741-A8EE-7BC84B4DE0D3}"/>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8" name="TextBox 87">
                  <a:extLst>
                    <a:ext uri="{FF2B5EF4-FFF2-40B4-BE49-F238E27FC236}">
                      <a16:creationId xmlns:a16="http://schemas.microsoft.com/office/drawing/2014/main" id="{BDA4BD56-D03C-1548-978A-67CE2301B25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27" name="Graphic 126">
                  <a:extLst>
                    <a:ext uri="{FF2B5EF4-FFF2-40B4-BE49-F238E27FC236}">
                      <a16:creationId xmlns:a16="http://schemas.microsoft.com/office/drawing/2014/main" id="{02277E74-6CD2-4746-AB10-BAC27E952C6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28" name="TextBox 127">
                  <a:extLst>
                    <a:ext uri="{FF2B5EF4-FFF2-40B4-BE49-F238E27FC236}">
                      <a16:creationId xmlns:a16="http://schemas.microsoft.com/office/drawing/2014/main" id="{2E41B035-7E95-6047-BBDE-7C5B9457A0AD}"/>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29" name="Picture 128">
                  <a:extLst>
                    <a:ext uri="{FF2B5EF4-FFF2-40B4-BE49-F238E27FC236}">
                      <a16:creationId xmlns:a16="http://schemas.microsoft.com/office/drawing/2014/main" id="{7B58D3BB-E0DF-CE47-A88C-EBD63D7D6A4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9" name="Group 78">
                <a:extLst>
                  <a:ext uri="{FF2B5EF4-FFF2-40B4-BE49-F238E27FC236}">
                    <a16:creationId xmlns:a16="http://schemas.microsoft.com/office/drawing/2014/main" id="{C8A25EA3-4BB5-0948-9768-F661F9D2B441}"/>
                  </a:ext>
                </a:extLst>
              </p:cNvPr>
              <p:cNvGrpSpPr/>
              <p:nvPr userDrawn="1"/>
            </p:nvGrpSpPr>
            <p:grpSpPr>
              <a:xfrm>
                <a:off x="9521833" y="2891408"/>
                <a:ext cx="2617883" cy="651460"/>
                <a:chOff x="12352022" y="513115"/>
                <a:chExt cx="2617883" cy="651460"/>
              </a:xfrm>
            </p:grpSpPr>
            <p:sp>
              <p:nvSpPr>
                <p:cNvPr id="84" name="TextBox 83">
                  <a:extLst>
                    <a:ext uri="{FF2B5EF4-FFF2-40B4-BE49-F238E27FC236}">
                      <a16:creationId xmlns:a16="http://schemas.microsoft.com/office/drawing/2014/main" id="{812E9279-E3E5-A242-A2DB-550E662BE6CB}"/>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5" name="TextBox 84">
                  <a:extLst>
                    <a:ext uri="{FF2B5EF4-FFF2-40B4-BE49-F238E27FC236}">
                      <a16:creationId xmlns:a16="http://schemas.microsoft.com/office/drawing/2014/main" id="{916869B2-51AC-8042-BAC1-566B99834406}"/>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6" name="TextBox 85">
                  <a:extLst>
                    <a:ext uri="{FF2B5EF4-FFF2-40B4-BE49-F238E27FC236}">
                      <a16:creationId xmlns:a16="http://schemas.microsoft.com/office/drawing/2014/main" id="{6A901D3D-F415-AC4E-A011-9D50733FCE8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80" name="TextBox 79">
                <a:extLst>
                  <a:ext uri="{FF2B5EF4-FFF2-40B4-BE49-F238E27FC236}">
                    <a16:creationId xmlns:a16="http://schemas.microsoft.com/office/drawing/2014/main" id="{EA1A97BD-9E28-EB42-8C33-224FE0567041}"/>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81" name="TextBox 80">
                <a:extLst>
                  <a:ext uri="{FF2B5EF4-FFF2-40B4-BE49-F238E27FC236}">
                    <a16:creationId xmlns:a16="http://schemas.microsoft.com/office/drawing/2014/main" id="{FCE719BC-ADE3-DB4E-AE64-4310A0F56B22}"/>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82" name="TextBox 81">
                <a:extLst>
                  <a:ext uri="{FF2B5EF4-FFF2-40B4-BE49-F238E27FC236}">
                    <a16:creationId xmlns:a16="http://schemas.microsoft.com/office/drawing/2014/main" id="{CF2AA2C7-9C18-8E48-8CD9-713923D584C0}"/>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83" name="TextBox 82">
                <a:extLst>
                  <a:ext uri="{FF2B5EF4-FFF2-40B4-BE49-F238E27FC236}">
                    <a16:creationId xmlns:a16="http://schemas.microsoft.com/office/drawing/2014/main" id="{073AAC87-9D0B-A942-AEAB-5498BE1CDE42}"/>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64" name="TextBox 63">
              <a:extLst>
                <a:ext uri="{FF2B5EF4-FFF2-40B4-BE49-F238E27FC236}">
                  <a16:creationId xmlns:a16="http://schemas.microsoft.com/office/drawing/2014/main" id="{2718DEAF-7355-D24A-A55A-6E5AFED9A98E}"/>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65" name="Straight Connector 64">
              <a:extLst>
                <a:ext uri="{FF2B5EF4-FFF2-40B4-BE49-F238E27FC236}">
                  <a16:creationId xmlns:a16="http://schemas.microsoft.com/office/drawing/2014/main" id="{908EADCA-2DBF-C447-BEEC-89115265ADFA}"/>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6" name="Group 65">
              <a:extLst>
                <a:ext uri="{FF2B5EF4-FFF2-40B4-BE49-F238E27FC236}">
                  <a16:creationId xmlns:a16="http://schemas.microsoft.com/office/drawing/2014/main" id="{90D81BAF-EA14-5342-B457-9F03F6415490}"/>
                </a:ext>
              </a:extLst>
            </p:cNvPr>
            <p:cNvGrpSpPr/>
            <p:nvPr userDrawn="1"/>
          </p:nvGrpSpPr>
          <p:grpSpPr>
            <a:xfrm>
              <a:off x="9554253" y="2414886"/>
              <a:ext cx="2819399" cy="1181890"/>
              <a:chOff x="9541498" y="3352649"/>
              <a:chExt cx="2819399" cy="1181890"/>
            </a:xfrm>
          </p:grpSpPr>
          <p:grpSp>
            <p:nvGrpSpPr>
              <p:cNvPr id="67" name="Group 66">
                <a:extLst>
                  <a:ext uri="{FF2B5EF4-FFF2-40B4-BE49-F238E27FC236}">
                    <a16:creationId xmlns:a16="http://schemas.microsoft.com/office/drawing/2014/main" id="{787A14E2-9B41-3441-B537-57155291B0D0}"/>
                  </a:ext>
                </a:extLst>
              </p:cNvPr>
              <p:cNvGrpSpPr/>
              <p:nvPr userDrawn="1"/>
            </p:nvGrpSpPr>
            <p:grpSpPr>
              <a:xfrm>
                <a:off x="9541498" y="3352649"/>
                <a:ext cx="2735150" cy="1181890"/>
                <a:chOff x="9541498" y="3751132"/>
                <a:chExt cx="2735150" cy="1181890"/>
              </a:xfrm>
            </p:grpSpPr>
            <p:grpSp>
              <p:nvGrpSpPr>
                <p:cNvPr id="69" name="Group 68">
                  <a:extLst>
                    <a:ext uri="{FF2B5EF4-FFF2-40B4-BE49-F238E27FC236}">
                      <a16:creationId xmlns:a16="http://schemas.microsoft.com/office/drawing/2014/main" id="{D9193720-38CB-8C45-8CB5-9F66BE5437DF}"/>
                    </a:ext>
                  </a:extLst>
                </p:cNvPr>
                <p:cNvGrpSpPr/>
                <p:nvPr userDrawn="1"/>
              </p:nvGrpSpPr>
              <p:grpSpPr>
                <a:xfrm>
                  <a:off x="9541498" y="3751132"/>
                  <a:ext cx="2735150" cy="1181890"/>
                  <a:chOff x="9296568" y="4910411"/>
                  <a:chExt cx="2735150" cy="1181890"/>
                </a:xfrm>
              </p:grpSpPr>
              <p:sp>
                <p:nvSpPr>
                  <p:cNvPr id="71" name="Rectangle 70">
                    <a:extLst>
                      <a:ext uri="{FF2B5EF4-FFF2-40B4-BE49-F238E27FC236}">
                        <a16:creationId xmlns:a16="http://schemas.microsoft.com/office/drawing/2014/main" id="{9661E725-6578-9A4A-B314-D6021CB4CFBF}"/>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2" name="TextBox 71">
                    <a:extLst>
                      <a:ext uri="{FF2B5EF4-FFF2-40B4-BE49-F238E27FC236}">
                        <a16:creationId xmlns:a16="http://schemas.microsoft.com/office/drawing/2014/main" id="{6A82AECB-20FC-D04F-9436-9AA74FD66C5B}"/>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73" name="TextBox 72">
                    <a:extLst>
                      <a:ext uri="{FF2B5EF4-FFF2-40B4-BE49-F238E27FC236}">
                        <a16:creationId xmlns:a16="http://schemas.microsoft.com/office/drawing/2014/main" id="{76348B4A-2ADC-7F46-BABF-CA32F5E68A17}"/>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70" name="Graphic 69">
                  <a:extLst>
                    <a:ext uri="{FF2B5EF4-FFF2-40B4-BE49-F238E27FC236}">
                      <a16:creationId xmlns:a16="http://schemas.microsoft.com/office/drawing/2014/main" id="{C86CE353-C5DB-0145-AA86-27F6522447F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68" name="Picture 67">
                <a:extLst>
                  <a:ext uri="{FF2B5EF4-FFF2-40B4-BE49-F238E27FC236}">
                    <a16:creationId xmlns:a16="http://schemas.microsoft.com/office/drawing/2014/main" id="{9DB6EC41-E4FA-B54E-A44A-FE32BE140AB8}"/>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2438168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Agenda (Photo)">
    <p:bg>
      <p:bgPr>
        <a:solidFill>
          <a:schemeClr val="bg1"/>
        </a:solidFill>
        <a:effectLst/>
      </p:bgPr>
    </p:bg>
    <p:spTree>
      <p:nvGrpSpPr>
        <p:cNvPr id="1" name=""/>
        <p:cNvGrpSpPr/>
        <p:nvPr/>
      </p:nvGrpSpPr>
      <p:grpSpPr>
        <a:xfrm>
          <a:off x="0" y="0"/>
          <a:ext cx="0" cy="0"/>
          <a:chOff x="0" y="0"/>
          <a:chExt cx="0" cy="0"/>
        </a:xfrm>
      </p:grpSpPr>
      <p:sp>
        <p:nvSpPr>
          <p:cNvPr id="57" name="Picture Placeholder 66">
            <a:extLst>
              <a:ext uri="{FF2B5EF4-FFF2-40B4-BE49-F238E27FC236}">
                <a16:creationId xmlns:a16="http://schemas.microsoft.com/office/drawing/2014/main" id="{4E7C7583-C534-3849-9FA3-D3D259AA4812}"/>
              </a:ext>
            </a:extLst>
          </p:cNvPr>
          <p:cNvSpPr>
            <a:spLocks noGrp="1"/>
          </p:cNvSpPr>
          <p:nvPr>
            <p:ph type="pic" sz="quarter" idx="22" hasCustomPrompt="1"/>
          </p:nvPr>
        </p:nvSpPr>
        <p:spPr>
          <a:xfrm>
            <a:off x="1" y="1116476"/>
            <a:ext cx="12192001" cy="5745162"/>
          </a:xfrm>
          <a:custGeom>
            <a:avLst/>
            <a:gdLst>
              <a:gd name="connsiteX0" fmla="*/ 8950030 w 9144001"/>
              <a:gd name="connsiteY0" fmla="*/ 0 h 5745162"/>
              <a:gd name="connsiteX1" fmla="*/ 9144001 w 9144001"/>
              <a:gd name="connsiteY1" fmla="*/ 0 h 5745162"/>
              <a:gd name="connsiteX2" fmla="*/ 9144001 w 9144001"/>
              <a:gd name="connsiteY2" fmla="*/ 5745161 h 5745162"/>
              <a:gd name="connsiteX3" fmla="*/ 9144001 w 9144001"/>
              <a:gd name="connsiteY3" fmla="*/ 5745162 h 5745162"/>
              <a:gd name="connsiteX4" fmla="*/ 0 w 9144001"/>
              <a:gd name="connsiteY4" fmla="*/ 5745162 h 5745162"/>
              <a:gd name="connsiteX5" fmla="*/ 0 w 9144001"/>
              <a:gd name="connsiteY5" fmla="*/ 32567 h 5745162"/>
              <a:gd name="connsiteX6" fmla="*/ 8313 w 9144001"/>
              <a:gd name="connsiteY6" fmla="*/ 32567 h 5745162"/>
              <a:gd name="connsiteX7" fmla="*/ 8313 w 9144001"/>
              <a:gd name="connsiteY7" fmla="*/ 1 h 5745162"/>
              <a:gd name="connsiteX8" fmla="*/ 8950030 w 9144001"/>
              <a:gd name="connsiteY8" fmla="*/ 1 h 57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144001" h="5745162">
                <a:moveTo>
                  <a:pt x="8950030" y="0"/>
                </a:moveTo>
                <a:lnTo>
                  <a:pt x="9144001" y="0"/>
                </a:lnTo>
                <a:lnTo>
                  <a:pt x="9144001" y="5745161"/>
                </a:lnTo>
                <a:lnTo>
                  <a:pt x="9144001" y="5745162"/>
                </a:lnTo>
                <a:lnTo>
                  <a:pt x="0" y="5745162"/>
                </a:lnTo>
                <a:lnTo>
                  <a:pt x="0" y="32567"/>
                </a:lnTo>
                <a:lnTo>
                  <a:pt x="8313" y="32567"/>
                </a:lnTo>
                <a:lnTo>
                  <a:pt x="8313" y="1"/>
                </a:lnTo>
                <a:lnTo>
                  <a:pt x="8950030" y="1"/>
                </a:lnTo>
                <a:close/>
              </a:path>
            </a:pathLst>
          </a:custGeom>
          <a:solidFill>
            <a:schemeClr val="accent5">
              <a:lumMod val="60000"/>
              <a:lumOff val="40000"/>
            </a:schemeClr>
          </a:solidFill>
          <a:ln>
            <a:noFill/>
          </a:ln>
        </p:spPr>
        <p:txBody>
          <a:bodyPr wrap="square" rIns="432000" anchor="ctr">
            <a:noAutofit/>
          </a:bodyPr>
          <a:lstStyle>
            <a:lvl1pPr marL="0" indent="0" algn="r">
              <a:spcBef>
                <a:spcPts val="0"/>
              </a:spcBef>
              <a:spcAft>
                <a:spcPts val="0"/>
              </a:spcAft>
              <a:buNone/>
              <a:defRPr b="0">
                <a:solidFill>
                  <a:schemeClr val="bg2"/>
                </a:solidFill>
              </a:defRPr>
            </a:lvl1pPr>
          </a:lstStyle>
          <a:p>
            <a:r>
              <a:rPr lang="en-US"/>
              <a:t>Drag image onto slide to add photo</a:t>
            </a:r>
          </a:p>
        </p:txBody>
      </p:sp>
      <p:sp>
        <p:nvSpPr>
          <p:cNvPr id="60" name="Subtitle 46">
            <a:extLst>
              <a:ext uri="{FF2B5EF4-FFF2-40B4-BE49-F238E27FC236}">
                <a16:creationId xmlns:a16="http://schemas.microsoft.com/office/drawing/2014/main" id="{748CAF12-DB43-1349-A9FA-57D9EA8EA177}"/>
              </a:ext>
            </a:extLst>
          </p:cNvPr>
          <p:cNvSpPr>
            <a:spLocks noGrp="1"/>
          </p:cNvSpPr>
          <p:nvPr>
            <p:ph type="subTitle" sz="quarter" idx="100" hasCustomPrompt="1"/>
          </p:nvPr>
        </p:nvSpPr>
        <p:spPr>
          <a:xfrm>
            <a:off x="4674" y="1112838"/>
            <a:ext cx="8920752" cy="5745162"/>
          </a:xfrm>
          <a:custGeom>
            <a:avLst/>
            <a:gdLst>
              <a:gd name="connsiteX0" fmla="*/ 0 w 8920752"/>
              <a:gd name="connsiteY0" fmla="*/ 0 h 5745162"/>
              <a:gd name="connsiteX1" fmla="*/ 2014461 w 8920752"/>
              <a:gd name="connsiteY1" fmla="*/ 0 h 5745162"/>
              <a:gd name="connsiteX2" fmla="*/ 2837033 w 8920752"/>
              <a:gd name="connsiteY2" fmla="*/ 0 h 5745162"/>
              <a:gd name="connsiteX3" fmla="*/ 6188473 w 8920752"/>
              <a:gd name="connsiteY3" fmla="*/ 0 h 5745162"/>
              <a:gd name="connsiteX4" fmla="*/ 8920752 w 8920752"/>
              <a:gd name="connsiteY4" fmla="*/ 5745162 h 5745162"/>
              <a:gd name="connsiteX5" fmla="*/ 2969545 w 8920752"/>
              <a:gd name="connsiteY5" fmla="*/ 5745162 h 5745162"/>
              <a:gd name="connsiteX6" fmla="*/ 2837033 w 8920752"/>
              <a:gd name="connsiteY6" fmla="*/ 5745162 h 5745162"/>
              <a:gd name="connsiteX7" fmla="*/ 2014461 w 8920752"/>
              <a:gd name="connsiteY7" fmla="*/ 5745162 h 5745162"/>
              <a:gd name="connsiteX8" fmla="*/ 1648493 w 8920752"/>
              <a:gd name="connsiteY8" fmla="*/ 5745162 h 5745162"/>
              <a:gd name="connsiteX9" fmla="*/ 0 w 8920752"/>
              <a:gd name="connsiteY9" fmla="*/ 5745162 h 57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920752" h="5745162">
                <a:moveTo>
                  <a:pt x="0" y="0"/>
                </a:moveTo>
                <a:lnTo>
                  <a:pt x="2014461" y="0"/>
                </a:lnTo>
                <a:lnTo>
                  <a:pt x="2837033" y="0"/>
                </a:lnTo>
                <a:lnTo>
                  <a:pt x="6188473" y="0"/>
                </a:lnTo>
                <a:lnTo>
                  <a:pt x="8920752" y="5745162"/>
                </a:lnTo>
                <a:lnTo>
                  <a:pt x="2969545" y="5745162"/>
                </a:lnTo>
                <a:lnTo>
                  <a:pt x="2837033" y="5745162"/>
                </a:lnTo>
                <a:lnTo>
                  <a:pt x="2014461" y="5745162"/>
                </a:lnTo>
                <a:lnTo>
                  <a:pt x="1648493" y="5745162"/>
                </a:lnTo>
                <a:lnTo>
                  <a:pt x="0" y="5745162"/>
                </a:lnTo>
                <a:close/>
              </a:path>
            </a:pathLst>
          </a:custGeom>
          <a:gradFill>
            <a:gsLst>
              <a:gs pos="0">
                <a:schemeClr val="accent1">
                  <a:alpha val="95000"/>
                </a:schemeClr>
              </a:gs>
              <a:gs pos="97000">
                <a:schemeClr val="accent1">
                  <a:alpha val="80000"/>
                </a:schemeClr>
              </a:gs>
            </a:gsLst>
            <a:lin ang="5400000" scaled="0"/>
          </a:gradFill>
          <a:ln>
            <a:solidFill>
              <a:schemeClr val="accent1">
                <a:alpha val="0"/>
              </a:schemeClr>
            </a:solidFill>
          </a:ln>
        </p:spPr>
        <p:txBody>
          <a:bodyPr wrap="square" lIns="432000" bIns="522000" anchor="b">
            <a:noAutofit/>
          </a:bodyPr>
          <a:lstStyle>
            <a:lvl1pPr marL="0" indent="0">
              <a:spcBef>
                <a:spcPts val="200"/>
              </a:spcBef>
              <a:spcAft>
                <a:spcPts val="0"/>
              </a:spcAft>
              <a:buSzPct val="75000"/>
              <a:buFont typeface="+mj-lt"/>
              <a:buNone/>
              <a:tabLst/>
              <a:defRPr sz="1100">
                <a:solidFill>
                  <a:schemeClr val="bg1">
                    <a:alpha val="0"/>
                  </a:schemeClr>
                </a:solidFill>
              </a:defRPr>
            </a:lvl1pPr>
            <a:lvl2pPr marL="9525" indent="0">
              <a:spcBef>
                <a:spcPts val="400"/>
              </a:spcBef>
              <a:spcAft>
                <a:spcPts val="100"/>
              </a:spcAft>
              <a:buNone/>
              <a:tabLst/>
              <a:defRPr sz="1100" i="1">
                <a:solidFill>
                  <a:schemeClr val="bg1">
                    <a:alpha val="80000"/>
                  </a:schemeClr>
                </a:solidFill>
              </a:defRPr>
            </a:lvl2pPr>
            <a:lvl3pPr>
              <a:spcBef>
                <a:spcPts val="100"/>
              </a:spcBef>
              <a:spcAft>
                <a:spcPts val="100"/>
              </a:spcAft>
              <a:defRPr sz="1100">
                <a:solidFill>
                  <a:schemeClr val="accent6"/>
                </a:solidFill>
              </a:defRPr>
            </a:lvl3pPr>
            <a:lvl4pPr>
              <a:spcBef>
                <a:spcPts val="100"/>
              </a:spcBef>
              <a:spcAft>
                <a:spcPts val="100"/>
              </a:spcAft>
              <a:defRPr sz="1100">
                <a:solidFill>
                  <a:schemeClr val="accent6"/>
                </a:solidFill>
              </a:defRPr>
            </a:lvl4pPr>
            <a:lvl5pPr>
              <a:spcBef>
                <a:spcPts val="100"/>
              </a:spcBef>
              <a:spcAft>
                <a:spcPts val="100"/>
              </a:spcAft>
              <a:defRPr sz="1100">
                <a:solidFill>
                  <a:schemeClr val="accent6"/>
                </a:solidFill>
              </a:defRPr>
            </a:lvl5pPr>
          </a:lstStyle>
          <a:p>
            <a:pPr lvl="0"/>
            <a:r>
              <a:rPr lang="en-US"/>
              <a:t> </a:t>
            </a:r>
          </a:p>
        </p:txBody>
      </p:sp>
      <p:grpSp>
        <p:nvGrpSpPr>
          <p:cNvPr id="41" name="Group 40">
            <a:extLst>
              <a:ext uri="{FF2B5EF4-FFF2-40B4-BE49-F238E27FC236}">
                <a16:creationId xmlns:a16="http://schemas.microsoft.com/office/drawing/2014/main" id="{270AAB3A-1F8E-7547-BC5B-D622E7ABEECC}"/>
              </a:ext>
            </a:extLst>
          </p:cNvPr>
          <p:cNvGrpSpPr/>
          <p:nvPr userDrawn="1"/>
        </p:nvGrpSpPr>
        <p:grpSpPr>
          <a:xfrm>
            <a:off x="12532243" y="0"/>
            <a:ext cx="2877090" cy="9929814"/>
            <a:chOff x="9399182" y="0"/>
            <a:chExt cx="2874210" cy="9929814"/>
          </a:xfrm>
        </p:grpSpPr>
        <p:sp>
          <p:nvSpPr>
            <p:cNvPr id="20" name="Rectangle 19">
              <a:extLst>
                <a:ext uri="{FF2B5EF4-FFF2-40B4-BE49-F238E27FC236}">
                  <a16:creationId xmlns:a16="http://schemas.microsoft.com/office/drawing/2014/main" id="{853DAC75-2764-F94B-801B-7E41553AA7A9}"/>
                </a:ext>
              </a:extLst>
            </p:cNvPr>
            <p:cNvSpPr/>
            <p:nvPr userDrawn="1"/>
          </p:nvSpPr>
          <p:spPr>
            <a:xfrm>
              <a:off x="9399182" y="0"/>
              <a:ext cx="2798651" cy="974407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1" name="TextBox 20">
              <a:extLst>
                <a:ext uri="{FF2B5EF4-FFF2-40B4-BE49-F238E27FC236}">
                  <a16:creationId xmlns:a16="http://schemas.microsoft.com/office/drawing/2014/main" id="{666BA62E-8407-214E-9983-5B95C260B124}"/>
                </a:ext>
              </a:extLst>
            </p:cNvPr>
            <p:cNvSpPr txBox="1"/>
            <p:nvPr userDrawn="1"/>
          </p:nvSpPr>
          <p:spPr>
            <a:xfrm>
              <a:off x="9558507" y="150290"/>
              <a:ext cx="140062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USE THE AGENDA</a:t>
              </a:r>
            </a:p>
          </p:txBody>
        </p:sp>
        <p:cxnSp>
          <p:nvCxnSpPr>
            <p:cNvPr id="22" name="Straight Connector 21">
              <a:extLst>
                <a:ext uri="{FF2B5EF4-FFF2-40B4-BE49-F238E27FC236}">
                  <a16:creationId xmlns:a16="http://schemas.microsoft.com/office/drawing/2014/main" id="{3EC19388-C76B-7448-9EDE-BDA3BAB9D416}"/>
                </a:ext>
              </a:extLst>
            </p:cNvPr>
            <p:cNvCxnSpPr>
              <a:cxnSpLocks/>
            </p:cNvCxnSpPr>
            <p:nvPr userDrawn="1"/>
          </p:nvCxnSpPr>
          <p:spPr>
            <a:xfrm>
              <a:off x="9558507" y="35290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7D14489D-EBF9-F043-8D0D-58D847FBFD92}"/>
                </a:ext>
              </a:extLst>
            </p:cNvPr>
            <p:cNvSpPr/>
            <p:nvPr/>
          </p:nvSpPr>
          <p:spPr>
            <a:xfrm>
              <a:off x="9686427" y="1588636"/>
              <a:ext cx="2453290" cy="406238"/>
            </a:xfrm>
            <a:prstGeom prst="rect">
              <a:avLst/>
            </a:prstGeom>
            <a:ln w="19050">
              <a:solidFill>
                <a:schemeClr val="bg1">
                  <a:lumMod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200"/>
            </a:p>
          </p:txBody>
        </p:sp>
        <p:grpSp>
          <p:nvGrpSpPr>
            <p:cNvPr id="24" name="Group 23">
              <a:extLst>
                <a:ext uri="{FF2B5EF4-FFF2-40B4-BE49-F238E27FC236}">
                  <a16:creationId xmlns:a16="http://schemas.microsoft.com/office/drawing/2014/main" id="{669A9012-D270-2448-A4FD-E180D5741CB9}"/>
                </a:ext>
              </a:extLst>
            </p:cNvPr>
            <p:cNvGrpSpPr/>
            <p:nvPr/>
          </p:nvGrpSpPr>
          <p:grpSpPr>
            <a:xfrm>
              <a:off x="9686426" y="2097613"/>
              <a:ext cx="2284506" cy="249299"/>
              <a:chOff x="9431244" y="2862535"/>
              <a:chExt cx="2284506" cy="249299"/>
            </a:xfrm>
          </p:grpSpPr>
          <p:sp>
            <p:nvSpPr>
              <p:cNvPr id="40" name="TextBox 39">
                <a:extLst>
                  <a:ext uri="{FF2B5EF4-FFF2-40B4-BE49-F238E27FC236}">
                    <a16:creationId xmlns:a16="http://schemas.microsoft.com/office/drawing/2014/main" id="{5AA31A6C-B76D-D84E-926A-385AA59C712C}"/>
                  </a:ext>
                </a:extLst>
              </p:cNvPr>
              <p:cNvSpPr txBox="1"/>
              <p:nvPr/>
            </p:nvSpPr>
            <p:spPr>
              <a:xfrm>
                <a:off x="9431244" y="2862535"/>
                <a:ext cx="2284506"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a:t>Click the Format Painter button (           ) to copy the style.</a:t>
                </a:r>
              </a:p>
            </p:txBody>
          </p:sp>
          <p:pic>
            <p:nvPicPr>
              <p:cNvPr id="39" name="Picture 38">
                <a:extLst>
                  <a:ext uri="{FF2B5EF4-FFF2-40B4-BE49-F238E27FC236}">
                    <a16:creationId xmlns:a16="http://schemas.microsoft.com/office/drawing/2014/main" id="{1CC21A02-B792-AF47-96A4-A59105B11793}"/>
                  </a:ext>
                </a:extLst>
              </p:cNvPr>
              <p:cNvPicPr>
                <a:picLocks noChangeAspect="1"/>
              </p:cNvPicPr>
              <p:nvPr/>
            </p:nvPicPr>
            <p:blipFill>
              <a:blip r:embed="rId2"/>
              <a:stretch>
                <a:fillRect/>
              </a:stretch>
            </p:blipFill>
            <p:spPr>
              <a:xfrm>
                <a:off x="11216812" y="2866153"/>
                <a:ext cx="340854" cy="113618"/>
              </a:xfrm>
              <a:prstGeom prst="rect">
                <a:avLst/>
              </a:prstGeom>
            </p:spPr>
          </p:pic>
        </p:grpSp>
        <p:sp>
          <p:nvSpPr>
            <p:cNvPr id="25" name="TextBox 24">
              <a:extLst>
                <a:ext uri="{FF2B5EF4-FFF2-40B4-BE49-F238E27FC236}">
                  <a16:creationId xmlns:a16="http://schemas.microsoft.com/office/drawing/2014/main" id="{594CFB75-D1BB-CC4A-B543-DF9749A36F98}"/>
                </a:ext>
              </a:extLst>
            </p:cNvPr>
            <p:cNvSpPr txBox="1"/>
            <p:nvPr/>
          </p:nvSpPr>
          <p:spPr>
            <a:xfrm>
              <a:off x="9686426" y="2398746"/>
              <a:ext cx="2294082"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a:t>Click anywhere on the current agenda item (on the text works here) to apply the highlight style.</a:t>
              </a:r>
            </a:p>
          </p:txBody>
        </p:sp>
        <p:sp>
          <p:nvSpPr>
            <p:cNvPr id="26" name="TextBox 25">
              <a:extLst>
                <a:ext uri="{FF2B5EF4-FFF2-40B4-BE49-F238E27FC236}">
                  <a16:creationId xmlns:a16="http://schemas.microsoft.com/office/drawing/2014/main" id="{23193EDF-0188-094A-8A3E-60EB6775D122}"/>
                </a:ext>
              </a:extLst>
            </p:cNvPr>
            <p:cNvSpPr txBox="1">
              <a:spLocks noChangeAspect="1"/>
            </p:cNvSpPr>
            <p:nvPr/>
          </p:nvSpPr>
          <p:spPr>
            <a:xfrm>
              <a:off x="9521833"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27" name="TextBox 26">
              <a:extLst>
                <a:ext uri="{FF2B5EF4-FFF2-40B4-BE49-F238E27FC236}">
                  <a16:creationId xmlns:a16="http://schemas.microsoft.com/office/drawing/2014/main" id="{AC0A9960-B8B4-3D4C-981C-922D7EC98DE6}"/>
                </a:ext>
              </a:extLst>
            </p:cNvPr>
            <p:cNvSpPr txBox="1">
              <a:spLocks noChangeAspect="1"/>
            </p:cNvSpPr>
            <p:nvPr/>
          </p:nvSpPr>
          <p:spPr>
            <a:xfrm>
              <a:off x="9521833" y="86224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28" name="TextBox 27">
              <a:extLst>
                <a:ext uri="{FF2B5EF4-FFF2-40B4-BE49-F238E27FC236}">
                  <a16:creationId xmlns:a16="http://schemas.microsoft.com/office/drawing/2014/main" id="{E879CA51-8AA7-5B46-8B51-CCC7D4DEF501}"/>
                </a:ext>
              </a:extLst>
            </p:cNvPr>
            <p:cNvSpPr txBox="1"/>
            <p:nvPr/>
          </p:nvSpPr>
          <p:spPr>
            <a:xfrm>
              <a:off x="9811647" y="1339804"/>
              <a:ext cx="2234098"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b="1">
                  <a:solidFill>
                    <a:schemeClr val="bg1">
                      <a:lumMod val="85000"/>
                    </a:schemeClr>
                  </a:solidFill>
                </a:rPr>
                <a:t>Click the element border to select the shape</a:t>
              </a:r>
              <a:r>
                <a:rPr lang="en-US" sz="700">
                  <a:solidFill>
                    <a:schemeClr val="bg1">
                      <a:lumMod val="85000"/>
                    </a:schemeClr>
                  </a:solidFill>
                </a:rPr>
                <a:t>—it won’t work correctly if you have your cursor in the text.</a:t>
              </a:r>
            </a:p>
          </p:txBody>
        </p:sp>
        <p:sp>
          <p:nvSpPr>
            <p:cNvPr id="29" name="TextBox 28">
              <a:extLst>
                <a:ext uri="{FF2B5EF4-FFF2-40B4-BE49-F238E27FC236}">
                  <a16:creationId xmlns:a16="http://schemas.microsoft.com/office/drawing/2014/main" id="{2F0D17E0-6EFC-8B4C-BB2F-25990B9D14AE}"/>
                </a:ext>
              </a:extLst>
            </p:cNvPr>
            <p:cNvSpPr txBox="1"/>
            <p:nvPr userDrawn="1"/>
          </p:nvSpPr>
          <p:spPr>
            <a:xfrm>
              <a:off x="9686426" y="513115"/>
              <a:ext cx="2327834" cy="814582"/>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Enter agenda items as needed.</a:t>
              </a:r>
            </a:p>
            <a:p>
              <a:pPr lvl="0"/>
              <a:r>
                <a:rPr lang="en-US" sz="1050"/>
                <a:t>Apply the highlight marker to the current agenda item.</a:t>
              </a:r>
            </a:p>
            <a:p>
              <a:pPr lvl="1"/>
              <a:r>
                <a:rPr lang="en-US" sz="900"/>
                <a:t>Select the element below:</a:t>
              </a:r>
            </a:p>
          </p:txBody>
        </p:sp>
        <p:grpSp>
          <p:nvGrpSpPr>
            <p:cNvPr id="30" name="Group 29">
              <a:extLst>
                <a:ext uri="{FF2B5EF4-FFF2-40B4-BE49-F238E27FC236}">
                  <a16:creationId xmlns:a16="http://schemas.microsoft.com/office/drawing/2014/main" id="{1B35E7F5-A8FC-E341-928F-8F1C42C01FE4}"/>
                </a:ext>
              </a:extLst>
            </p:cNvPr>
            <p:cNvGrpSpPr/>
            <p:nvPr/>
          </p:nvGrpSpPr>
          <p:grpSpPr>
            <a:xfrm>
              <a:off x="9521833" y="2859865"/>
              <a:ext cx="2545476" cy="898708"/>
              <a:chOff x="9266651" y="2105587"/>
              <a:chExt cx="2545476" cy="898708"/>
            </a:xfrm>
          </p:grpSpPr>
          <p:sp>
            <p:nvSpPr>
              <p:cNvPr id="36" name="TextBox 35">
                <a:extLst>
                  <a:ext uri="{FF2B5EF4-FFF2-40B4-BE49-F238E27FC236}">
                    <a16:creationId xmlns:a16="http://schemas.microsoft.com/office/drawing/2014/main" id="{CC0F517F-CFE4-1D43-9DEA-FE4CA6FDDFEC}"/>
                  </a:ext>
                </a:extLst>
              </p:cNvPr>
              <p:cNvSpPr txBox="1">
                <a:spLocks noChangeAspect="1"/>
              </p:cNvSpPr>
              <p:nvPr/>
            </p:nvSpPr>
            <p:spPr>
              <a:xfrm>
                <a:off x="9266651" y="21244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3</a:t>
                </a:r>
              </a:p>
            </p:txBody>
          </p:sp>
          <p:sp>
            <p:nvSpPr>
              <p:cNvPr id="37" name="TextBox 36">
                <a:extLst>
                  <a:ext uri="{FF2B5EF4-FFF2-40B4-BE49-F238E27FC236}">
                    <a16:creationId xmlns:a16="http://schemas.microsoft.com/office/drawing/2014/main" id="{0A403294-57CC-B74C-A9E2-F6DA8B35535D}"/>
                  </a:ext>
                </a:extLst>
              </p:cNvPr>
              <p:cNvSpPr txBox="1"/>
              <p:nvPr/>
            </p:nvSpPr>
            <p:spPr>
              <a:xfrm>
                <a:off x="9431244" y="2105587"/>
                <a:ext cx="2380883" cy="898708"/>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Duplicate the slide to create the</a:t>
                </a:r>
                <a:br>
                  <a:rPr lang="en-US" sz="1050"/>
                </a:br>
                <a:r>
                  <a:rPr lang="en-US" sz="1050"/>
                  <a:t>other section dividers.</a:t>
                </a:r>
              </a:p>
              <a:p>
                <a:pPr lvl="1"/>
                <a:r>
                  <a:rPr lang="en-US" sz="900"/>
                  <a:t>Use Format Painter to copy the normal style onto the previous highlighted item.</a:t>
                </a:r>
              </a:p>
              <a:p>
                <a:pPr lvl="1"/>
                <a:r>
                  <a:rPr lang="en-US" sz="900"/>
                  <a:t>Then repeat step 2 to highlight the new current agenda item.</a:t>
                </a:r>
              </a:p>
            </p:txBody>
          </p:sp>
        </p:grpSp>
        <p:grpSp>
          <p:nvGrpSpPr>
            <p:cNvPr id="79" name="Group 78">
              <a:extLst>
                <a:ext uri="{FF2B5EF4-FFF2-40B4-BE49-F238E27FC236}">
                  <a16:creationId xmlns:a16="http://schemas.microsoft.com/office/drawing/2014/main" id="{1F7C72B2-FE96-1A47-B6A2-F9EF2CE88FD7}"/>
                </a:ext>
              </a:extLst>
            </p:cNvPr>
            <p:cNvGrpSpPr/>
            <p:nvPr userDrawn="1"/>
          </p:nvGrpSpPr>
          <p:grpSpPr>
            <a:xfrm>
              <a:off x="9518577" y="3853669"/>
              <a:ext cx="2754815" cy="6076145"/>
              <a:chOff x="9266651" y="185338"/>
              <a:chExt cx="2754815" cy="6076145"/>
            </a:xfrm>
          </p:grpSpPr>
          <p:sp>
            <p:nvSpPr>
              <p:cNvPr id="80" name="TextBox 79">
                <a:extLst>
                  <a:ext uri="{FF2B5EF4-FFF2-40B4-BE49-F238E27FC236}">
                    <a16:creationId xmlns:a16="http://schemas.microsoft.com/office/drawing/2014/main" id="{BDDFA1E5-2D54-1F4E-923A-1EBF3193D53E}"/>
                  </a:ext>
                </a:extLst>
              </p:cNvPr>
              <p:cNvSpPr txBox="1"/>
              <p:nvPr userDrawn="1"/>
            </p:nvSpPr>
            <p:spPr>
              <a:xfrm>
                <a:off x="9303325" y="18533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81" name="Straight Connector 80">
                <a:extLst>
                  <a:ext uri="{FF2B5EF4-FFF2-40B4-BE49-F238E27FC236}">
                    <a16:creationId xmlns:a16="http://schemas.microsoft.com/office/drawing/2014/main" id="{0BE3F141-44E1-284B-B8E2-CC13393265B4}"/>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2" name="TextBox 81">
                <a:extLst>
                  <a:ext uri="{FF2B5EF4-FFF2-40B4-BE49-F238E27FC236}">
                    <a16:creationId xmlns:a16="http://schemas.microsoft.com/office/drawing/2014/main" id="{3991E50F-278F-5C43-8750-BC1E56B6BC1D}"/>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98" name="Group 97">
                <a:extLst>
                  <a:ext uri="{FF2B5EF4-FFF2-40B4-BE49-F238E27FC236}">
                    <a16:creationId xmlns:a16="http://schemas.microsoft.com/office/drawing/2014/main" id="{83F30A99-B1CD-AB4C-82B9-107FF3C5DE2E}"/>
                  </a:ext>
                </a:extLst>
              </p:cNvPr>
              <p:cNvGrpSpPr/>
              <p:nvPr userDrawn="1"/>
            </p:nvGrpSpPr>
            <p:grpSpPr>
              <a:xfrm>
                <a:off x="9286315" y="4787849"/>
                <a:ext cx="2735151" cy="1473634"/>
                <a:chOff x="9296567" y="4910412"/>
                <a:chExt cx="2735151" cy="1473634"/>
              </a:xfrm>
            </p:grpSpPr>
            <p:sp>
              <p:nvSpPr>
                <p:cNvPr id="100" name="Rectangle 99">
                  <a:extLst>
                    <a:ext uri="{FF2B5EF4-FFF2-40B4-BE49-F238E27FC236}">
                      <a16:creationId xmlns:a16="http://schemas.microsoft.com/office/drawing/2014/main" id="{F72F3191-3FD2-CD4E-BA75-7160E4514679}"/>
                    </a:ext>
                  </a:extLst>
                </p:cNvPr>
                <p:cNvSpPr/>
                <p:nvPr userDrawn="1"/>
              </p:nvSpPr>
              <p:spPr>
                <a:xfrm>
                  <a:off x="9296567" y="4910412"/>
                  <a:ext cx="2735151" cy="147363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01" name="TextBox 100">
                  <a:extLst>
                    <a:ext uri="{FF2B5EF4-FFF2-40B4-BE49-F238E27FC236}">
                      <a16:creationId xmlns:a16="http://schemas.microsoft.com/office/drawing/2014/main" id="{324B7A18-40EA-AC4F-814A-1584DE95586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102" name="Graphic 101">
                  <a:extLst>
                    <a:ext uri="{FF2B5EF4-FFF2-40B4-BE49-F238E27FC236}">
                      <a16:creationId xmlns:a16="http://schemas.microsoft.com/office/drawing/2014/main" id="{824C424F-47CC-5B4E-9503-43961DF4F9BD}"/>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049494"/>
                  <a:ext cx="155227" cy="155227"/>
                </a:xfrm>
                <a:prstGeom prst="rect">
                  <a:avLst/>
                </a:prstGeom>
              </p:spPr>
            </p:pic>
            <p:sp>
              <p:nvSpPr>
                <p:cNvPr id="103" name="TextBox 102">
                  <a:extLst>
                    <a:ext uri="{FF2B5EF4-FFF2-40B4-BE49-F238E27FC236}">
                      <a16:creationId xmlns:a16="http://schemas.microsoft.com/office/drawing/2014/main" id="{960DA147-99F9-6D46-940D-A010FCA6A940}"/>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04" name="TextBox 103">
                  <a:extLst>
                    <a:ext uri="{FF2B5EF4-FFF2-40B4-BE49-F238E27FC236}">
                      <a16:creationId xmlns:a16="http://schemas.microsoft.com/office/drawing/2014/main" id="{081D9AF4-EBB7-BF4C-B301-A60743D4AF62}"/>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05" name="TextBox 104">
                  <a:extLst>
                    <a:ext uri="{FF2B5EF4-FFF2-40B4-BE49-F238E27FC236}">
                      <a16:creationId xmlns:a16="http://schemas.microsoft.com/office/drawing/2014/main" id="{F85957B1-8118-9A45-9222-78DA6A1E692E}"/>
                    </a:ext>
                  </a:extLst>
                </p:cNvPr>
                <p:cNvSpPr txBox="1"/>
                <p:nvPr userDrawn="1"/>
              </p:nvSpPr>
              <p:spPr>
                <a:xfrm>
                  <a:off x="9471805" y="6076239"/>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84" name="Group 83">
                <a:extLst>
                  <a:ext uri="{FF2B5EF4-FFF2-40B4-BE49-F238E27FC236}">
                    <a16:creationId xmlns:a16="http://schemas.microsoft.com/office/drawing/2014/main" id="{2451E775-897C-3240-87F1-FE1B59EC3995}"/>
                  </a:ext>
                </a:extLst>
              </p:cNvPr>
              <p:cNvGrpSpPr/>
              <p:nvPr userDrawn="1"/>
            </p:nvGrpSpPr>
            <p:grpSpPr>
              <a:xfrm>
                <a:off x="9286315" y="3431192"/>
                <a:ext cx="2735151" cy="1280928"/>
                <a:chOff x="9286315" y="6976989"/>
                <a:chExt cx="2735151" cy="1280928"/>
              </a:xfrm>
            </p:grpSpPr>
            <p:sp>
              <p:nvSpPr>
                <p:cNvPr id="93" name="Rectangle 92">
                  <a:extLst>
                    <a:ext uri="{FF2B5EF4-FFF2-40B4-BE49-F238E27FC236}">
                      <a16:creationId xmlns:a16="http://schemas.microsoft.com/office/drawing/2014/main" id="{BB7CAF8A-39AD-C546-8915-185237EB5B1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94" name="TextBox 93">
                  <a:extLst>
                    <a:ext uri="{FF2B5EF4-FFF2-40B4-BE49-F238E27FC236}">
                      <a16:creationId xmlns:a16="http://schemas.microsoft.com/office/drawing/2014/main" id="{C07F080B-FE36-C347-BD87-97C6AD55ADF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95" name="Graphic 94">
                  <a:extLst>
                    <a:ext uri="{FF2B5EF4-FFF2-40B4-BE49-F238E27FC236}">
                      <a16:creationId xmlns:a16="http://schemas.microsoft.com/office/drawing/2014/main" id="{AC53915D-6A22-0A40-8A2B-4B3226EA5B9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46538" y="7116071"/>
                  <a:ext cx="155227" cy="155227"/>
                </a:xfrm>
                <a:prstGeom prst="rect">
                  <a:avLst/>
                </a:prstGeom>
              </p:spPr>
            </p:pic>
            <p:sp>
              <p:nvSpPr>
                <p:cNvPr id="96" name="TextBox 95">
                  <a:extLst>
                    <a:ext uri="{FF2B5EF4-FFF2-40B4-BE49-F238E27FC236}">
                      <a16:creationId xmlns:a16="http://schemas.microsoft.com/office/drawing/2014/main" id="{EE04E77D-44DF-3D4F-8CB4-3D9B1228C4A8}"/>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97" name="Picture 96">
                  <a:extLst>
                    <a:ext uri="{FF2B5EF4-FFF2-40B4-BE49-F238E27FC236}">
                      <a16:creationId xmlns:a16="http://schemas.microsoft.com/office/drawing/2014/main" id="{5E0CC428-D7B2-C14A-B7B1-DA955AE9FA5B}"/>
                    </a:ext>
                  </a:extLst>
                </p:cNvPr>
                <p:cNvPicPr>
                  <a:picLocks noChangeAspect="1"/>
                </p:cNvPicPr>
                <p:nvPr userDrawn="1"/>
              </p:nvPicPr>
              <p:blipFill rotWithShape="1">
                <a:blip r:embed="rId5"/>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85" name="Group 84">
                <a:extLst>
                  <a:ext uri="{FF2B5EF4-FFF2-40B4-BE49-F238E27FC236}">
                    <a16:creationId xmlns:a16="http://schemas.microsoft.com/office/drawing/2014/main" id="{F58B63AF-D922-CD49-BC43-4169636672FA}"/>
                  </a:ext>
                </a:extLst>
              </p:cNvPr>
              <p:cNvGrpSpPr/>
              <p:nvPr userDrawn="1"/>
            </p:nvGrpSpPr>
            <p:grpSpPr>
              <a:xfrm>
                <a:off x="9266651" y="510458"/>
                <a:ext cx="2617883" cy="651460"/>
                <a:chOff x="12352022" y="513115"/>
                <a:chExt cx="2617883" cy="651460"/>
              </a:xfrm>
            </p:grpSpPr>
            <p:sp>
              <p:nvSpPr>
                <p:cNvPr id="90" name="TextBox 89">
                  <a:extLst>
                    <a:ext uri="{FF2B5EF4-FFF2-40B4-BE49-F238E27FC236}">
                      <a16:creationId xmlns:a16="http://schemas.microsoft.com/office/drawing/2014/main" id="{FC2CEFD3-F990-E046-992D-8FEABF5829F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91" name="TextBox 90">
                  <a:extLst>
                    <a:ext uri="{FF2B5EF4-FFF2-40B4-BE49-F238E27FC236}">
                      <a16:creationId xmlns:a16="http://schemas.microsoft.com/office/drawing/2014/main" id="{7F412C02-87CB-E340-8BE6-07A1D513485E}"/>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92" name="TextBox 91">
                  <a:extLst>
                    <a:ext uri="{FF2B5EF4-FFF2-40B4-BE49-F238E27FC236}">
                      <a16:creationId xmlns:a16="http://schemas.microsoft.com/office/drawing/2014/main" id="{798508BC-3719-F043-963D-F484982CF8A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Select and download images from the Marketing Resource Database.</a:t>
                  </a:r>
                </a:p>
                <a:p>
                  <a:pPr lvl="0"/>
                  <a:r>
                    <a:rPr lang="en-US" sz="1050"/>
                    <a:t>Add the image to the placeholder.</a:t>
                  </a:r>
                </a:p>
              </p:txBody>
            </p:sp>
          </p:grpSp>
          <p:sp>
            <p:nvSpPr>
              <p:cNvPr id="86" name="TextBox 85">
                <a:extLst>
                  <a:ext uri="{FF2B5EF4-FFF2-40B4-BE49-F238E27FC236}">
                    <a16:creationId xmlns:a16="http://schemas.microsoft.com/office/drawing/2014/main" id="{74207B05-5316-FE4E-BDED-E91DB8AF1403}"/>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87" name="TextBox 86">
                <a:extLst>
                  <a:ext uri="{FF2B5EF4-FFF2-40B4-BE49-F238E27FC236}">
                    <a16:creationId xmlns:a16="http://schemas.microsoft.com/office/drawing/2014/main" id="{F8455CF3-6D2B-5345-A527-CD6EF4176CE7}"/>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88" name="TextBox 87">
                <a:extLst>
                  <a:ext uri="{FF2B5EF4-FFF2-40B4-BE49-F238E27FC236}">
                    <a16:creationId xmlns:a16="http://schemas.microsoft.com/office/drawing/2014/main" id="{0E69DB1A-1E4B-7947-AEE8-1AD1A0CEE871}"/>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89" name="TextBox 88">
                <a:extLst>
                  <a:ext uri="{FF2B5EF4-FFF2-40B4-BE49-F238E27FC236}">
                    <a16:creationId xmlns:a16="http://schemas.microsoft.com/office/drawing/2014/main" id="{328EEF89-7454-7C46-865B-2C0F34935AD3}"/>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grpSp>
      <p:sp>
        <p:nvSpPr>
          <p:cNvPr id="7" name="Text Placeholder 6">
            <a:extLst>
              <a:ext uri="{FF2B5EF4-FFF2-40B4-BE49-F238E27FC236}">
                <a16:creationId xmlns:a16="http://schemas.microsoft.com/office/drawing/2014/main" id="{31D0EBE1-B4D6-4047-83E5-6123C3DC2687}"/>
              </a:ext>
            </a:extLst>
          </p:cNvPr>
          <p:cNvSpPr>
            <a:spLocks noGrp="1"/>
          </p:cNvSpPr>
          <p:nvPr>
            <p:ph type="body" idx="13" hasCustomPrompt="1"/>
          </p:nvPr>
        </p:nvSpPr>
        <p:spPr>
          <a:xfrm>
            <a:off x="0" y="1652565"/>
            <a:ext cx="6096000" cy="223141"/>
          </a:xfrm>
          <a:noFill/>
          <a:ln>
            <a:noFill/>
          </a:ln>
          <a:effectLst/>
        </p:spPr>
        <p:txBody>
          <a:bodyPr lIns="576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0" name="Text Placeholder 6">
            <a:extLst>
              <a:ext uri="{FF2B5EF4-FFF2-40B4-BE49-F238E27FC236}">
                <a16:creationId xmlns:a16="http://schemas.microsoft.com/office/drawing/2014/main" id="{CC577686-36A2-F643-B3D4-C5A2921D5F7D}"/>
              </a:ext>
            </a:extLst>
          </p:cNvPr>
          <p:cNvSpPr>
            <a:spLocks noGrp="1"/>
          </p:cNvSpPr>
          <p:nvPr>
            <p:ph type="body" idx="14" hasCustomPrompt="1"/>
          </p:nvPr>
        </p:nvSpPr>
        <p:spPr>
          <a:xfrm>
            <a:off x="0" y="2200592"/>
            <a:ext cx="6096000" cy="223141"/>
          </a:xfrm>
          <a:noFill/>
          <a:ln>
            <a:noFill/>
          </a:ln>
          <a:effectLst/>
        </p:spPr>
        <p:txBody>
          <a:bodyPr lIns="576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1" name="Text Placeholder 6">
            <a:extLst>
              <a:ext uri="{FF2B5EF4-FFF2-40B4-BE49-F238E27FC236}">
                <a16:creationId xmlns:a16="http://schemas.microsoft.com/office/drawing/2014/main" id="{46DB1FB2-683E-9B4E-ACC6-B46A2F011140}"/>
              </a:ext>
            </a:extLst>
          </p:cNvPr>
          <p:cNvSpPr>
            <a:spLocks noGrp="1"/>
          </p:cNvSpPr>
          <p:nvPr>
            <p:ph type="body" idx="15" hasCustomPrompt="1"/>
          </p:nvPr>
        </p:nvSpPr>
        <p:spPr>
          <a:xfrm>
            <a:off x="0" y="2748619"/>
            <a:ext cx="6096000" cy="223141"/>
          </a:xfrm>
          <a:noFill/>
          <a:ln>
            <a:noFill/>
          </a:ln>
          <a:effectLst/>
        </p:spPr>
        <p:txBody>
          <a:bodyPr lIns="576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2" name="Text Placeholder 6">
            <a:extLst>
              <a:ext uri="{FF2B5EF4-FFF2-40B4-BE49-F238E27FC236}">
                <a16:creationId xmlns:a16="http://schemas.microsoft.com/office/drawing/2014/main" id="{7006F5B0-C97C-BA41-841A-D54DE5C3469E}"/>
              </a:ext>
            </a:extLst>
          </p:cNvPr>
          <p:cNvSpPr>
            <a:spLocks noGrp="1"/>
          </p:cNvSpPr>
          <p:nvPr>
            <p:ph type="body" idx="16" hasCustomPrompt="1"/>
          </p:nvPr>
        </p:nvSpPr>
        <p:spPr>
          <a:xfrm>
            <a:off x="0" y="3296646"/>
            <a:ext cx="6096000" cy="223141"/>
          </a:xfrm>
          <a:noFill/>
          <a:ln>
            <a:noFill/>
          </a:ln>
          <a:effectLst/>
        </p:spPr>
        <p:txBody>
          <a:bodyPr lIns="576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3" name="Text Placeholder 6">
            <a:extLst>
              <a:ext uri="{FF2B5EF4-FFF2-40B4-BE49-F238E27FC236}">
                <a16:creationId xmlns:a16="http://schemas.microsoft.com/office/drawing/2014/main" id="{85A21497-54A9-774D-B270-BB2E796805E7}"/>
              </a:ext>
            </a:extLst>
          </p:cNvPr>
          <p:cNvSpPr>
            <a:spLocks noGrp="1"/>
          </p:cNvSpPr>
          <p:nvPr>
            <p:ph type="body" idx="17" hasCustomPrompt="1"/>
          </p:nvPr>
        </p:nvSpPr>
        <p:spPr>
          <a:xfrm>
            <a:off x="0" y="3844673"/>
            <a:ext cx="6096000" cy="223141"/>
          </a:xfrm>
          <a:noFill/>
          <a:ln>
            <a:noFill/>
          </a:ln>
          <a:effectLst/>
        </p:spPr>
        <p:txBody>
          <a:bodyPr lIns="576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4" name="Text Placeholder 6">
            <a:extLst>
              <a:ext uri="{FF2B5EF4-FFF2-40B4-BE49-F238E27FC236}">
                <a16:creationId xmlns:a16="http://schemas.microsoft.com/office/drawing/2014/main" id="{6E099CDA-61FC-6346-826F-84D1E7C935C1}"/>
              </a:ext>
            </a:extLst>
          </p:cNvPr>
          <p:cNvSpPr>
            <a:spLocks noGrp="1"/>
          </p:cNvSpPr>
          <p:nvPr>
            <p:ph type="body" idx="18" hasCustomPrompt="1"/>
          </p:nvPr>
        </p:nvSpPr>
        <p:spPr>
          <a:xfrm>
            <a:off x="0" y="4392700"/>
            <a:ext cx="6096000" cy="223141"/>
          </a:xfrm>
          <a:noFill/>
          <a:ln>
            <a:noFill/>
          </a:ln>
          <a:effectLst/>
        </p:spPr>
        <p:txBody>
          <a:bodyPr lIns="576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5" name="Text Placeholder 6">
            <a:extLst>
              <a:ext uri="{FF2B5EF4-FFF2-40B4-BE49-F238E27FC236}">
                <a16:creationId xmlns:a16="http://schemas.microsoft.com/office/drawing/2014/main" id="{D3BE9B67-1FCF-0A49-9AA8-CCF0BC3A843D}"/>
              </a:ext>
            </a:extLst>
          </p:cNvPr>
          <p:cNvSpPr>
            <a:spLocks noGrp="1"/>
          </p:cNvSpPr>
          <p:nvPr>
            <p:ph type="body" idx="19" hasCustomPrompt="1"/>
          </p:nvPr>
        </p:nvSpPr>
        <p:spPr>
          <a:xfrm>
            <a:off x="0" y="4940727"/>
            <a:ext cx="6096000" cy="223141"/>
          </a:xfrm>
          <a:noFill/>
          <a:ln>
            <a:noFill/>
          </a:ln>
          <a:effectLst/>
        </p:spPr>
        <p:txBody>
          <a:bodyPr lIns="576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16" name="Text Placeholder 6">
            <a:extLst>
              <a:ext uri="{FF2B5EF4-FFF2-40B4-BE49-F238E27FC236}">
                <a16:creationId xmlns:a16="http://schemas.microsoft.com/office/drawing/2014/main" id="{7AF93A84-8DAC-D44B-87D4-386F989CA395}"/>
              </a:ext>
            </a:extLst>
          </p:cNvPr>
          <p:cNvSpPr>
            <a:spLocks noGrp="1"/>
          </p:cNvSpPr>
          <p:nvPr>
            <p:ph type="body" idx="20" hasCustomPrompt="1"/>
          </p:nvPr>
        </p:nvSpPr>
        <p:spPr>
          <a:xfrm>
            <a:off x="0" y="5488751"/>
            <a:ext cx="6096000" cy="223141"/>
          </a:xfrm>
          <a:noFill/>
          <a:ln>
            <a:noFill/>
          </a:ln>
          <a:effectLst/>
        </p:spPr>
        <p:txBody>
          <a:bodyPr lIns="576000" tIns="18000" rIns="144000" bIns="0" anchor="ctr"/>
          <a:lstStyle>
            <a:lvl1pPr marL="0" indent="0">
              <a:spcBef>
                <a:spcPts val="0"/>
              </a:spcBef>
              <a:spcAft>
                <a:spcPts val="0"/>
              </a:spcAft>
              <a:buFontTx/>
              <a:buNone/>
              <a:defRPr b="0">
                <a:solidFill>
                  <a:schemeClr val="bg1"/>
                </a:solidFill>
              </a:defRPr>
            </a:lvl1pPr>
            <a:lvl2pPr marL="0">
              <a:spcBef>
                <a:spcPts val="0"/>
              </a:spcBef>
              <a:spcAft>
                <a:spcPts val="0"/>
              </a:spcAft>
              <a:buFontTx/>
              <a:buNone/>
              <a:defRPr>
                <a:solidFill>
                  <a:schemeClr val="bg1"/>
                </a:solidFill>
              </a:defRPr>
            </a:lvl2pPr>
            <a:lvl3pPr marL="0" indent="0">
              <a:spcBef>
                <a:spcPts val="0"/>
              </a:spcBef>
              <a:spcAft>
                <a:spcPts val="0"/>
              </a:spcAft>
              <a:buFontTx/>
              <a:buNone/>
              <a:defRPr>
                <a:solidFill>
                  <a:schemeClr val="bg1"/>
                </a:solidFill>
              </a:defRPr>
            </a:lvl3pPr>
            <a:lvl4pPr marL="0" indent="0">
              <a:spcBef>
                <a:spcPts val="0"/>
              </a:spcBef>
              <a:spcAft>
                <a:spcPts val="0"/>
              </a:spcAft>
              <a:buFontTx/>
              <a:buNone/>
              <a:defRPr>
                <a:solidFill>
                  <a:schemeClr val="bg1"/>
                </a:solidFill>
              </a:defRPr>
            </a:lvl4pPr>
            <a:lvl5pPr marL="0" indent="0">
              <a:spcBef>
                <a:spcPts val="0"/>
              </a:spcBef>
              <a:spcAft>
                <a:spcPts val="0"/>
              </a:spcAft>
              <a:buFontTx/>
              <a:buNone/>
              <a:defRPr>
                <a:solidFill>
                  <a:schemeClr val="bg1"/>
                </a:solidFill>
              </a:defRPr>
            </a:lvl5pPr>
            <a:lvl6pPr marL="0" indent="0">
              <a:spcBef>
                <a:spcPts val="0"/>
              </a:spcBef>
              <a:spcAft>
                <a:spcPts val="0"/>
              </a:spcAft>
              <a:buFontTx/>
              <a:buNone/>
              <a:defRPr>
                <a:solidFill>
                  <a:schemeClr val="bg1"/>
                </a:solidFill>
              </a:defRPr>
            </a:lvl6pPr>
            <a:lvl7pPr marL="0" indent="0">
              <a:spcBef>
                <a:spcPts val="0"/>
              </a:spcBef>
              <a:spcAft>
                <a:spcPts val="0"/>
              </a:spcAft>
              <a:buFontTx/>
              <a:buNone/>
              <a:defRPr>
                <a:solidFill>
                  <a:schemeClr val="bg1"/>
                </a:solidFill>
              </a:defRPr>
            </a:lvl7pPr>
            <a:lvl8pPr marL="0" indent="0">
              <a:spcBef>
                <a:spcPts val="0"/>
              </a:spcBef>
              <a:spcAft>
                <a:spcPts val="0"/>
              </a:spcAft>
              <a:buFontTx/>
              <a:buNone/>
              <a:defRPr>
                <a:solidFill>
                  <a:schemeClr val="bg1"/>
                </a:solidFill>
              </a:defRPr>
            </a:lvl8pPr>
            <a:lvl9pPr marL="0" indent="0">
              <a:spcBef>
                <a:spcPts val="0"/>
              </a:spcBef>
              <a:spcAft>
                <a:spcPts val="0"/>
              </a:spcAft>
              <a:buFontTx/>
              <a:buNone/>
              <a:defRPr>
                <a:solidFill>
                  <a:schemeClr val="bg1"/>
                </a:solidFill>
              </a:defRPr>
            </a:lvl9pPr>
          </a:lstStyle>
          <a:p>
            <a:pPr lvl="0"/>
            <a:r>
              <a:rPr lang="en-US"/>
              <a:t>Click to add agenda item</a:t>
            </a:r>
          </a:p>
        </p:txBody>
      </p:sp>
      <p:sp>
        <p:nvSpPr>
          <p:cNvPr id="6" name="Text Placeholder 5">
            <a:extLst>
              <a:ext uri="{FF2B5EF4-FFF2-40B4-BE49-F238E27FC236}">
                <a16:creationId xmlns:a16="http://schemas.microsoft.com/office/drawing/2014/main" id="{AF45B143-DDF1-6B4E-B0B2-7907B8C48F2D}"/>
              </a:ext>
            </a:extLst>
          </p:cNvPr>
          <p:cNvSpPr>
            <a:spLocks noGrp="1"/>
          </p:cNvSpPr>
          <p:nvPr userDrawn="1">
            <p:ph type="body" sz="quarter" idx="110" hasCustomPrompt="1"/>
          </p:nvPr>
        </p:nvSpPr>
        <p:spPr>
          <a:xfrm>
            <a:off x="12846856" y="1607862"/>
            <a:ext cx="2431852" cy="376755"/>
          </a:xfrm>
          <a:blipFill>
            <a:blip r:embed="rId6"/>
            <a:stretch>
              <a:fillRect/>
            </a:stretch>
          </a:blipFill>
          <a:effectLst/>
        </p:spPr>
        <p:txBody>
          <a:bodyPr lIns="576000" tIns="18000" rIns="144000" anchor="ctr"/>
          <a:lstStyle>
            <a:lvl1pPr marL="0" indent="0">
              <a:spcBef>
                <a:spcPts val="0"/>
              </a:spcBef>
              <a:spcAft>
                <a:spcPts val="0"/>
              </a:spcAft>
              <a:buFontTx/>
              <a:buNone/>
              <a:defRPr b="1">
                <a:solidFill>
                  <a:schemeClr val="bg1"/>
                </a:solidFill>
              </a:defRPr>
            </a:lvl1pPr>
            <a:lvl2pPr marL="0">
              <a:spcBef>
                <a:spcPts val="0"/>
              </a:spcBef>
              <a:spcAft>
                <a:spcPts val="0"/>
              </a:spcAft>
              <a:buFontTx/>
              <a:buNone/>
              <a:defRPr b="1">
                <a:solidFill>
                  <a:schemeClr val="bg1"/>
                </a:solidFill>
              </a:defRPr>
            </a:lvl2pPr>
            <a:lvl3pPr marL="0" indent="0">
              <a:spcBef>
                <a:spcPts val="0"/>
              </a:spcBef>
              <a:spcAft>
                <a:spcPts val="0"/>
              </a:spcAft>
              <a:buFontTx/>
              <a:buNone/>
              <a:defRPr b="1">
                <a:solidFill>
                  <a:schemeClr val="bg1"/>
                </a:solidFill>
              </a:defRPr>
            </a:lvl3pPr>
            <a:lvl4pPr marL="0" indent="0">
              <a:spcBef>
                <a:spcPts val="0"/>
              </a:spcBef>
              <a:spcAft>
                <a:spcPts val="0"/>
              </a:spcAft>
              <a:buFontTx/>
              <a:buNone/>
              <a:defRPr b="1">
                <a:solidFill>
                  <a:schemeClr val="bg1"/>
                </a:solidFill>
              </a:defRPr>
            </a:lvl4pPr>
            <a:lvl5pPr marL="0" indent="0">
              <a:spcBef>
                <a:spcPts val="0"/>
              </a:spcBef>
              <a:spcAft>
                <a:spcPts val="0"/>
              </a:spcAft>
              <a:buFontTx/>
              <a:buNone/>
              <a:defRPr b="1">
                <a:solidFill>
                  <a:schemeClr val="bg1"/>
                </a:solidFill>
              </a:defRPr>
            </a:lvl5pPr>
            <a:lvl6pPr marL="0" indent="0">
              <a:spcBef>
                <a:spcPts val="0"/>
              </a:spcBef>
              <a:spcAft>
                <a:spcPts val="0"/>
              </a:spcAft>
              <a:buFontTx/>
              <a:buNone/>
              <a:defRPr b="1">
                <a:solidFill>
                  <a:schemeClr val="bg1"/>
                </a:solidFill>
              </a:defRPr>
            </a:lvl6pPr>
            <a:lvl7pPr marL="0" indent="0">
              <a:spcBef>
                <a:spcPts val="0"/>
              </a:spcBef>
              <a:spcAft>
                <a:spcPts val="0"/>
              </a:spcAft>
              <a:buFontTx/>
              <a:buNone/>
              <a:defRPr b="1">
                <a:solidFill>
                  <a:schemeClr val="bg1"/>
                </a:solidFill>
              </a:defRPr>
            </a:lvl7pPr>
            <a:lvl8pPr marL="0" indent="0">
              <a:spcBef>
                <a:spcPts val="0"/>
              </a:spcBef>
              <a:spcAft>
                <a:spcPts val="0"/>
              </a:spcAft>
              <a:buFontTx/>
              <a:buNone/>
              <a:defRPr b="1">
                <a:solidFill>
                  <a:schemeClr val="bg1"/>
                </a:solidFill>
              </a:defRPr>
            </a:lvl8pPr>
            <a:lvl9pPr marL="0" indent="0">
              <a:spcBef>
                <a:spcPts val="0"/>
              </a:spcBef>
              <a:spcAft>
                <a:spcPts val="0"/>
              </a:spcAft>
              <a:buFontTx/>
              <a:buNone/>
              <a:defRPr b="1">
                <a:solidFill>
                  <a:schemeClr val="bg1"/>
                </a:solidFill>
              </a:defRPr>
            </a:lvl9pPr>
          </a:lstStyle>
          <a:p>
            <a:pPr lvl="0"/>
            <a:r>
              <a:rPr lang="en-US"/>
              <a:t>Select this element</a:t>
            </a:r>
          </a:p>
        </p:txBody>
      </p:sp>
      <p:sp>
        <p:nvSpPr>
          <p:cNvPr id="5" name="Title 4">
            <a:extLst>
              <a:ext uri="{FF2B5EF4-FFF2-40B4-BE49-F238E27FC236}">
                <a16:creationId xmlns:a16="http://schemas.microsoft.com/office/drawing/2014/main" id="{B0403EB9-9CA5-F144-8CC3-6564291F2A72}"/>
              </a:ext>
            </a:extLst>
          </p:cNvPr>
          <p:cNvSpPr>
            <a:spLocks noGrp="1"/>
          </p:cNvSpPr>
          <p:nvPr userDrawn="1">
            <p:ph type="title" hasCustomPrompt="1"/>
          </p:nvPr>
        </p:nvSpPr>
        <p:spPr/>
        <p:txBody>
          <a:bodyPr/>
          <a:lstStyle/>
          <a:p>
            <a:r>
              <a:rPr lang="en-US"/>
              <a:t>CLICK TO ADD Slide TITLE. ALL CAPS. TWO LINES max.</a:t>
            </a:r>
          </a:p>
        </p:txBody>
      </p:sp>
      <p:sp>
        <p:nvSpPr>
          <p:cNvPr id="500" name="Caption">
            <a:extLst>
              <a:ext uri="{FF2B5EF4-FFF2-40B4-BE49-F238E27FC236}">
                <a16:creationId xmlns:a16="http://schemas.microsoft.com/office/drawing/2014/main" id="{6BEA4198-478B-E14D-8C70-FD4227A8A468}"/>
              </a:ext>
            </a:extLst>
          </p:cNvPr>
          <p:cNvSpPr>
            <a:spLocks noGrp="1"/>
          </p:cNvSpPr>
          <p:nvPr>
            <p:ph type="body" sz="quarter" idx="500" hasCustomPrompt="1"/>
          </p:nvPr>
        </p:nvSpPr>
        <p:spPr>
          <a:xfrm>
            <a:off x="9675364" y="6200776"/>
            <a:ext cx="1928848"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Aft>
                <a:spcPts val="0"/>
              </a:spcAft>
              <a:buFontTx/>
              <a:buNone/>
              <a:tabLst/>
              <a:defRPr sz="1100">
                <a:solidFill>
                  <a:schemeClr val="bg1"/>
                </a:solidFill>
              </a:defRPr>
            </a:lvl2pPr>
            <a:lvl3pPr marL="0" indent="0" algn="r">
              <a:spcAft>
                <a:spcPts val="0"/>
              </a:spcAft>
              <a:buFontTx/>
              <a:buNone/>
              <a:tabLst/>
              <a:defRPr sz="1100">
                <a:solidFill>
                  <a:schemeClr val="bg1"/>
                </a:solidFill>
              </a:defRPr>
            </a:lvl3pPr>
            <a:lvl4pPr marL="0" indent="0" algn="r">
              <a:spcAft>
                <a:spcPts val="0"/>
              </a:spcAft>
              <a:buFontTx/>
              <a:buNone/>
              <a:tabLst/>
              <a:defRPr sz="1100">
                <a:solidFill>
                  <a:schemeClr val="bg1"/>
                </a:solidFill>
              </a:defRPr>
            </a:lvl4pPr>
            <a:lvl5pPr marL="0" indent="0" algn="r">
              <a:spcAft>
                <a:spcPts val="0"/>
              </a:spcAft>
              <a:buFontTx/>
              <a:buNone/>
              <a:tabLst/>
              <a:defRPr sz="1100">
                <a:solidFill>
                  <a:schemeClr val="bg1"/>
                </a:solidFill>
              </a:defRPr>
            </a:lvl5pPr>
            <a:lvl6pPr marL="0" indent="0" algn="r">
              <a:spcAft>
                <a:spcPts val="0"/>
              </a:spcAft>
              <a:buFontTx/>
              <a:buNone/>
              <a:tabLst/>
              <a:defRPr sz="1100">
                <a:solidFill>
                  <a:schemeClr val="bg1"/>
                </a:solidFill>
              </a:defRPr>
            </a:lvl6pPr>
            <a:lvl7pPr marL="0" indent="0" algn="r">
              <a:spcAft>
                <a:spcPts val="0"/>
              </a:spcAft>
              <a:buFontTx/>
              <a:buNone/>
              <a:tabLst/>
              <a:defRPr sz="1100">
                <a:solidFill>
                  <a:schemeClr val="bg1"/>
                </a:solidFill>
              </a:defRPr>
            </a:lvl7pPr>
            <a:lvl8pPr marL="0" indent="0" algn="r">
              <a:spcAft>
                <a:spcPts val="0"/>
              </a:spcAft>
              <a:buFontTx/>
              <a:buNone/>
              <a:tabLst/>
              <a:defRPr sz="1100">
                <a:solidFill>
                  <a:schemeClr val="bg1"/>
                </a:solidFill>
              </a:defRPr>
            </a:lvl8pPr>
            <a:lvl9pPr marL="0" indent="0" algn="r">
              <a:spcAft>
                <a:spcPts val="0"/>
              </a:spcAft>
              <a:buFontTx/>
              <a:buNone/>
              <a:tabLst/>
              <a:defRPr sz="1100">
                <a:solidFill>
                  <a:schemeClr val="bg1"/>
                </a:solidFill>
              </a:defRPr>
            </a:lvl9pPr>
          </a:lstStyle>
          <a:p>
            <a:pPr lvl="0"/>
            <a:r>
              <a:rPr lang="en-US"/>
              <a:t>Click to add photo caption</a:t>
            </a:r>
          </a:p>
        </p:txBody>
      </p:sp>
      <p:sp>
        <p:nvSpPr>
          <p:cNvPr id="4" name="Slide Number Placeholder 3">
            <a:extLst>
              <a:ext uri="{FF2B5EF4-FFF2-40B4-BE49-F238E27FC236}">
                <a16:creationId xmlns:a16="http://schemas.microsoft.com/office/drawing/2014/main" id="{F88C9A36-7012-864C-8C5E-DEC51C83883E}"/>
              </a:ext>
            </a:extLst>
          </p:cNvPr>
          <p:cNvSpPr>
            <a:spLocks noGrp="1"/>
          </p:cNvSpPr>
          <p:nvPr>
            <p:ph type="sldNum" sz="quarter" idx="117"/>
          </p:nvPr>
        </p:nvSpPr>
        <p:spPr>
          <a:noFill/>
        </p:spPr>
        <p:txBody>
          <a:bodyPr/>
          <a:lstStyle>
            <a:lvl1pPr>
              <a:defRPr>
                <a:solidFill>
                  <a:schemeClr val="bg1"/>
                </a:solidFill>
              </a:defRPr>
            </a:lvl1pPr>
          </a:lstStyle>
          <a:p>
            <a:pPr marL="12700"/>
            <a:fld id="{078C017C-E1B9-8443-B047-B08AAA027B45}" type="slidenum">
              <a:rPr lang="en-US" smtClean="0"/>
              <a:pPr marL="12700"/>
              <a:t>‹#›</a:t>
            </a:fld>
            <a:endParaRPr lang="en-US"/>
          </a:p>
        </p:txBody>
      </p:sp>
    </p:spTree>
    <p:extLst>
      <p:ext uri="{BB962C8B-B14F-4D97-AF65-F5344CB8AC3E}">
        <p14:creationId xmlns:p14="http://schemas.microsoft.com/office/powerpoint/2010/main" val="224786488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 Logos and Tex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cxnSp>
        <p:nvCxnSpPr>
          <p:cNvPr id="13" name="Straight Connector 12">
            <a:extLst>
              <a:ext uri="{FF2B5EF4-FFF2-40B4-BE49-F238E27FC236}">
                <a16:creationId xmlns:a16="http://schemas.microsoft.com/office/drawing/2014/main" id="{ED753A27-0B53-3B44-A318-323612277CF2}"/>
              </a:ext>
            </a:extLst>
          </p:cNvPr>
          <p:cNvCxnSpPr>
            <a:cxnSpLocks/>
          </p:cNvCxnSpPr>
          <p:nvPr userDrawn="1"/>
        </p:nvCxnSpPr>
        <p:spPr>
          <a:xfrm rot="5400000">
            <a:off x="6082599" y="-2675693"/>
            <a:ext cx="0" cy="1101378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90281FD7-9911-134B-A7C9-82C3663644A9}"/>
              </a:ext>
            </a:extLst>
          </p:cNvPr>
          <p:cNvCxnSpPr>
            <a:cxnSpLocks/>
          </p:cNvCxnSpPr>
          <p:nvPr userDrawn="1"/>
        </p:nvCxnSpPr>
        <p:spPr>
          <a:xfrm rot="5400000">
            <a:off x="6082599" y="-946202"/>
            <a:ext cx="0" cy="1101378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3" name="Text Placeholder 2">
            <a:extLst>
              <a:ext uri="{FF2B5EF4-FFF2-40B4-BE49-F238E27FC236}">
                <a16:creationId xmlns:a16="http://schemas.microsoft.com/office/drawing/2014/main" id="{EA8D8CC5-DDED-9445-8A9A-D06B2B9A91DE}"/>
              </a:ext>
            </a:extLst>
          </p:cNvPr>
          <p:cNvSpPr>
            <a:spLocks noGrp="1"/>
          </p:cNvSpPr>
          <p:nvPr>
            <p:ph type="body" sz="quarter" idx="115"/>
          </p:nvPr>
        </p:nvSpPr>
        <p:spPr>
          <a:xfrm>
            <a:off x="3805768" y="1233488"/>
            <a:ext cx="7809985"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Text Placeholder 2">
            <a:extLst>
              <a:ext uri="{FF2B5EF4-FFF2-40B4-BE49-F238E27FC236}">
                <a16:creationId xmlns:a16="http://schemas.microsoft.com/office/drawing/2014/main" id="{65A45B82-A28A-C541-9948-969822196900}"/>
              </a:ext>
            </a:extLst>
          </p:cNvPr>
          <p:cNvSpPr>
            <a:spLocks noGrp="1"/>
          </p:cNvSpPr>
          <p:nvPr>
            <p:ph type="body" sz="quarter" idx="116"/>
          </p:nvPr>
        </p:nvSpPr>
        <p:spPr>
          <a:xfrm>
            <a:off x="3805768" y="2962517"/>
            <a:ext cx="7809985"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3" name="Text Placeholder 2">
            <a:extLst>
              <a:ext uri="{FF2B5EF4-FFF2-40B4-BE49-F238E27FC236}">
                <a16:creationId xmlns:a16="http://schemas.microsoft.com/office/drawing/2014/main" id="{8B46136D-9E6B-7348-A230-0C0B61F4043F}"/>
              </a:ext>
            </a:extLst>
          </p:cNvPr>
          <p:cNvSpPr>
            <a:spLocks noGrp="1"/>
          </p:cNvSpPr>
          <p:nvPr>
            <p:ph type="body" sz="quarter" idx="117"/>
          </p:nvPr>
        </p:nvSpPr>
        <p:spPr>
          <a:xfrm>
            <a:off x="3805768" y="4691546"/>
            <a:ext cx="7809985" cy="14668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00" name="Footnotes Placeholder">
            <a:extLst>
              <a:ext uri="{FF2B5EF4-FFF2-40B4-BE49-F238E27FC236}">
                <a16:creationId xmlns:a16="http://schemas.microsoft.com/office/drawing/2014/main" id="{A9BB490B-C309-B748-9B19-AF93AAACA3CF}"/>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8" name="Date Placeholder 7">
            <a:extLst>
              <a:ext uri="{FF2B5EF4-FFF2-40B4-BE49-F238E27FC236}">
                <a16:creationId xmlns:a16="http://schemas.microsoft.com/office/drawing/2014/main" id="{5D5C0E79-A3BD-5144-8C77-5A57F1DFDA10}"/>
              </a:ext>
            </a:extLst>
          </p:cNvPr>
          <p:cNvSpPr>
            <a:spLocks noGrp="1"/>
          </p:cNvSpPr>
          <p:nvPr>
            <p:ph type="dt" sz="half" idx="125"/>
          </p:nvPr>
        </p:nvSpPr>
        <p:spPr/>
        <p:txBody>
          <a:bodyPr/>
          <a:lstStyle/>
          <a:p>
            <a:endParaRPr lang="en-US" dirty="0"/>
          </a:p>
        </p:txBody>
      </p:sp>
      <p:sp>
        <p:nvSpPr>
          <p:cNvPr id="10" name="Footer Placeholder 9">
            <a:extLst>
              <a:ext uri="{FF2B5EF4-FFF2-40B4-BE49-F238E27FC236}">
                <a16:creationId xmlns:a16="http://schemas.microsoft.com/office/drawing/2014/main" id="{AA4A8FA1-CC46-7144-84B1-17C00BC259EB}"/>
              </a:ext>
            </a:extLst>
          </p:cNvPr>
          <p:cNvSpPr>
            <a:spLocks noGrp="1"/>
          </p:cNvSpPr>
          <p:nvPr>
            <p:ph type="ftr" sz="quarter" idx="126"/>
          </p:nvPr>
        </p:nvSpPr>
        <p:spPr/>
        <p:txBody>
          <a:bodyPr/>
          <a:lstStyle/>
          <a:p>
            <a:endParaRPr lang="en-US" dirty="0"/>
          </a:p>
        </p:txBody>
      </p:sp>
      <p:sp>
        <p:nvSpPr>
          <p:cNvPr id="14" name="Slide Number Placeholder 13">
            <a:extLst>
              <a:ext uri="{FF2B5EF4-FFF2-40B4-BE49-F238E27FC236}">
                <a16:creationId xmlns:a16="http://schemas.microsoft.com/office/drawing/2014/main" id="{ACB2D2FD-3057-D74D-B44D-0EB64193CE1C}"/>
              </a:ext>
            </a:extLst>
          </p:cNvPr>
          <p:cNvSpPr>
            <a:spLocks noGrp="1"/>
          </p:cNvSpPr>
          <p:nvPr>
            <p:ph type="sldNum" sz="quarter" idx="12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5" name="Content Placeholder 4">
            <a:extLst>
              <a:ext uri="{FF2B5EF4-FFF2-40B4-BE49-F238E27FC236}">
                <a16:creationId xmlns:a16="http://schemas.microsoft.com/office/drawing/2014/main" id="{97ACE0C3-0640-2343-BA09-F3EFC7CFB949}"/>
              </a:ext>
            </a:extLst>
          </p:cNvPr>
          <p:cNvSpPr>
            <a:spLocks noGrp="1"/>
          </p:cNvSpPr>
          <p:nvPr>
            <p:ph sz="quarter" idx="128" hasCustomPrompt="1"/>
          </p:nvPr>
        </p:nvSpPr>
        <p:spPr>
          <a:xfrm>
            <a:off x="575734" y="1233488"/>
            <a:ext cx="2984500" cy="1466850"/>
          </a:xfrm>
        </p:spPr>
        <p:txBody>
          <a:bodyPr/>
          <a:lstStyle>
            <a:lvl1pPr algn="ctr">
              <a:defRPr b="0">
                <a:solidFill>
                  <a:schemeClr val="tx1">
                    <a:lumMod val="50000"/>
                    <a:lumOff val="50000"/>
                  </a:schemeClr>
                </a:solidFill>
              </a:defRPr>
            </a:lvl1pPr>
          </a:lstStyle>
          <a:p>
            <a:pPr lvl="0"/>
            <a:r>
              <a:rPr lang="en-US" dirty="0"/>
              <a:t>Click image icon to add logo (do not add any other types of content)</a:t>
            </a:r>
          </a:p>
        </p:txBody>
      </p:sp>
      <p:sp>
        <p:nvSpPr>
          <p:cNvPr id="56" name="Content Placeholder 4">
            <a:extLst>
              <a:ext uri="{FF2B5EF4-FFF2-40B4-BE49-F238E27FC236}">
                <a16:creationId xmlns:a16="http://schemas.microsoft.com/office/drawing/2014/main" id="{3B8A4E6F-E1C9-9641-B3D3-BDB9B2012DBB}"/>
              </a:ext>
            </a:extLst>
          </p:cNvPr>
          <p:cNvSpPr>
            <a:spLocks noGrp="1"/>
          </p:cNvSpPr>
          <p:nvPr>
            <p:ph sz="quarter" idx="129" hasCustomPrompt="1"/>
          </p:nvPr>
        </p:nvSpPr>
        <p:spPr>
          <a:xfrm>
            <a:off x="575734" y="2962517"/>
            <a:ext cx="2984500" cy="1466850"/>
          </a:xfrm>
        </p:spPr>
        <p:txBody>
          <a:bodyPr/>
          <a:lstStyle>
            <a:lvl1pPr algn="ctr">
              <a:defRPr b="0">
                <a:solidFill>
                  <a:schemeClr val="tx1">
                    <a:lumMod val="50000"/>
                    <a:lumOff val="50000"/>
                  </a:schemeClr>
                </a:solidFill>
              </a:defRPr>
            </a:lvl1pPr>
          </a:lstStyle>
          <a:p>
            <a:pPr lvl="0"/>
            <a:r>
              <a:rPr lang="en-US" dirty="0"/>
              <a:t>Click image icon to add logo (do not add any other types of content)</a:t>
            </a:r>
          </a:p>
        </p:txBody>
      </p:sp>
      <p:sp>
        <p:nvSpPr>
          <p:cNvPr id="57" name="Content Placeholder 4">
            <a:extLst>
              <a:ext uri="{FF2B5EF4-FFF2-40B4-BE49-F238E27FC236}">
                <a16:creationId xmlns:a16="http://schemas.microsoft.com/office/drawing/2014/main" id="{04F52250-2F95-E448-A157-BA7D33261555}"/>
              </a:ext>
            </a:extLst>
          </p:cNvPr>
          <p:cNvSpPr>
            <a:spLocks noGrp="1"/>
          </p:cNvSpPr>
          <p:nvPr>
            <p:ph sz="quarter" idx="130" hasCustomPrompt="1"/>
          </p:nvPr>
        </p:nvSpPr>
        <p:spPr>
          <a:xfrm>
            <a:off x="575734" y="4691546"/>
            <a:ext cx="2984500" cy="1466850"/>
          </a:xfrm>
        </p:spPr>
        <p:txBody>
          <a:bodyPr/>
          <a:lstStyle>
            <a:lvl1pPr algn="ctr">
              <a:defRPr b="0">
                <a:solidFill>
                  <a:schemeClr val="tx1">
                    <a:lumMod val="50000"/>
                    <a:lumOff val="50000"/>
                  </a:schemeClr>
                </a:solidFill>
              </a:defRPr>
            </a:lvl1pPr>
          </a:lstStyle>
          <a:p>
            <a:pPr lvl="0"/>
            <a:r>
              <a:rPr lang="en-US" dirty="0"/>
              <a:t>Click image icon to add logo (do not add any other types of content)</a:t>
            </a:r>
          </a:p>
        </p:txBody>
      </p:sp>
      <p:grpSp>
        <p:nvGrpSpPr>
          <p:cNvPr id="62" name="Group 61">
            <a:extLst>
              <a:ext uri="{FF2B5EF4-FFF2-40B4-BE49-F238E27FC236}">
                <a16:creationId xmlns:a16="http://schemas.microsoft.com/office/drawing/2014/main" id="{14338023-BC13-1347-A902-C2204A24D96D}"/>
              </a:ext>
            </a:extLst>
          </p:cNvPr>
          <p:cNvGrpSpPr/>
          <p:nvPr userDrawn="1"/>
        </p:nvGrpSpPr>
        <p:grpSpPr>
          <a:xfrm>
            <a:off x="12532243" y="-2"/>
            <a:ext cx="3965960" cy="9769405"/>
            <a:chOff x="9399182" y="-2"/>
            <a:chExt cx="2974470" cy="9769405"/>
          </a:xfrm>
        </p:grpSpPr>
        <p:sp>
          <p:nvSpPr>
            <p:cNvPr id="63" name="Rectangle 62">
              <a:extLst>
                <a:ext uri="{FF2B5EF4-FFF2-40B4-BE49-F238E27FC236}">
                  <a16:creationId xmlns:a16="http://schemas.microsoft.com/office/drawing/2014/main" id="{F14DF298-5DBB-564B-B56C-06F534677012}"/>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64" name="Picture 63">
              <a:extLst>
                <a:ext uri="{FF2B5EF4-FFF2-40B4-BE49-F238E27FC236}">
                  <a16:creationId xmlns:a16="http://schemas.microsoft.com/office/drawing/2014/main" id="{87A54F67-95E3-4D47-8A30-4154E885C7CB}"/>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68" name="Group 67">
              <a:extLst>
                <a:ext uri="{FF2B5EF4-FFF2-40B4-BE49-F238E27FC236}">
                  <a16:creationId xmlns:a16="http://schemas.microsoft.com/office/drawing/2014/main" id="{9394EAB8-8CA4-4B4D-A004-BC8697696E5A}"/>
                </a:ext>
              </a:extLst>
            </p:cNvPr>
            <p:cNvGrpSpPr/>
            <p:nvPr userDrawn="1"/>
          </p:nvGrpSpPr>
          <p:grpSpPr>
            <a:xfrm>
              <a:off x="9541497" y="162442"/>
              <a:ext cx="2819400" cy="814510"/>
              <a:chOff x="-3644733" y="165205"/>
              <a:chExt cx="2819400" cy="814510"/>
            </a:xfrm>
          </p:grpSpPr>
          <p:sp>
            <p:nvSpPr>
              <p:cNvPr id="141" name="Rectangle 140">
                <a:extLst>
                  <a:ext uri="{FF2B5EF4-FFF2-40B4-BE49-F238E27FC236}">
                    <a16:creationId xmlns:a16="http://schemas.microsoft.com/office/drawing/2014/main" id="{FFD516EB-2BCB-2E43-AFF3-5121CF79D655}"/>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42" name="TextBox 141">
                <a:extLst>
                  <a:ext uri="{FF2B5EF4-FFF2-40B4-BE49-F238E27FC236}">
                    <a16:creationId xmlns:a16="http://schemas.microsoft.com/office/drawing/2014/main" id="{BF97D8B0-4B8D-B145-87DF-8E19E86AB9CF}"/>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43" name="Picture 142">
                <a:extLst>
                  <a:ext uri="{FF2B5EF4-FFF2-40B4-BE49-F238E27FC236}">
                    <a16:creationId xmlns:a16="http://schemas.microsoft.com/office/drawing/2014/main" id="{B352A88A-0AE1-F846-9CA0-DBE561C4B64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69" name="Group 68">
              <a:extLst>
                <a:ext uri="{FF2B5EF4-FFF2-40B4-BE49-F238E27FC236}">
                  <a16:creationId xmlns:a16="http://schemas.microsoft.com/office/drawing/2014/main" id="{6DC41A6A-6B56-8547-86A6-CBFAF67515C3}"/>
                </a:ext>
              </a:extLst>
            </p:cNvPr>
            <p:cNvGrpSpPr/>
            <p:nvPr userDrawn="1"/>
          </p:nvGrpSpPr>
          <p:grpSpPr>
            <a:xfrm>
              <a:off x="9521833" y="3755578"/>
              <a:ext cx="2754815" cy="6013825"/>
              <a:chOff x="9521833" y="2566288"/>
              <a:chExt cx="2754815" cy="6013825"/>
            </a:xfrm>
          </p:grpSpPr>
          <p:sp>
            <p:nvSpPr>
              <p:cNvPr id="117" name="TextBox 116">
                <a:extLst>
                  <a:ext uri="{FF2B5EF4-FFF2-40B4-BE49-F238E27FC236}">
                    <a16:creationId xmlns:a16="http://schemas.microsoft.com/office/drawing/2014/main" id="{3AD32596-DA46-734D-B2A7-5DA54F93A57C}"/>
                  </a:ext>
                </a:extLst>
              </p:cNvPr>
              <p:cNvSpPr txBox="1"/>
              <p:nvPr userDrawn="1"/>
            </p:nvSpPr>
            <p:spPr>
              <a:xfrm>
                <a:off x="9558507" y="256628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118" name="Straight Connector 117">
                <a:extLst>
                  <a:ext uri="{FF2B5EF4-FFF2-40B4-BE49-F238E27FC236}">
                    <a16:creationId xmlns:a16="http://schemas.microsoft.com/office/drawing/2014/main" id="{CDBD1C83-41B8-F547-BE36-B26D9D04D2C1}"/>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9" name="TextBox 118">
                <a:extLst>
                  <a:ext uri="{FF2B5EF4-FFF2-40B4-BE49-F238E27FC236}">
                    <a16:creationId xmlns:a16="http://schemas.microsoft.com/office/drawing/2014/main" id="{00AA5701-68AE-A84A-8CD3-773557FA6DE2}"/>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20" name="Group 119">
                <a:extLst>
                  <a:ext uri="{FF2B5EF4-FFF2-40B4-BE49-F238E27FC236}">
                    <a16:creationId xmlns:a16="http://schemas.microsoft.com/office/drawing/2014/main" id="{392A157E-FDF8-C647-ABDF-ED28D6D3705D}"/>
                  </a:ext>
                </a:extLst>
              </p:cNvPr>
              <p:cNvGrpSpPr/>
              <p:nvPr userDrawn="1"/>
            </p:nvGrpSpPr>
            <p:grpSpPr>
              <a:xfrm>
                <a:off x="9541497" y="7168798"/>
                <a:ext cx="2735151" cy="1411315"/>
                <a:chOff x="9296567" y="4910411"/>
                <a:chExt cx="2735151" cy="1411315"/>
              </a:xfrm>
            </p:grpSpPr>
            <p:sp>
              <p:nvSpPr>
                <p:cNvPr id="135" name="Rectangle 134">
                  <a:extLst>
                    <a:ext uri="{FF2B5EF4-FFF2-40B4-BE49-F238E27FC236}">
                      <a16:creationId xmlns:a16="http://schemas.microsoft.com/office/drawing/2014/main" id="{02B94648-6324-8142-876C-27E337B0E1FD}"/>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6" name="TextBox 135">
                  <a:extLst>
                    <a:ext uri="{FF2B5EF4-FFF2-40B4-BE49-F238E27FC236}">
                      <a16:creationId xmlns:a16="http://schemas.microsoft.com/office/drawing/2014/main" id="{0618C21E-471B-BA4C-9A32-09C947BE9431}"/>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37" name="Graphic 136">
                  <a:extLst>
                    <a:ext uri="{FF2B5EF4-FFF2-40B4-BE49-F238E27FC236}">
                      <a16:creationId xmlns:a16="http://schemas.microsoft.com/office/drawing/2014/main" id="{1D728239-808A-0B4C-862B-8E8C8EFDC1C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38" name="TextBox 137">
                  <a:extLst>
                    <a:ext uri="{FF2B5EF4-FFF2-40B4-BE49-F238E27FC236}">
                      <a16:creationId xmlns:a16="http://schemas.microsoft.com/office/drawing/2014/main" id="{2DE50146-1A5A-C242-845B-1A477E0FC2F7}"/>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39" name="TextBox 138">
                  <a:extLst>
                    <a:ext uri="{FF2B5EF4-FFF2-40B4-BE49-F238E27FC236}">
                      <a16:creationId xmlns:a16="http://schemas.microsoft.com/office/drawing/2014/main" id="{7F1E0890-D66E-AF4C-A4EE-BC8248861590}"/>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40" name="TextBox 139">
                  <a:extLst>
                    <a:ext uri="{FF2B5EF4-FFF2-40B4-BE49-F238E27FC236}">
                      <a16:creationId xmlns:a16="http://schemas.microsoft.com/office/drawing/2014/main" id="{A6BB6014-5278-3B4C-AB9E-A834031F5481}"/>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21" name="Group 120">
                <a:extLst>
                  <a:ext uri="{FF2B5EF4-FFF2-40B4-BE49-F238E27FC236}">
                    <a16:creationId xmlns:a16="http://schemas.microsoft.com/office/drawing/2014/main" id="{6DAE35F0-9F0F-B740-BC72-9824D18FBCE5}"/>
                  </a:ext>
                </a:extLst>
              </p:cNvPr>
              <p:cNvGrpSpPr/>
              <p:nvPr userDrawn="1"/>
            </p:nvGrpSpPr>
            <p:grpSpPr>
              <a:xfrm>
                <a:off x="9541497" y="5812142"/>
                <a:ext cx="2735151" cy="1280928"/>
                <a:chOff x="9286315" y="6976989"/>
                <a:chExt cx="2735151" cy="1280928"/>
              </a:xfrm>
            </p:grpSpPr>
            <p:sp>
              <p:nvSpPr>
                <p:cNvPr id="130" name="Rectangle 129">
                  <a:extLst>
                    <a:ext uri="{FF2B5EF4-FFF2-40B4-BE49-F238E27FC236}">
                      <a16:creationId xmlns:a16="http://schemas.microsoft.com/office/drawing/2014/main" id="{75EB5A98-D7E3-3246-896C-BD7C101139E3}"/>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1" name="TextBox 130">
                  <a:extLst>
                    <a:ext uri="{FF2B5EF4-FFF2-40B4-BE49-F238E27FC236}">
                      <a16:creationId xmlns:a16="http://schemas.microsoft.com/office/drawing/2014/main" id="{50776269-501A-0947-87D0-CCEDC9337CD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32" name="Graphic 131">
                  <a:extLst>
                    <a:ext uri="{FF2B5EF4-FFF2-40B4-BE49-F238E27FC236}">
                      <a16:creationId xmlns:a16="http://schemas.microsoft.com/office/drawing/2014/main" id="{87F48501-5A93-374F-981B-4315F4383BB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3" name="TextBox 132">
                  <a:extLst>
                    <a:ext uri="{FF2B5EF4-FFF2-40B4-BE49-F238E27FC236}">
                      <a16:creationId xmlns:a16="http://schemas.microsoft.com/office/drawing/2014/main" id="{359DA86C-29B3-2248-B674-BD1EBB7C9A9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34" name="Picture 133">
                  <a:extLst>
                    <a:ext uri="{FF2B5EF4-FFF2-40B4-BE49-F238E27FC236}">
                      <a16:creationId xmlns:a16="http://schemas.microsoft.com/office/drawing/2014/main" id="{2139862B-48B2-7C46-9307-BA667EB073A7}"/>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2" name="Group 121">
                <a:extLst>
                  <a:ext uri="{FF2B5EF4-FFF2-40B4-BE49-F238E27FC236}">
                    <a16:creationId xmlns:a16="http://schemas.microsoft.com/office/drawing/2014/main" id="{F542BE3A-25C8-E34D-82A2-3E5EAAC9EE28}"/>
                  </a:ext>
                </a:extLst>
              </p:cNvPr>
              <p:cNvGrpSpPr/>
              <p:nvPr userDrawn="1"/>
            </p:nvGrpSpPr>
            <p:grpSpPr>
              <a:xfrm>
                <a:off x="9521833" y="2891408"/>
                <a:ext cx="2617883" cy="651460"/>
                <a:chOff x="12352022" y="513115"/>
                <a:chExt cx="2617883" cy="651460"/>
              </a:xfrm>
            </p:grpSpPr>
            <p:sp>
              <p:nvSpPr>
                <p:cNvPr id="127" name="TextBox 126">
                  <a:extLst>
                    <a:ext uri="{FF2B5EF4-FFF2-40B4-BE49-F238E27FC236}">
                      <a16:creationId xmlns:a16="http://schemas.microsoft.com/office/drawing/2014/main" id="{11FED43B-88E5-474E-9104-8C4173B493FA}"/>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28" name="TextBox 127">
                  <a:extLst>
                    <a:ext uri="{FF2B5EF4-FFF2-40B4-BE49-F238E27FC236}">
                      <a16:creationId xmlns:a16="http://schemas.microsoft.com/office/drawing/2014/main" id="{72D77D68-4988-744A-BA1D-53B1BBCE8BC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29" name="TextBox 128">
                  <a:extLst>
                    <a:ext uri="{FF2B5EF4-FFF2-40B4-BE49-F238E27FC236}">
                      <a16:creationId xmlns:a16="http://schemas.microsoft.com/office/drawing/2014/main" id="{C0677107-2EAD-8B4A-A4DC-B850078AF29D}"/>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123" name="TextBox 122">
                <a:extLst>
                  <a:ext uri="{FF2B5EF4-FFF2-40B4-BE49-F238E27FC236}">
                    <a16:creationId xmlns:a16="http://schemas.microsoft.com/office/drawing/2014/main" id="{BAEC99EA-B6F6-1646-92FB-80FE6823066D}"/>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24" name="TextBox 123">
                <a:extLst>
                  <a:ext uri="{FF2B5EF4-FFF2-40B4-BE49-F238E27FC236}">
                    <a16:creationId xmlns:a16="http://schemas.microsoft.com/office/drawing/2014/main" id="{CF9B3E9B-05D1-8848-ADE8-D02FE87F82F0}"/>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25" name="TextBox 124">
                <a:extLst>
                  <a:ext uri="{FF2B5EF4-FFF2-40B4-BE49-F238E27FC236}">
                    <a16:creationId xmlns:a16="http://schemas.microsoft.com/office/drawing/2014/main" id="{9629908E-9915-5E43-B359-FDD0D3CB4A2F}"/>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26" name="TextBox 125">
                <a:extLst>
                  <a:ext uri="{FF2B5EF4-FFF2-40B4-BE49-F238E27FC236}">
                    <a16:creationId xmlns:a16="http://schemas.microsoft.com/office/drawing/2014/main" id="{EAF0EC84-90D9-954F-ADAB-0B3094909692}"/>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107" name="TextBox 106">
              <a:extLst>
                <a:ext uri="{FF2B5EF4-FFF2-40B4-BE49-F238E27FC236}">
                  <a16:creationId xmlns:a16="http://schemas.microsoft.com/office/drawing/2014/main" id="{0141B528-2023-7140-87BB-06308B73F35E}"/>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108" name="Straight Connector 107">
              <a:extLst>
                <a:ext uri="{FF2B5EF4-FFF2-40B4-BE49-F238E27FC236}">
                  <a16:creationId xmlns:a16="http://schemas.microsoft.com/office/drawing/2014/main" id="{5BB2FFFE-D291-0E44-88F0-F0BAC043939A}"/>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9" name="Group 108">
              <a:extLst>
                <a:ext uri="{FF2B5EF4-FFF2-40B4-BE49-F238E27FC236}">
                  <a16:creationId xmlns:a16="http://schemas.microsoft.com/office/drawing/2014/main" id="{EB44AA9A-6F0C-7E41-8B8F-81618CAC427A}"/>
                </a:ext>
              </a:extLst>
            </p:cNvPr>
            <p:cNvGrpSpPr/>
            <p:nvPr userDrawn="1"/>
          </p:nvGrpSpPr>
          <p:grpSpPr>
            <a:xfrm>
              <a:off x="9554253" y="2414886"/>
              <a:ext cx="2819399" cy="1181890"/>
              <a:chOff x="9541498" y="3352649"/>
              <a:chExt cx="2819399" cy="1181890"/>
            </a:xfrm>
          </p:grpSpPr>
          <p:grpSp>
            <p:nvGrpSpPr>
              <p:cNvPr id="110" name="Group 109">
                <a:extLst>
                  <a:ext uri="{FF2B5EF4-FFF2-40B4-BE49-F238E27FC236}">
                    <a16:creationId xmlns:a16="http://schemas.microsoft.com/office/drawing/2014/main" id="{F5B9B122-6142-B94E-942E-E0B201D15CA1}"/>
                  </a:ext>
                </a:extLst>
              </p:cNvPr>
              <p:cNvGrpSpPr/>
              <p:nvPr userDrawn="1"/>
            </p:nvGrpSpPr>
            <p:grpSpPr>
              <a:xfrm>
                <a:off x="9541498" y="3352649"/>
                <a:ext cx="2735150" cy="1181890"/>
                <a:chOff x="9541498" y="3751132"/>
                <a:chExt cx="2735150" cy="1181890"/>
              </a:xfrm>
            </p:grpSpPr>
            <p:grpSp>
              <p:nvGrpSpPr>
                <p:cNvPr id="112" name="Group 111">
                  <a:extLst>
                    <a:ext uri="{FF2B5EF4-FFF2-40B4-BE49-F238E27FC236}">
                      <a16:creationId xmlns:a16="http://schemas.microsoft.com/office/drawing/2014/main" id="{7B291978-2AC5-9143-AD37-94A0197282B8}"/>
                    </a:ext>
                  </a:extLst>
                </p:cNvPr>
                <p:cNvGrpSpPr/>
                <p:nvPr userDrawn="1"/>
              </p:nvGrpSpPr>
              <p:grpSpPr>
                <a:xfrm>
                  <a:off x="9541498" y="3751132"/>
                  <a:ext cx="2735150" cy="1181890"/>
                  <a:chOff x="9296568" y="4910411"/>
                  <a:chExt cx="2735150" cy="1181890"/>
                </a:xfrm>
              </p:grpSpPr>
              <p:sp>
                <p:nvSpPr>
                  <p:cNvPr id="114" name="Rectangle 113">
                    <a:extLst>
                      <a:ext uri="{FF2B5EF4-FFF2-40B4-BE49-F238E27FC236}">
                        <a16:creationId xmlns:a16="http://schemas.microsoft.com/office/drawing/2014/main" id="{C0D2544A-D26D-3F41-BA73-D37F4F2465D4}"/>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15" name="TextBox 114">
                    <a:extLst>
                      <a:ext uri="{FF2B5EF4-FFF2-40B4-BE49-F238E27FC236}">
                        <a16:creationId xmlns:a16="http://schemas.microsoft.com/office/drawing/2014/main" id="{60035F06-47BB-404F-AB16-667FE44B13AB}"/>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16" name="TextBox 115">
                    <a:extLst>
                      <a:ext uri="{FF2B5EF4-FFF2-40B4-BE49-F238E27FC236}">
                        <a16:creationId xmlns:a16="http://schemas.microsoft.com/office/drawing/2014/main" id="{28D5443B-64CA-584A-B14F-3D6F077D622F}"/>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13" name="Graphic 112">
                  <a:extLst>
                    <a:ext uri="{FF2B5EF4-FFF2-40B4-BE49-F238E27FC236}">
                      <a16:creationId xmlns:a16="http://schemas.microsoft.com/office/drawing/2014/main" id="{86D88F2A-157A-434C-BC12-58130EFE280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11" name="Picture 110">
                <a:extLst>
                  <a:ext uri="{FF2B5EF4-FFF2-40B4-BE49-F238E27FC236}">
                    <a16:creationId xmlns:a16="http://schemas.microsoft.com/office/drawing/2014/main" id="{D10AB923-ECC0-7F44-8C4E-D2C2876526B7}"/>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51324572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4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AAA2048-EDD2-F745-AD54-211B30AB720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EEC714A-A2AD-484A-890B-76F9195C93E6}"/>
              </a:ext>
            </a:extLst>
          </p:cNvPr>
          <p:cNvSpPr>
            <a:spLocks noGrp="1"/>
          </p:cNvSpPr>
          <p:nvPr>
            <p:ph type="dt" sz="half" idx="10"/>
          </p:nvPr>
        </p:nvSpPr>
        <p:spPr/>
        <p:txBody>
          <a:bodyPr/>
          <a:lstStyle/>
          <a:p>
            <a:endParaRPr lang="en-US" dirty="0"/>
          </a:p>
        </p:txBody>
      </p:sp>
      <p:sp>
        <p:nvSpPr>
          <p:cNvPr id="4" name="Slide Number Placeholder 3">
            <a:extLst>
              <a:ext uri="{FF2B5EF4-FFF2-40B4-BE49-F238E27FC236}">
                <a16:creationId xmlns:a16="http://schemas.microsoft.com/office/drawing/2014/main" id="{93BD8BF2-2AF8-9541-BC63-26C010B37A70}"/>
              </a:ext>
            </a:extLst>
          </p:cNvPr>
          <p:cNvSpPr>
            <a:spLocks noGrp="1"/>
          </p:cNvSpPr>
          <p:nvPr>
            <p:ph type="sldNum" sz="quarter" idx="11"/>
          </p:nvPr>
        </p:nvSpPr>
        <p:spPr/>
        <p:txBody>
          <a:bodyPr/>
          <a:lstStyle/>
          <a:p>
            <a:pPr marL="12700"/>
            <a:fld id="{078C017C-E1B9-8443-B047-B08AAA027B45}" type="slidenum">
              <a:rPr lang="en-US" smtClean="0"/>
              <a:pPr marL="12700"/>
              <a:t>‹#›</a:t>
            </a:fld>
            <a:endParaRPr lang="en-US" dirty="0"/>
          </a:p>
        </p:txBody>
      </p:sp>
      <p:sp>
        <p:nvSpPr>
          <p:cNvPr id="5" name="Footer Placeholder 4">
            <a:extLst>
              <a:ext uri="{FF2B5EF4-FFF2-40B4-BE49-F238E27FC236}">
                <a16:creationId xmlns:a16="http://schemas.microsoft.com/office/drawing/2014/main" id="{AFE1AB2A-232B-AF48-94F1-8052F8A8C02C}"/>
              </a:ext>
            </a:extLst>
          </p:cNvPr>
          <p:cNvSpPr>
            <a:spLocks noGrp="1"/>
          </p:cNvSpPr>
          <p:nvPr>
            <p:ph type="ftr" sz="quarter" idx="12"/>
          </p:nvPr>
        </p:nvSpPr>
        <p:spPr/>
        <p:txBody>
          <a:bodyPr/>
          <a:lstStyle/>
          <a:p>
            <a:endParaRPr lang="en-US" dirty="0"/>
          </a:p>
        </p:txBody>
      </p:sp>
      <p:sp>
        <p:nvSpPr>
          <p:cNvPr id="6" name="Picture Placeholder 7">
            <a:extLst>
              <a:ext uri="{FF2B5EF4-FFF2-40B4-BE49-F238E27FC236}">
                <a16:creationId xmlns:a16="http://schemas.microsoft.com/office/drawing/2014/main" id="{F1CC87B0-C7F2-9F44-9F26-7CF2550160B4}"/>
              </a:ext>
            </a:extLst>
          </p:cNvPr>
          <p:cNvSpPr>
            <a:spLocks noGrp="1"/>
          </p:cNvSpPr>
          <p:nvPr>
            <p:ph type="pic" sz="quarter" idx="13" hasCustomPrompt="1"/>
          </p:nvPr>
        </p:nvSpPr>
        <p:spPr>
          <a:xfrm>
            <a:off x="1" y="1233642"/>
            <a:ext cx="3048000" cy="4931851"/>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7" name="Picture Placeholder 7">
            <a:extLst>
              <a:ext uri="{FF2B5EF4-FFF2-40B4-BE49-F238E27FC236}">
                <a16:creationId xmlns:a16="http://schemas.microsoft.com/office/drawing/2014/main" id="{41F3EA96-E39D-0348-A1BC-0B903B535508}"/>
              </a:ext>
            </a:extLst>
          </p:cNvPr>
          <p:cNvSpPr>
            <a:spLocks noGrp="1"/>
          </p:cNvSpPr>
          <p:nvPr>
            <p:ph type="pic" sz="quarter" idx="14" hasCustomPrompt="1"/>
          </p:nvPr>
        </p:nvSpPr>
        <p:spPr>
          <a:xfrm>
            <a:off x="3048112" y="1233488"/>
            <a:ext cx="3048000" cy="4932362"/>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8" name="Caption">
            <a:extLst>
              <a:ext uri="{FF2B5EF4-FFF2-40B4-BE49-F238E27FC236}">
                <a16:creationId xmlns:a16="http://schemas.microsoft.com/office/drawing/2014/main" id="{FF765415-C64D-0745-B0AB-3D196208D3B5}"/>
              </a:ext>
            </a:extLst>
          </p:cNvPr>
          <p:cNvSpPr>
            <a:spLocks noGrp="1"/>
          </p:cNvSpPr>
          <p:nvPr>
            <p:ph type="body" sz="quarter" idx="500" hasCustomPrompt="1"/>
          </p:nvPr>
        </p:nvSpPr>
        <p:spPr>
          <a:xfrm>
            <a:off x="-745" y="4545106"/>
            <a:ext cx="3048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9" name="Caption 2">
            <a:extLst>
              <a:ext uri="{FF2B5EF4-FFF2-40B4-BE49-F238E27FC236}">
                <a16:creationId xmlns:a16="http://schemas.microsoft.com/office/drawing/2014/main" id="{A058AF6A-478D-C446-8FDA-BB66BB40EFDC}"/>
              </a:ext>
            </a:extLst>
          </p:cNvPr>
          <p:cNvSpPr>
            <a:spLocks noGrp="1"/>
          </p:cNvSpPr>
          <p:nvPr>
            <p:ph type="body" sz="quarter" idx="502" hasCustomPrompt="1"/>
          </p:nvPr>
        </p:nvSpPr>
        <p:spPr>
          <a:xfrm>
            <a:off x="3047255" y="4545106"/>
            <a:ext cx="3048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10" name="Photo">
            <a:extLst>
              <a:ext uri="{FF2B5EF4-FFF2-40B4-BE49-F238E27FC236}">
                <a16:creationId xmlns:a16="http://schemas.microsoft.com/office/drawing/2014/main" id="{512A0202-78E1-D741-BC82-143227E8914D}"/>
              </a:ext>
            </a:extLst>
          </p:cNvPr>
          <p:cNvSpPr>
            <a:spLocks noGrp="1"/>
          </p:cNvSpPr>
          <p:nvPr>
            <p:ph type="pic" sz="quarter" idx="100" hasCustomPrompt="1"/>
          </p:nvPr>
        </p:nvSpPr>
        <p:spPr>
          <a:xfrm>
            <a:off x="6094989" y="1233488"/>
            <a:ext cx="3048000" cy="4932362"/>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14" name="Caption 3">
            <a:extLst>
              <a:ext uri="{FF2B5EF4-FFF2-40B4-BE49-F238E27FC236}">
                <a16:creationId xmlns:a16="http://schemas.microsoft.com/office/drawing/2014/main" id="{3D533D84-C7F7-CA45-8D50-AF88F17CA887}"/>
              </a:ext>
            </a:extLst>
          </p:cNvPr>
          <p:cNvSpPr>
            <a:spLocks noGrp="1"/>
          </p:cNvSpPr>
          <p:nvPr>
            <p:ph type="body" sz="quarter" idx="504" hasCustomPrompt="1"/>
          </p:nvPr>
        </p:nvSpPr>
        <p:spPr>
          <a:xfrm>
            <a:off x="6094508" y="4545106"/>
            <a:ext cx="3048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21" name="Photo">
            <a:extLst>
              <a:ext uri="{FF2B5EF4-FFF2-40B4-BE49-F238E27FC236}">
                <a16:creationId xmlns:a16="http://schemas.microsoft.com/office/drawing/2014/main" id="{8A6B6870-A91D-CD4C-849D-824612FE6646}"/>
              </a:ext>
            </a:extLst>
          </p:cNvPr>
          <p:cNvSpPr>
            <a:spLocks noGrp="1"/>
          </p:cNvSpPr>
          <p:nvPr>
            <p:ph type="pic" sz="quarter" idx="505" hasCustomPrompt="1"/>
          </p:nvPr>
        </p:nvSpPr>
        <p:spPr>
          <a:xfrm>
            <a:off x="9144000" y="1233488"/>
            <a:ext cx="3048000" cy="4932362"/>
          </a:xfrm>
          <a:solidFill>
            <a:schemeClr val="accent2"/>
          </a:solidFill>
        </p:spPr>
        <p:txBody>
          <a:bodyPr anchor="ctr"/>
          <a:lstStyle>
            <a:lvl1pPr algn="ctr">
              <a:defRPr b="0">
                <a:solidFill>
                  <a:schemeClr val="bg1"/>
                </a:solidFill>
              </a:defRPr>
            </a:lvl1pPr>
          </a:lstStyle>
          <a:p>
            <a:r>
              <a:rPr lang="en-US" dirty="0"/>
              <a:t>Click icon to add photo</a:t>
            </a:r>
            <a:br>
              <a:rPr lang="en-US" dirty="0"/>
            </a:br>
            <a:br>
              <a:rPr lang="en-US" dirty="0"/>
            </a:br>
            <a:br>
              <a:rPr lang="en-US" dirty="0"/>
            </a:br>
            <a:br>
              <a:rPr lang="en-US" dirty="0"/>
            </a:br>
            <a:endParaRPr lang="en-US" dirty="0"/>
          </a:p>
        </p:txBody>
      </p:sp>
      <p:sp>
        <p:nvSpPr>
          <p:cNvPr id="22" name="Caption 3">
            <a:extLst>
              <a:ext uri="{FF2B5EF4-FFF2-40B4-BE49-F238E27FC236}">
                <a16:creationId xmlns:a16="http://schemas.microsoft.com/office/drawing/2014/main" id="{8DACDE04-BA10-A24B-9665-9686CF8ADBC8}"/>
              </a:ext>
            </a:extLst>
          </p:cNvPr>
          <p:cNvSpPr>
            <a:spLocks noGrp="1"/>
          </p:cNvSpPr>
          <p:nvPr>
            <p:ph type="body" sz="quarter" idx="506" hasCustomPrompt="1"/>
          </p:nvPr>
        </p:nvSpPr>
        <p:spPr>
          <a:xfrm>
            <a:off x="9143519" y="4545106"/>
            <a:ext cx="3048000" cy="1620744"/>
          </a:xfrm>
          <a:gradFill>
            <a:gsLst>
              <a:gs pos="0">
                <a:schemeClr val="tx2">
                  <a:alpha val="0"/>
                </a:schemeClr>
              </a:gs>
              <a:gs pos="100000">
                <a:schemeClr val="tx1">
                  <a:alpha val="67000"/>
                </a:schemeClr>
              </a:gs>
            </a:gsLst>
            <a:lin ang="5400000" scaled="1"/>
          </a:gradFill>
          <a:effectLst/>
        </p:spPr>
        <p:txBody>
          <a:bodyPr wrap="square" tIns="0" rIns="180000" bIns="180000" anchor="b">
            <a:noAutofit/>
          </a:bodyPr>
          <a:lstStyle>
            <a:lvl1pPr marL="9525" indent="0" algn="r">
              <a:spcBef>
                <a:spcPts val="0"/>
              </a:spcBef>
              <a:spcAft>
                <a:spcPts val="0"/>
              </a:spcAft>
              <a:buFontTx/>
              <a:buNone/>
              <a:tabLst/>
              <a:defRPr sz="1100" b="0">
                <a:solidFill>
                  <a:schemeClr val="bg1"/>
                </a:solidFill>
                <a:effectLst/>
              </a:defRPr>
            </a:lvl1pPr>
            <a:lvl2pPr marL="9525" indent="0" algn="r">
              <a:spcBef>
                <a:spcPts val="0"/>
              </a:spcBef>
              <a:spcAft>
                <a:spcPts val="0"/>
              </a:spcAft>
              <a:buFontTx/>
              <a:buNone/>
              <a:tabLst/>
              <a:defRPr sz="1100">
                <a:solidFill>
                  <a:schemeClr val="bg1"/>
                </a:solidFill>
              </a:defRPr>
            </a:lvl2pPr>
            <a:lvl3pPr marL="9525" indent="0" algn="r">
              <a:spcBef>
                <a:spcPts val="0"/>
              </a:spcBef>
              <a:spcAft>
                <a:spcPts val="0"/>
              </a:spcAft>
              <a:buFontTx/>
              <a:buNone/>
              <a:tabLst/>
              <a:defRPr sz="1100">
                <a:solidFill>
                  <a:schemeClr val="bg1"/>
                </a:solidFill>
              </a:defRPr>
            </a:lvl3pPr>
            <a:lvl4pPr marL="9525" indent="0" algn="r">
              <a:spcBef>
                <a:spcPts val="0"/>
              </a:spcBef>
              <a:spcAft>
                <a:spcPts val="0"/>
              </a:spcAft>
              <a:buFontTx/>
              <a:buNone/>
              <a:tabLst/>
              <a:defRPr sz="1100">
                <a:solidFill>
                  <a:schemeClr val="bg1"/>
                </a:solidFill>
              </a:defRPr>
            </a:lvl4pPr>
            <a:lvl5pPr marL="9525" indent="0" algn="r">
              <a:spcBef>
                <a:spcPts val="0"/>
              </a:spcBef>
              <a:spcAft>
                <a:spcPts val="0"/>
              </a:spcAft>
              <a:buFontTx/>
              <a:buNone/>
              <a:tabLst/>
              <a:defRPr sz="1100">
                <a:solidFill>
                  <a:schemeClr val="bg1"/>
                </a:solidFill>
              </a:defRPr>
            </a:lvl5pPr>
            <a:lvl6pPr marL="9525" indent="0" algn="r">
              <a:spcBef>
                <a:spcPts val="0"/>
              </a:spcBef>
              <a:spcAft>
                <a:spcPts val="0"/>
              </a:spcAft>
              <a:buFontTx/>
              <a:buNone/>
              <a:tabLst/>
              <a:defRPr sz="1100">
                <a:solidFill>
                  <a:schemeClr val="bg1"/>
                </a:solidFill>
              </a:defRPr>
            </a:lvl6pPr>
            <a:lvl7pPr marL="9525" indent="0" algn="r">
              <a:spcBef>
                <a:spcPts val="0"/>
              </a:spcBef>
              <a:spcAft>
                <a:spcPts val="0"/>
              </a:spcAft>
              <a:buFontTx/>
              <a:buNone/>
              <a:tabLst/>
              <a:defRPr sz="1100">
                <a:solidFill>
                  <a:schemeClr val="bg1"/>
                </a:solidFill>
              </a:defRPr>
            </a:lvl7pPr>
            <a:lvl8pPr marL="9525" indent="0" algn="r">
              <a:spcBef>
                <a:spcPts val="0"/>
              </a:spcBef>
              <a:spcAft>
                <a:spcPts val="0"/>
              </a:spcAft>
              <a:buFontTx/>
              <a:buNone/>
              <a:tabLst/>
              <a:defRPr sz="1100">
                <a:solidFill>
                  <a:schemeClr val="bg1"/>
                </a:solidFill>
              </a:defRPr>
            </a:lvl8pPr>
            <a:lvl9pPr marL="9525" indent="0" algn="r">
              <a:spcBef>
                <a:spcPts val="0"/>
              </a:spcBef>
              <a:spcAft>
                <a:spcPts val="0"/>
              </a:spcAft>
              <a:buFontTx/>
              <a:buNone/>
              <a:tabLst/>
              <a:defRPr sz="1100">
                <a:solidFill>
                  <a:schemeClr val="bg1"/>
                </a:solidFill>
              </a:defRPr>
            </a:lvl9pPr>
          </a:lstStyle>
          <a:p>
            <a:pPr lvl="0"/>
            <a:r>
              <a:rPr lang="en-US" dirty="0"/>
              <a:t>Click to add photo caption</a:t>
            </a:r>
          </a:p>
        </p:txBody>
      </p:sp>
      <p:grpSp>
        <p:nvGrpSpPr>
          <p:cNvPr id="29" name="Group 28">
            <a:extLst>
              <a:ext uri="{FF2B5EF4-FFF2-40B4-BE49-F238E27FC236}">
                <a16:creationId xmlns:a16="http://schemas.microsoft.com/office/drawing/2014/main" id="{6BE6425A-D6B1-9C42-9FF8-6B1BDD2111E9}"/>
              </a:ext>
            </a:extLst>
          </p:cNvPr>
          <p:cNvGrpSpPr/>
          <p:nvPr userDrawn="1"/>
        </p:nvGrpSpPr>
        <p:grpSpPr>
          <a:xfrm>
            <a:off x="12532243" y="-1"/>
            <a:ext cx="3832280" cy="6858001"/>
            <a:chOff x="9144000" y="-1"/>
            <a:chExt cx="2874210" cy="6858001"/>
          </a:xfrm>
        </p:grpSpPr>
        <p:sp>
          <p:nvSpPr>
            <p:cNvPr id="30" name="Rectangle 29">
              <a:extLst>
                <a:ext uri="{FF2B5EF4-FFF2-40B4-BE49-F238E27FC236}">
                  <a16:creationId xmlns:a16="http://schemas.microsoft.com/office/drawing/2014/main" id="{A7F06CD3-CF26-EE4B-AB60-DED6C8D6F9CC}"/>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grpSp>
          <p:nvGrpSpPr>
            <p:cNvPr id="31" name="Group 30">
              <a:extLst>
                <a:ext uri="{FF2B5EF4-FFF2-40B4-BE49-F238E27FC236}">
                  <a16:creationId xmlns:a16="http://schemas.microsoft.com/office/drawing/2014/main" id="{217B8F47-0053-A745-BC3E-BCEAB1D8AEE6}"/>
                </a:ext>
              </a:extLst>
            </p:cNvPr>
            <p:cNvGrpSpPr/>
            <p:nvPr userDrawn="1"/>
          </p:nvGrpSpPr>
          <p:grpSpPr>
            <a:xfrm>
              <a:off x="9263395" y="150289"/>
              <a:ext cx="2754815" cy="6013825"/>
              <a:chOff x="9266651" y="185338"/>
              <a:chExt cx="2754815" cy="6013825"/>
            </a:xfrm>
          </p:grpSpPr>
          <p:sp>
            <p:nvSpPr>
              <p:cNvPr id="32" name="TextBox 31">
                <a:extLst>
                  <a:ext uri="{FF2B5EF4-FFF2-40B4-BE49-F238E27FC236}">
                    <a16:creationId xmlns:a16="http://schemas.microsoft.com/office/drawing/2014/main" id="{28FE4F0B-DDA2-8A4A-B29A-667129CFB748}"/>
                  </a:ext>
                </a:extLst>
              </p:cNvPr>
              <p:cNvSpPr txBox="1"/>
              <p:nvPr userDrawn="1"/>
            </p:nvSpPr>
            <p:spPr>
              <a:xfrm>
                <a:off x="9303325" y="18533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33" name="Straight Connector 32">
                <a:extLst>
                  <a:ext uri="{FF2B5EF4-FFF2-40B4-BE49-F238E27FC236}">
                    <a16:creationId xmlns:a16="http://schemas.microsoft.com/office/drawing/2014/main" id="{E121F88A-F599-904C-A272-C9075C810E00}"/>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1E2A20B4-C22E-1E43-AC20-7640AF790E7F}"/>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35" name="Group 34">
                <a:extLst>
                  <a:ext uri="{FF2B5EF4-FFF2-40B4-BE49-F238E27FC236}">
                    <a16:creationId xmlns:a16="http://schemas.microsoft.com/office/drawing/2014/main" id="{F09AC02A-BB41-5548-8D57-D0FEF0DA6D92}"/>
                  </a:ext>
                </a:extLst>
              </p:cNvPr>
              <p:cNvGrpSpPr/>
              <p:nvPr userDrawn="1"/>
            </p:nvGrpSpPr>
            <p:grpSpPr>
              <a:xfrm>
                <a:off x="9286315" y="4787848"/>
                <a:ext cx="2735151" cy="1411315"/>
                <a:chOff x="9296567" y="4910411"/>
                <a:chExt cx="2735151" cy="1411315"/>
              </a:xfrm>
            </p:grpSpPr>
            <p:sp>
              <p:nvSpPr>
                <p:cNvPr id="50" name="Rectangle 49">
                  <a:extLst>
                    <a:ext uri="{FF2B5EF4-FFF2-40B4-BE49-F238E27FC236}">
                      <a16:creationId xmlns:a16="http://schemas.microsoft.com/office/drawing/2014/main" id="{A2683D67-4490-A94E-AE4F-6D1857C59756}"/>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1" name="TextBox 50">
                  <a:extLst>
                    <a:ext uri="{FF2B5EF4-FFF2-40B4-BE49-F238E27FC236}">
                      <a16:creationId xmlns:a16="http://schemas.microsoft.com/office/drawing/2014/main" id="{12A1897F-4969-9E45-86B4-067CA6602E6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2" name="Graphic 51">
                  <a:extLst>
                    <a:ext uri="{FF2B5EF4-FFF2-40B4-BE49-F238E27FC236}">
                      <a16:creationId xmlns:a16="http://schemas.microsoft.com/office/drawing/2014/main" id="{35439718-B1E3-AB45-AB2F-F8E48DE0FF8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53" name="TextBox 52">
                  <a:extLst>
                    <a:ext uri="{FF2B5EF4-FFF2-40B4-BE49-F238E27FC236}">
                      <a16:creationId xmlns:a16="http://schemas.microsoft.com/office/drawing/2014/main" id="{A522DBD7-CBEB-9B4E-8695-A6A03805465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4" name="TextBox 53">
                  <a:extLst>
                    <a:ext uri="{FF2B5EF4-FFF2-40B4-BE49-F238E27FC236}">
                      <a16:creationId xmlns:a16="http://schemas.microsoft.com/office/drawing/2014/main" id="{98CFD1B1-8CD1-0542-9C92-6F1880C4EB6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5" name="TextBox 54">
                  <a:extLst>
                    <a:ext uri="{FF2B5EF4-FFF2-40B4-BE49-F238E27FC236}">
                      <a16:creationId xmlns:a16="http://schemas.microsoft.com/office/drawing/2014/main" id="{0344AA54-A017-0344-AD5A-AF7F251893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36" name="Group 35">
                <a:extLst>
                  <a:ext uri="{FF2B5EF4-FFF2-40B4-BE49-F238E27FC236}">
                    <a16:creationId xmlns:a16="http://schemas.microsoft.com/office/drawing/2014/main" id="{99C4C35A-48AA-1544-8019-14E037D79E1D}"/>
                  </a:ext>
                </a:extLst>
              </p:cNvPr>
              <p:cNvGrpSpPr/>
              <p:nvPr userDrawn="1"/>
            </p:nvGrpSpPr>
            <p:grpSpPr>
              <a:xfrm>
                <a:off x="9286315" y="3431192"/>
                <a:ext cx="2735151" cy="1280928"/>
                <a:chOff x="9286315" y="6976989"/>
                <a:chExt cx="2735151" cy="1280928"/>
              </a:xfrm>
            </p:grpSpPr>
            <p:sp>
              <p:nvSpPr>
                <p:cNvPr id="45" name="Rectangle 44">
                  <a:extLst>
                    <a:ext uri="{FF2B5EF4-FFF2-40B4-BE49-F238E27FC236}">
                      <a16:creationId xmlns:a16="http://schemas.microsoft.com/office/drawing/2014/main" id="{271FFA37-2AB4-2B40-A550-905F9F08D77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6" name="TextBox 45">
                  <a:extLst>
                    <a:ext uri="{FF2B5EF4-FFF2-40B4-BE49-F238E27FC236}">
                      <a16:creationId xmlns:a16="http://schemas.microsoft.com/office/drawing/2014/main" id="{34AF0656-4B26-B84A-8E33-57265E5F7B8C}"/>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7" name="Graphic 46">
                  <a:extLst>
                    <a:ext uri="{FF2B5EF4-FFF2-40B4-BE49-F238E27FC236}">
                      <a16:creationId xmlns:a16="http://schemas.microsoft.com/office/drawing/2014/main" id="{BB8498F9-B3B1-2549-B8AF-550228F9FF0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8" name="TextBox 47">
                  <a:extLst>
                    <a:ext uri="{FF2B5EF4-FFF2-40B4-BE49-F238E27FC236}">
                      <a16:creationId xmlns:a16="http://schemas.microsoft.com/office/drawing/2014/main" id="{F28684BB-60A4-6244-8ACD-8932E203844A}"/>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9" name="Picture 48">
                  <a:extLst>
                    <a:ext uri="{FF2B5EF4-FFF2-40B4-BE49-F238E27FC236}">
                      <a16:creationId xmlns:a16="http://schemas.microsoft.com/office/drawing/2014/main" id="{D7AB3508-106A-0C4F-B290-C3FBA222A5E2}"/>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7" name="Group 36">
                <a:extLst>
                  <a:ext uri="{FF2B5EF4-FFF2-40B4-BE49-F238E27FC236}">
                    <a16:creationId xmlns:a16="http://schemas.microsoft.com/office/drawing/2014/main" id="{71727728-ED63-FC48-ACDE-061C8C673F89}"/>
                  </a:ext>
                </a:extLst>
              </p:cNvPr>
              <p:cNvGrpSpPr/>
              <p:nvPr userDrawn="1"/>
            </p:nvGrpSpPr>
            <p:grpSpPr>
              <a:xfrm>
                <a:off x="9266651" y="510458"/>
                <a:ext cx="2617883" cy="651460"/>
                <a:chOff x="12352022" y="513115"/>
                <a:chExt cx="2617883" cy="651460"/>
              </a:xfrm>
            </p:grpSpPr>
            <p:sp>
              <p:nvSpPr>
                <p:cNvPr id="42" name="TextBox 41">
                  <a:extLst>
                    <a:ext uri="{FF2B5EF4-FFF2-40B4-BE49-F238E27FC236}">
                      <a16:creationId xmlns:a16="http://schemas.microsoft.com/office/drawing/2014/main" id="{2FB9D382-9D7F-1D47-8087-B98355D54A4D}"/>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3" name="TextBox 42">
                  <a:extLst>
                    <a:ext uri="{FF2B5EF4-FFF2-40B4-BE49-F238E27FC236}">
                      <a16:creationId xmlns:a16="http://schemas.microsoft.com/office/drawing/2014/main" id="{7B579028-EE0C-DC47-AB28-DFF135019071}"/>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4" name="TextBox 43">
                  <a:extLst>
                    <a:ext uri="{FF2B5EF4-FFF2-40B4-BE49-F238E27FC236}">
                      <a16:creationId xmlns:a16="http://schemas.microsoft.com/office/drawing/2014/main" id="{DB620138-9FB3-B145-8A69-1A634C89385E}"/>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38" name="TextBox 37">
                <a:extLst>
                  <a:ext uri="{FF2B5EF4-FFF2-40B4-BE49-F238E27FC236}">
                    <a16:creationId xmlns:a16="http://schemas.microsoft.com/office/drawing/2014/main" id="{C8D89CE9-6754-7A40-B9BD-2DF033C4391A}"/>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9" name="TextBox 38">
                <a:extLst>
                  <a:ext uri="{FF2B5EF4-FFF2-40B4-BE49-F238E27FC236}">
                    <a16:creationId xmlns:a16="http://schemas.microsoft.com/office/drawing/2014/main" id="{D2FF0306-7D0A-034E-A536-BECA596486DD}"/>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40" name="TextBox 39">
                <a:extLst>
                  <a:ext uri="{FF2B5EF4-FFF2-40B4-BE49-F238E27FC236}">
                    <a16:creationId xmlns:a16="http://schemas.microsoft.com/office/drawing/2014/main" id="{97CD2AB1-6289-C941-96B2-D6EE69AE6141}"/>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41" name="TextBox 40">
                <a:extLst>
                  <a:ext uri="{FF2B5EF4-FFF2-40B4-BE49-F238E27FC236}">
                    <a16:creationId xmlns:a16="http://schemas.microsoft.com/office/drawing/2014/main" id="{9754A378-846E-7E44-B72A-0009F5AF6D76}"/>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389126869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ontent and Photo">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423DF32C-150B-B744-A7E1-5C3269E4E6AA}"/>
              </a:ext>
            </a:extLst>
          </p:cNvPr>
          <p:cNvSpPr>
            <a:spLocks noGrp="1"/>
          </p:cNvSpPr>
          <p:nvPr>
            <p:ph type="pic" sz="quarter" idx="25" hasCustomPrompt="1"/>
          </p:nvPr>
        </p:nvSpPr>
        <p:spPr>
          <a:xfrm>
            <a:off x="6383867" y="1112839"/>
            <a:ext cx="5808133" cy="5053013"/>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1"/>
                </a:solidFill>
              </a:defRPr>
            </a:lvl1pPr>
          </a:lstStyle>
          <a:p>
            <a:r>
              <a:rPr lang="en-US" dirty="0"/>
              <a:t>Click icon to add photo</a:t>
            </a:r>
          </a:p>
        </p:txBody>
      </p:sp>
      <p:sp>
        <p:nvSpPr>
          <p:cNvPr id="3" name="Title 2">
            <a:extLst>
              <a:ext uri="{FF2B5EF4-FFF2-40B4-BE49-F238E27FC236}">
                <a16:creationId xmlns:a16="http://schemas.microsoft.com/office/drawing/2014/main" id="{44C2598A-7FBA-894D-9FD9-C59942BC6A93}"/>
              </a:ext>
            </a:extLst>
          </p:cNvPr>
          <p:cNvSpPr>
            <a:spLocks noGrp="1"/>
          </p:cNvSpPr>
          <p:nvPr>
            <p:ph type="title" hasCustomPrompt="1"/>
          </p:nvPr>
        </p:nvSpPr>
        <p:spPr/>
        <p:txBody>
          <a:bodyPr/>
          <a:lstStyle>
            <a:lvl1pPr>
              <a:defRPr/>
            </a:lvl1pPr>
          </a:lstStyle>
          <a:p>
            <a:r>
              <a:rPr lang="en-US" dirty="0"/>
              <a:t>CLICK TO ADD Slide TITLE. ALL CAPS. TWO LINES max.</a:t>
            </a:r>
          </a:p>
        </p:txBody>
      </p:sp>
      <p:sp>
        <p:nvSpPr>
          <p:cNvPr id="1000" name="Footnotes Placeholder">
            <a:extLst>
              <a:ext uri="{FF2B5EF4-FFF2-40B4-BE49-F238E27FC236}">
                <a16:creationId xmlns:a16="http://schemas.microsoft.com/office/drawing/2014/main" id="{78B27A02-1C02-184E-8B71-04A32B7B0FFF}"/>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500" name="Caption">
            <a:extLst>
              <a:ext uri="{FF2B5EF4-FFF2-40B4-BE49-F238E27FC236}">
                <a16:creationId xmlns:a16="http://schemas.microsoft.com/office/drawing/2014/main" id="{E3703CA0-7C6E-BE4A-9549-3CD18BE408F5}"/>
              </a:ext>
            </a:extLst>
          </p:cNvPr>
          <p:cNvSpPr>
            <a:spLocks noGrp="1"/>
          </p:cNvSpPr>
          <p:nvPr>
            <p:ph type="body" sz="quarter" idx="500" hasCustomPrompt="1"/>
          </p:nvPr>
        </p:nvSpPr>
        <p:spPr>
          <a:xfrm>
            <a:off x="7947046" y="5812143"/>
            <a:ext cx="3657167"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6" name="Date Placeholder 5">
            <a:extLst>
              <a:ext uri="{FF2B5EF4-FFF2-40B4-BE49-F238E27FC236}">
                <a16:creationId xmlns:a16="http://schemas.microsoft.com/office/drawing/2014/main" id="{77B9ACC9-FEEA-594F-95EA-7E74907FD326}"/>
              </a:ext>
            </a:extLst>
          </p:cNvPr>
          <p:cNvSpPr>
            <a:spLocks noGrp="1"/>
          </p:cNvSpPr>
          <p:nvPr>
            <p:ph type="dt" sz="half" idx="101"/>
          </p:nvPr>
        </p:nvSpPr>
        <p:spPr/>
        <p:txBody>
          <a:bodyPr/>
          <a:lstStyle/>
          <a:p>
            <a:endParaRPr lang="en-US" dirty="0"/>
          </a:p>
        </p:txBody>
      </p:sp>
      <p:sp>
        <p:nvSpPr>
          <p:cNvPr id="7" name="Footer Placeholder 6">
            <a:extLst>
              <a:ext uri="{FF2B5EF4-FFF2-40B4-BE49-F238E27FC236}">
                <a16:creationId xmlns:a16="http://schemas.microsoft.com/office/drawing/2014/main" id="{4DC1EDE3-F4CF-9F41-BC8A-2E7BCECD6FFF}"/>
              </a:ext>
            </a:extLst>
          </p:cNvPr>
          <p:cNvSpPr>
            <a:spLocks noGrp="1"/>
          </p:cNvSpPr>
          <p:nvPr>
            <p:ph type="ftr" sz="quarter" idx="102"/>
          </p:nvPr>
        </p:nvSpPr>
        <p:spPr/>
        <p:txBody>
          <a:bodyPr/>
          <a:lstStyle/>
          <a:p>
            <a:endParaRPr lang="en-US" dirty="0"/>
          </a:p>
        </p:txBody>
      </p:sp>
      <p:sp>
        <p:nvSpPr>
          <p:cNvPr id="9" name="Slide Number Placeholder 8">
            <a:extLst>
              <a:ext uri="{FF2B5EF4-FFF2-40B4-BE49-F238E27FC236}">
                <a16:creationId xmlns:a16="http://schemas.microsoft.com/office/drawing/2014/main" id="{ADC54D9D-3175-B84D-96C6-75A1EF65E81A}"/>
              </a:ext>
            </a:extLst>
          </p:cNvPr>
          <p:cNvSpPr>
            <a:spLocks noGrp="1"/>
          </p:cNvSpPr>
          <p:nvPr>
            <p:ph type="sldNum" sz="quarter" idx="1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200" name="First Content Placeholder">
            <a:extLst>
              <a:ext uri="{FF2B5EF4-FFF2-40B4-BE49-F238E27FC236}">
                <a16:creationId xmlns:a16="http://schemas.microsoft.com/office/drawing/2014/main" id="{1C1B5872-F27A-8540-9155-0506D8591D38}"/>
              </a:ext>
            </a:extLst>
          </p:cNvPr>
          <p:cNvSpPr>
            <a:spLocks noGrp="1"/>
          </p:cNvSpPr>
          <p:nvPr>
            <p:ph type="body" sz="quarter" idx="200"/>
          </p:nvPr>
        </p:nvSpPr>
        <p:spPr>
          <a:xfrm>
            <a:off x="575733" y="1233488"/>
            <a:ext cx="5520267"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24" name="Group 123">
            <a:extLst>
              <a:ext uri="{FF2B5EF4-FFF2-40B4-BE49-F238E27FC236}">
                <a16:creationId xmlns:a16="http://schemas.microsoft.com/office/drawing/2014/main" id="{4733A701-C28D-D14B-8A54-4FABF63CD244}"/>
              </a:ext>
            </a:extLst>
          </p:cNvPr>
          <p:cNvGrpSpPr/>
          <p:nvPr userDrawn="1"/>
        </p:nvGrpSpPr>
        <p:grpSpPr>
          <a:xfrm>
            <a:off x="12532243" y="-2"/>
            <a:ext cx="3965960" cy="9769405"/>
            <a:chOff x="9399182" y="-2"/>
            <a:chExt cx="2974470" cy="9769405"/>
          </a:xfrm>
        </p:grpSpPr>
        <p:sp>
          <p:nvSpPr>
            <p:cNvPr id="125" name="Rectangle 124">
              <a:extLst>
                <a:ext uri="{FF2B5EF4-FFF2-40B4-BE49-F238E27FC236}">
                  <a16:creationId xmlns:a16="http://schemas.microsoft.com/office/drawing/2014/main" id="{751DA6CE-8EF3-4A45-8D22-D0DF488812BC}"/>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126" name="Picture 125">
              <a:extLst>
                <a:ext uri="{FF2B5EF4-FFF2-40B4-BE49-F238E27FC236}">
                  <a16:creationId xmlns:a16="http://schemas.microsoft.com/office/drawing/2014/main" id="{B1044BAF-5A45-8449-B9C7-80FE332259FA}"/>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127" name="Group 126">
              <a:extLst>
                <a:ext uri="{FF2B5EF4-FFF2-40B4-BE49-F238E27FC236}">
                  <a16:creationId xmlns:a16="http://schemas.microsoft.com/office/drawing/2014/main" id="{BA68E120-F0E4-E945-800D-04C9368C1492}"/>
                </a:ext>
              </a:extLst>
            </p:cNvPr>
            <p:cNvGrpSpPr/>
            <p:nvPr userDrawn="1"/>
          </p:nvGrpSpPr>
          <p:grpSpPr>
            <a:xfrm>
              <a:off x="9541497" y="162442"/>
              <a:ext cx="2819400" cy="814510"/>
              <a:chOff x="-3644733" y="165205"/>
              <a:chExt cx="2819400" cy="814510"/>
            </a:xfrm>
          </p:grpSpPr>
          <p:sp>
            <p:nvSpPr>
              <p:cNvPr id="163" name="Rectangle 162">
                <a:extLst>
                  <a:ext uri="{FF2B5EF4-FFF2-40B4-BE49-F238E27FC236}">
                    <a16:creationId xmlns:a16="http://schemas.microsoft.com/office/drawing/2014/main" id="{A2492CFD-ACE4-D440-8AB8-5C71505FB95A}"/>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64" name="TextBox 163">
                <a:extLst>
                  <a:ext uri="{FF2B5EF4-FFF2-40B4-BE49-F238E27FC236}">
                    <a16:creationId xmlns:a16="http://schemas.microsoft.com/office/drawing/2014/main" id="{D4154661-313C-224F-BD94-A7239272105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65" name="Picture 164">
                <a:extLst>
                  <a:ext uri="{FF2B5EF4-FFF2-40B4-BE49-F238E27FC236}">
                    <a16:creationId xmlns:a16="http://schemas.microsoft.com/office/drawing/2014/main" id="{73A77609-877B-8A42-8CB0-F890A6AF4803}"/>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128" name="Group 127">
              <a:extLst>
                <a:ext uri="{FF2B5EF4-FFF2-40B4-BE49-F238E27FC236}">
                  <a16:creationId xmlns:a16="http://schemas.microsoft.com/office/drawing/2014/main" id="{B5788AF6-D5BE-4D46-A7FD-EEA5EC2271BC}"/>
                </a:ext>
              </a:extLst>
            </p:cNvPr>
            <p:cNvGrpSpPr/>
            <p:nvPr userDrawn="1"/>
          </p:nvGrpSpPr>
          <p:grpSpPr>
            <a:xfrm>
              <a:off x="9521833" y="3755578"/>
              <a:ext cx="2754815" cy="6013825"/>
              <a:chOff x="9521833" y="2566288"/>
              <a:chExt cx="2754815" cy="6013825"/>
            </a:xfrm>
          </p:grpSpPr>
          <p:sp>
            <p:nvSpPr>
              <p:cNvPr id="139" name="TextBox 138">
                <a:extLst>
                  <a:ext uri="{FF2B5EF4-FFF2-40B4-BE49-F238E27FC236}">
                    <a16:creationId xmlns:a16="http://schemas.microsoft.com/office/drawing/2014/main" id="{40357B56-9945-894E-8D94-FE78A1E1BBDA}"/>
                  </a:ext>
                </a:extLst>
              </p:cNvPr>
              <p:cNvSpPr txBox="1"/>
              <p:nvPr userDrawn="1"/>
            </p:nvSpPr>
            <p:spPr>
              <a:xfrm>
                <a:off x="9558507" y="256628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140" name="Straight Connector 139">
                <a:extLst>
                  <a:ext uri="{FF2B5EF4-FFF2-40B4-BE49-F238E27FC236}">
                    <a16:creationId xmlns:a16="http://schemas.microsoft.com/office/drawing/2014/main" id="{C48E1D43-565E-C748-AA09-8B2024B0024A}"/>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41" name="TextBox 140">
                <a:extLst>
                  <a:ext uri="{FF2B5EF4-FFF2-40B4-BE49-F238E27FC236}">
                    <a16:creationId xmlns:a16="http://schemas.microsoft.com/office/drawing/2014/main" id="{9609B6B1-808D-2F47-BA9D-5471F55D00F3}"/>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42" name="Group 141">
                <a:extLst>
                  <a:ext uri="{FF2B5EF4-FFF2-40B4-BE49-F238E27FC236}">
                    <a16:creationId xmlns:a16="http://schemas.microsoft.com/office/drawing/2014/main" id="{B05A4C93-6C32-F549-B7C2-5264AE3CC159}"/>
                  </a:ext>
                </a:extLst>
              </p:cNvPr>
              <p:cNvGrpSpPr/>
              <p:nvPr userDrawn="1"/>
            </p:nvGrpSpPr>
            <p:grpSpPr>
              <a:xfrm>
                <a:off x="9541497" y="7168798"/>
                <a:ext cx="2735151" cy="1411315"/>
                <a:chOff x="9296567" y="4910411"/>
                <a:chExt cx="2735151" cy="1411315"/>
              </a:xfrm>
            </p:grpSpPr>
            <p:sp>
              <p:nvSpPr>
                <p:cNvPr id="157" name="Rectangle 156">
                  <a:extLst>
                    <a:ext uri="{FF2B5EF4-FFF2-40B4-BE49-F238E27FC236}">
                      <a16:creationId xmlns:a16="http://schemas.microsoft.com/office/drawing/2014/main" id="{BDC5CF10-ABF4-3548-B7A9-AFF61FDC6756}"/>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58" name="TextBox 157">
                  <a:extLst>
                    <a:ext uri="{FF2B5EF4-FFF2-40B4-BE49-F238E27FC236}">
                      <a16:creationId xmlns:a16="http://schemas.microsoft.com/office/drawing/2014/main" id="{697C1DF9-78D8-F946-8AEA-97C6739BC23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59" name="Graphic 158">
                  <a:extLst>
                    <a:ext uri="{FF2B5EF4-FFF2-40B4-BE49-F238E27FC236}">
                      <a16:creationId xmlns:a16="http://schemas.microsoft.com/office/drawing/2014/main" id="{5C2FF1FF-B1B7-6545-806F-1BDC3027171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60" name="TextBox 159">
                  <a:extLst>
                    <a:ext uri="{FF2B5EF4-FFF2-40B4-BE49-F238E27FC236}">
                      <a16:creationId xmlns:a16="http://schemas.microsoft.com/office/drawing/2014/main" id="{FA3C0A73-D511-3B49-8AC7-02179A31268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1" name="TextBox 160">
                  <a:extLst>
                    <a:ext uri="{FF2B5EF4-FFF2-40B4-BE49-F238E27FC236}">
                      <a16:creationId xmlns:a16="http://schemas.microsoft.com/office/drawing/2014/main" id="{8EA9CE81-F075-DE47-82D8-6F158387D04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2" name="TextBox 161">
                  <a:extLst>
                    <a:ext uri="{FF2B5EF4-FFF2-40B4-BE49-F238E27FC236}">
                      <a16:creationId xmlns:a16="http://schemas.microsoft.com/office/drawing/2014/main" id="{78807420-9DBC-9A45-8A89-7CD0F4D92B9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43" name="Group 142">
                <a:extLst>
                  <a:ext uri="{FF2B5EF4-FFF2-40B4-BE49-F238E27FC236}">
                    <a16:creationId xmlns:a16="http://schemas.microsoft.com/office/drawing/2014/main" id="{5C351591-2472-904B-8759-942A88D16B9D}"/>
                  </a:ext>
                </a:extLst>
              </p:cNvPr>
              <p:cNvGrpSpPr/>
              <p:nvPr userDrawn="1"/>
            </p:nvGrpSpPr>
            <p:grpSpPr>
              <a:xfrm>
                <a:off x="9541497" y="5812142"/>
                <a:ext cx="2735151" cy="1280928"/>
                <a:chOff x="9286315" y="6976989"/>
                <a:chExt cx="2735151" cy="1280928"/>
              </a:xfrm>
            </p:grpSpPr>
            <p:sp>
              <p:nvSpPr>
                <p:cNvPr id="152" name="Rectangle 151">
                  <a:extLst>
                    <a:ext uri="{FF2B5EF4-FFF2-40B4-BE49-F238E27FC236}">
                      <a16:creationId xmlns:a16="http://schemas.microsoft.com/office/drawing/2014/main" id="{BE2203C4-AADF-9846-8B18-491BE1A24360}"/>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53" name="TextBox 152">
                  <a:extLst>
                    <a:ext uri="{FF2B5EF4-FFF2-40B4-BE49-F238E27FC236}">
                      <a16:creationId xmlns:a16="http://schemas.microsoft.com/office/drawing/2014/main" id="{0030A937-6F39-054A-AED5-ADF5A04739AF}"/>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54" name="Graphic 153">
                  <a:extLst>
                    <a:ext uri="{FF2B5EF4-FFF2-40B4-BE49-F238E27FC236}">
                      <a16:creationId xmlns:a16="http://schemas.microsoft.com/office/drawing/2014/main" id="{0537737C-2115-B947-9A78-0777F840E7B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55" name="TextBox 154">
                  <a:extLst>
                    <a:ext uri="{FF2B5EF4-FFF2-40B4-BE49-F238E27FC236}">
                      <a16:creationId xmlns:a16="http://schemas.microsoft.com/office/drawing/2014/main" id="{8BA15225-069B-8742-A8D7-CAC9185D509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56" name="Picture 155">
                  <a:extLst>
                    <a:ext uri="{FF2B5EF4-FFF2-40B4-BE49-F238E27FC236}">
                      <a16:creationId xmlns:a16="http://schemas.microsoft.com/office/drawing/2014/main" id="{8144153B-0D79-E944-B51D-5835E26BED66}"/>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44" name="Group 143">
                <a:extLst>
                  <a:ext uri="{FF2B5EF4-FFF2-40B4-BE49-F238E27FC236}">
                    <a16:creationId xmlns:a16="http://schemas.microsoft.com/office/drawing/2014/main" id="{E9E4EBA5-7235-1749-BE4E-7F57283F44A6}"/>
                  </a:ext>
                </a:extLst>
              </p:cNvPr>
              <p:cNvGrpSpPr/>
              <p:nvPr userDrawn="1"/>
            </p:nvGrpSpPr>
            <p:grpSpPr>
              <a:xfrm>
                <a:off x="9521833" y="2891408"/>
                <a:ext cx="2617883" cy="651460"/>
                <a:chOff x="12352022" y="513115"/>
                <a:chExt cx="2617883" cy="651460"/>
              </a:xfrm>
            </p:grpSpPr>
            <p:sp>
              <p:nvSpPr>
                <p:cNvPr id="149" name="TextBox 148">
                  <a:extLst>
                    <a:ext uri="{FF2B5EF4-FFF2-40B4-BE49-F238E27FC236}">
                      <a16:creationId xmlns:a16="http://schemas.microsoft.com/office/drawing/2014/main" id="{F2698A1D-5AA4-DC44-9F55-CBD096FE57F1}"/>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50" name="TextBox 149">
                  <a:extLst>
                    <a:ext uri="{FF2B5EF4-FFF2-40B4-BE49-F238E27FC236}">
                      <a16:creationId xmlns:a16="http://schemas.microsoft.com/office/drawing/2014/main" id="{3AE86D23-8305-5A45-A571-52B2F5C0990D}"/>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51" name="TextBox 150">
                  <a:extLst>
                    <a:ext uri="{FF2B5EF4-FFF2-40B4-BE49-F238E27FC236}">
                      <a16:creationId xmlns:a16="http://schemas.microsoft.com/office/drawing/2014/main" id="{C22F969C-FAF1-8246-BD84-28276607268B}"/>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145" name="TextBox 144">
                <a:extLst>
                  <a:ext uri="{FF2B5EF4-FFF2-40B4-BE49-F238E27FC236}">
                    <a16:creationId xmlns:a16="http://schemas.microsoft.com/office/drawing/2014/main" id="{94AAA41A-0A99-B540-9DFB-E702DDC79CE0}"/>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46" name="TextBox 145">
                <a:extLst>
                  <a:ext uri="{FF2B5EF4-FFF2-40B4-BE49-F238E27FC236}">
                    <a16:creationId xmlns:a16="http://schemas.microsoft.com/office/drawing/2014/main" id="{4FB277D0-59CC-B04A-AF4B-F5F46BEA5970}"/>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47" name="TextBox 146">
                <a:extLst>
                  <a:ext uri="{FF2B5EF4-FFF2-40B4-BE49-F238E27FC236}">
                    <a16:creationId xmlns:a16="http://schemas.microsoft.com/office/drawing/2014/main" id="{D2A1627A-335B-1447-896B-7A24744C3AFE}"/>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48" name="TextBox 147">
                <a:extLst>
                  <a:ext uri="{FF2B5EF4-FFF2-40B4-BE49-F238E27FC236}">
                    <a16:creationId xmlns:a16="http://schemas.microsoft.com/office/drawing/2014/main" id="{D1D1A24B-457A-C34F-BF91-92618BD9AA84}"/>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129" name="TextBox 128">
              <a:extLst>
                <a:ext uri="{FF2B5EF4-FFF2-40B4-BE49-F238E27FC236}">
                  <a16:creationId xmlns:a16="http://schemas.microsoft.com/office/drawing/2014/main" id="{44275E70-9A90-8248-B103-32F4FC330EA0}"/>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130" name="Straight Connector 129">
              <a:extLst>
                <a:ext uri="{FF2B5EF4-FFF2-40B4-BE49-F238E27FC236}">
                  <a16:creationId xmlns:a16="http://schemas.microsoft.com/office/drawing/2014/main" id="{3206D460-1991-A942-841E-D63D3918283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31" name="Group 130">
              <a:extLst>
                <a:ext uri="{FF2B5EF4-FFF2-40B4-BE49-F238E27FC236}">
                  <a16:creationId xmlns:a16="http://schemas.microsoft.com/office/drawing/2014/main" id="{F4DDB051-6B6F-BC48-8BB7-4040D84AAB04}"/>
                </a:ext>
              </a:extLst>
            </p:cNvPr>
            <p:cNvGrpSpPr/>
            <p:nvPr userDrawn="1"/>
          </p:nvGrpSpPr>
          <p:grpSpPr>
            <a:xfrm>
              <a:off x="9554253" y="2414886"/>
              <a:ext cx="2819399" cy="1181890"/>
              <a:chOff x="9541498" y="3352649"/>
              <a:chExt cx="2819399" cy="1181890"/>
            </a:xfrm>
          </p:grpSpPr>
          <p:grpSp>
            <p:nvGrpSpPr>
              <p:cNvPr id="132" name="Group 131">
                <a:extLst>
                  <a:ext uri="{FF2B5EF4-FFF2-40B4-BE49-F238E27FC236}">
                    <a16:creationId xmlns:a16="http://schemas.microsoft.com/office/drawing/2014/main" id="{766FADBE-8E34-814E-96B3-2AEADDB68211}"/>
                  </a:ext>
                </a:extLst>
              </p:cNvPr>
              <p:cNvGrpSpPr/>
              <p:nvPr userDrawn="1"/>
            </p:nvGrpSpPr>
            <p:grpSpPr>
              <a:xfrm>
                <a:off x="9541498" y="3352649"/>
                <a:ext cx="2735150" cy="1181890"/>
                <a:chOff x="9541498" y="3751132"/>
                <a:chExt cx="2735150" cy="1181890"/>
              </a:xfrm>
            </p:grpSpPr>
            <p:grpSp>
              <p:nvGrpSpPr>
                <p:cNvPr id="134" name="Group 133">
                  <a:extLst>
                    <a:ext uri="{FF2B5EF4-FFF2-40B4-BE49-F238E27FC236}">
                      <a16:creationId xmlns:a16="http://schemas.microsoft.com/office/drawing/2014/main" id="{AD0934A4-4B6D-554D-99CA-06DCE1F3AD20}"/>
                    </a:ext>
                  </a:extLst>
                </p:cNvPr>
                <p:cNvGrpSpPr/>
                <p:nvPr userDrawn="1"/>
              </p:nvGrpSpPr>
              <p:grpSpPr>
                <a:xfrm>
                  <a:off x="9541498" y="3751132"/>
                  <a:ext cx="2735150" cy="1181890"/>
                  <a:chOff x="9296568" y="4910411"/>
                  <a:chExt cx="2735150" cy="1181890"/>
                </a:xfrm>
              </p:grpSpPr>
              <p:sp>
                <p:nvSpPr>
                  <p:cNvPr id="136" name="Rectangle 135">
                    <a:extLst>
                      <a:ext uri="{FF2B5EF4-FFF2-40B4-BE49-F238E27FC236}">
                        <a16:creationId xmlns:a16="http://schemas.microsoft.com/office/drawing/2014/main" id="{53182B15-F43E-0147-B7E0-9BED83FA6B88}"/>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7" name="TextBox 136">
                    <a:extLst>
                      <a:ext uri="{FF2B5EF4-FFF2-40B4-BE49-F238E27FC236}">
                        <a16:creationId xmlns:a16="http://schemas.microsoft.com/office/drawing/2014/main" id="{A7FE4E2B-60F9-B74B-9322-B2A84ADC3AEC}"/>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38" name="TextBox 137">
                    <a:extLst>
                      <a:ext uri="{FF2B5EF4-FFF2-40B4-BE49-F238E27FC236}">
                        <a16:creationId xmlns:a16="http://schemas.microsoft.com/office/drawing/2014/main" id="{45C5FDA9-51EB-994D-A9B6-D74A75ECC8CA}"/>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35" name="Graphic 134">
                  <a:extLst>
                    <a:ext uri="{FF2B5EF4-FFF2-40B4-BE49-F238E27FC236}">
                      <a16:creationId xmlns:a16="http://schemas.microsoft.com/office/drawing/2014/main" id="{10990A9D-3395-D041-92DA-7AF631B63208}"/>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33" name="Picture 132">
                <a:extLst>
                  <a:ext uri="{FF2B5EF4-FFF2-40B4-BE49-F238E27FC236}">
                    <a16:creationId xmlns:a16="http://schemas.microsoft.com/office/drawing/2014/main" id="{A163CE1E-05FE-3244-A292-D0B3E311C30C}"/>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347833874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fault Text Over Photo">
    <p:bg>
      <p:bgPr>
        <a:solidFill>
          <a:schemeClr val="bg1"/>
        </a:solidFill>
        <a:effectLst/>
      </p:bgPr>
    </p:bg>
    <p:spTree>
      <p:nvGrpSpPr>
        <p:cNvPr id="1" name=""/>
        <p:cNvGrpSpPr/>
        <p:nvPr/>
      </p:nvGrpSpPr>
      <p:grpSpPr>
        <a:xfrm>
          <a:off x="0" y="0"/>
          <a:ext cx="0" cy="0"/>
          <a:chOff x="0" y="0"/>
          <a:chExt cx="0" cy="0"/>
        </a:xfrm>
      </p:grpSpPr>
      <p:sp>
        <p:nvSpPr>
          <p:cNvPr id="49" name="TextBox 48">
            <a:extLst>
              <a:ext uri="{FF2B5EF4-FFF2-40B4-BE49-F238E27FC236}">
                <a16:creationId xmlns:a16="http://schemas.microsoft.com/office/drawing/2014/main" id="{53978DEE-ECAD-2749-B8B1-A2F8338F3B0F}"/>
              </a:ext>
            </a:extLst>
          </p:cNvPr>
          <p:cNvSpPr txBox="1">
            <a:spLocks/>
          </p:cNvSpPr>
          <p:nvPr userDrawn="1"/>
        </p:nvSpPr>
        <p:spPr>
          <a:xfrm>
            <a:off x="0" y="6200777"/>
            <a:ext cx="12192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1400" dirty="0"/>
          </a:p>
        </p:txBody>
      </p:sp>
      <p:sp>
        <p:nvSpPr>
          <p:cNvPr id="59" name="Picture Placeholder 58">
            <a:extLst>
              <a:ext uri="{FF2B5EF4-FFF2-40B4-BE49-F238E27FC236}">
                <a16:creationId xmlns:a16="http://schemas.microsoft.com/office/drawing/2014/main" id="{AEA78B6A-E41B-1349-9FFB-DF8D93561279}"/>
              </a:ext>
            </a:extLst>
          </p:cNvPr>
          <p:cNvSpPr>
            <a:spLocks noGrp="1"/>
          </p:cNvSpPr>
          <p:nvPr>
            <p:ph type="pic" sz="quarter" idx="10" hasCustomPrompt="1"/>
          </p:nvPr>
        </p:nvSpPr>
        <p:spPr>
          <a:xfrm>
            <a:off x="0" y="1112838"/>
            <a:ext cx="12192000" cy="5745162"/>
          </a:xfrm>
          <a:custGeom>
            <a:avLst/>
            <a:gdLst>
              <a:gd name="connsiteX0" fmla="*/ 8381735 w 9144000"/>
              <a:gd name="connsiteY0" fmla="*/ 5463184 h 5745162"/>
              <a:gd name="connsiteX1" fmla="*/ 8398942 w 9144000"/>
              <a:gd name="connsiteY1" fmla="*/ 5465039 h 5745162"/>
              <a:gd name="connsiteX2" fmla="*/ 8407847 w 9144000"/>
              <a:gd name="connsiteY2" fmla="*/ 5471828 h 5745162"/>
              <a:gd name="connsiteX3" fmla="*/ 8413547 w 9144000"/>
              <a:gd name="connsiteY3" fmla="*/ 5482153 h 5745162"/>
              <a:gd name="connsiteX4" fmla="*/ 8415584 w 9144000"/>
              <a:gd name="connsiteY4" fmla="*/ 5495365 h 5745162"/>
              <a:gd name="connsiteX5" fmla="*/ 8413646 w 9144000"/>
              <a:gd name="connsiteY5" fmla="*/ 5508436 h 5745162"/>
              <a:gd name="connsiteX6" fmla="*/ 8407947 w 9144000"/>
              <a:gd name="connsiteY6" fmla="*/ 5518831 h 5745162"/>
              <a:gd name="connsiteX7" fmla="*/ 8375887 w 9144000"/>
              <a:gd name="connsiteY7" fmla="*/ 5525676 h 5745162"/>
              <a:gd name="connsiteX8" fmla="*/ 8366910 w 9144000"/>
              <a:gd name="connsiteY8" fmla="*/ 5518831 h 5745162"/>
              <a:gd name="connsiteX9" fmla="*/ 8361211 w 9144000"/>
              <a:gd name="connsiteY9" fmla="*/ 5508436 h 5745162"/>
              <a:gd name="connsiteX10" fmla="*/ 8359045 w 9144000"/>
              <a:gd name="connsiteY10" fmla="*/ 5495365 h 5745162"/>
              <a:gd name="connsiteX11" fmla="*/ 8361097 w 9144000"/>
              <a:gd name="connsiteY11" fmla="*/ 5482153 h 5745162"/>
              <a:gd name="connsiteX12" fmla="*/ 8366796 w 9144000"/>
              <a:gd name="connsiteY12" fmla="*/ 5471828 h 5745162"/>
              <a:gd name="connsiteX13" fmla="*/ 8381735 w 9144000"/>
              <a:gd name="connsiteY13" fmla="*/ 5463184 h 5745162"/>
              <a:gd name="connsiteX14" fmla="*/ 8525633 w 9144000"/>
              <a:gd name="connsiteY14" fmla="*/ 5440648 h 5745162"/>
              <a:gd name="connsiteX15" fmla="*/ 8525633 w 9144000"/>
              <a:gd name="connsiteY15" fmla="*/ 5486594 h 5745162"/>
              <a:gd name="connsiteX16" fmla="*/ 8525633 w 9144000"/>
              <a:gd name="connsiteY16" fmla="*/ 5549935 h 5745162"/>
              <a:gd name="connsiteX17" fmla="*/ 8595623 w 9144000"/>
              <a:gd name="connsiteY17" fmla="*/ 5549935 h 5745162"/>
              <a:gd name="connsiteX18" fmla="*/ 8596022 w 9144000"/>
              <a:gd name="connsiteY18" fmla="*/ 5549935 h 5745162"/>
              <a:gd name="connsiteX19" fmla="*/ 8596022 w 9144000"/>
              <a:gd name="connsiteY19" fmla="*/ 5532934 h 5745162"/>
              <a:gd name="connsiteX20" fmla="*/ 8595623 w 9144000"/>
              <a:gd name="connsiteY20" fmla="*/ 5532934 h 5745162"/>
              <a:gd name="connsiteX21" fmla="*/ 8595623 w 9144000"/>
              <a:gd name="connsiteY21" fmla="*/ 5526836 h 5745162"/>
              <a:gd name="connsiteX22" fmla="*/ 8551295 w 9144000"/>
              <a:gd name="connsiteY22" fmla="*/ 5526836 h 5745162"/>
              <a:gd name="connsiteX23" fmla="*/ 8551295 w 9144000"/>
              <a:gd name="connsiteY23" fmla="*/ 5505511 h 5745162"/>
              <a:gd name="connsiteX24" fmla="*/ 8591705 w 9144000"/>
              <a:gd name="connsiteY24" fmla="*/ 5505511 h 5745162"/>
              <a:gd name="connsiteX25" fmla="*/ 8591705 w 9144000"/>
              <a:gd name="connsiteY25" fmla="*/ 5483439 h 5745162"/>
              <a:gd name="connsiteX26" fmla="*/ 8551295 w 9144000"/>
              <a:gd name="connsiteY26" fmla="*/ 5483439 h 5745162"/>
              <a:gd name="connsiteX27" fmla="*/ 8551295 w 9144000"/>
              <a:gd name="connsiteY27" fmla="*/ 5463917 h 5745162"/>
              <a:gd name="connsiteX28" fmla="*/ 8595623 w 9144000"/>
              <a:gd name="connsiteY28" fmla="*/ 5463917 h 5745162"/>
              <a:gd name="connsiteX29" fmla="*/ 8595623 w 9144000"/>
              <a:gd name="connsiteY29" fmla="*/ 5457649 h 5745162"/>
              <a:gd name="connsiteX30" fmla="*/ 8596022 w 9144000"/>
              <a:gd name="connsiteY30" fmla="*/ 5457649 h 5745162"/>
              <a:gd name="connsiteX31" fmla="*/ 8596022 w 9144000"/>
              <a:gd name="connsiteY31" fmla="*/ 5440648 h 5745162"/>
              <a:gd name="connsiteX32" fmla="*/ 8595623 w 9144000"/>
              <a:gd name="connsiteY32" fmla="*/ 5440648 h 5745162"/>
              <a:gd name="connsiteX33" fmla="*/ 8547362 w 9144000"/>
              <a:gd name="connsiteY33" fmla="*/ 5440648 h 5745162"/>
              <a:gd name="connsiteX34" fmla="*/ 8448177 w 9144000"/>
              <a:gd name="connsiteY34" fmla="*/ 5440648 h 5745162"/>
              <a:gd name="connsiteX35" fmla="*/ 8448177 w 9144000"/>
              <a:gd name="connsiteY35" fmla="*/ 5486594 h 5745162"/>
              <a:gd name="connsiteX36" fmla="*/ 8448177 w 9144000"/>
              <a:gd name="connsiteY36" fmla="*/ 5549935 h 5745162"/>
              <a:gd name="connsiteX37" fmla="*/ 8518167 w 9144000"/>
              <a:gd name="connsiteY37" fmla="*/ 5549935 h 5745162"/>
              <a:gd name="connsiteX38" fmla="*/ 8518552 w 9144000"/>
              <a:gd name="connsiteY38" fmla="*/ 5549935 h 5745162"/>
              <a:gd name="connsiteX39" fmla="*/ 8518552 w 9144000"/>
              <a:gd name="connsiteY39" fmla="*/ 5532934 h 5745162"/>
              <a:gd name="connsiteX40" fmla="*/ 8518167 w 9144000"/>
              <a:gd name="connsiteY40" fmla="*/ 5532934 h 5745162"/>
              <a:gd name="connsiteX41" fmla="*/ 8518167 w 9144000"/>
              <a:gd name="connsiteY41" fmla="*/ 5526836 h 5745162"/>
              <a:gd name="connsiteX42" fmla="*/ 8473825 w 9144000"/>
              <a:gd name="connsiteY42" fmla="*/ 5526836 h 5745162"/>
              <a:gd name="connsiteX43" fmla="*/ 8473825 w 9144000"/>
              <a:gd name="connsiteY43" fmla="*/ 5505511 h 5745162"/>
              <a:gd name="connsiteX44" fmla="*/ 8514235 w 9144000"/>
              <a:gd name="connsiteY44" fmla="*/ 5505511 h 5745162"/>
              <a:gd name="connsiteX45" fmla="*/ 8514235 w 9144000"/>
              <a:gd name="connsiteY45" fmla="*/ 5483439 h 5745162"/>
              <a:gd name="connsiteX46" fmla="*/ 8473825 w 9144000"/>
              <a:gd name="connsiteY46" fmla="*/ 5483439 h 5745162"/>
              <a:gd name="connsiteX47" fmla="*/ 8473825 w 9144000"/>
              <a:gd name="connsiteY47" fmla="*/ 5463917 h 5745162"/>
              <a:gd name="connsiteX48" fmla="*/ 8518167 w 9144000"/>
              <a:gd name="connsiteY48" fmla="*/ 5463917 h 5745162"/>
              <a:gd name="connsiteX49" fmla="*/ 8518167 w 9144000"/>
              <a:gd name="connsiteY49" fmla="*/ 5457649 h 5745162"/>
              <a:gd name="connsiteX50" fmla="*/ 8518552 w 9144000"/>
              <a:gd name="connsiteY50" fmla="*/ 5457649 h 5745162"/>
              <a:gd name="connsiteX51" fmla="*/ 8518552 w 9144000"/>
              <a:gd name="connsiteY51" fmla="*/ 5440648 h 5745162"/>
              <a:gd name="connsiteX52" fmla="*/ 8518167 w 9144000"/>
              <a:gd name="connsiteY52" fmla="*/ 5440648 h 5745162"/>
              <a:gd name="connsiteX53" fmla="*/ 8469892 w 9144000"/>
              <a:gd name="connsiteY53" fmla="*/ 5440648 h 5745162"/>
              <a:gd name="connsiteX54" fmla="*/ 8387913 w 9144000"/>
              <a:gd name="connsiteY54" fmla="*/ 5440615 h 5745162"/>
              <a:gd name="connsiteX55" fmla="*/ 8365286 w 9144000"/>
              <a:gd name="connsiteY55" fmla="*/ 5444841 h 5745162"/>
              <a:gd name="connsiteX56" fmla="*/ 8357150 w 9144000"/>
              <a:gd name="connsiteY56" fmla="*/ 5448968 h 5745162"/>
              <a:gd name="connsiteX57" fmla="*/ 8332784 w 9144000"/>
              <a:gd name="connsiteY57" fmla="*/ 5500534 h 5745162"/>
              <a:gd name="connsiteX58" fmla="*/ 8336389 w 9144000"/>
              <a:gd name="connsiteY58" fmla="*/ 5517014 h 5745162"/>
              <a:gd name="connsiteX59" fmla="*/ 8364431 w 9144000"/>
              <a:gd name="connsiteY59" fmla="*/ 5545747 h 5745162"/>
              <a:gd name="connsiteX60" fmla="*/ 8386916 w 9144000"/>
              <a:gd name="connsiteY60" fmla="*/ 5549973 h 5745162"/>
              <a:gd name="connsiteX61" fmla="*/ 8409486 w 9144000"/>
              <a:gd name="connsiteY61" fmla="*/ 5545747 h 5745162"/>
              <a:gd name="connsiteX62" fmla="*/ 8426926 w 9144000"/>
              <a:gd name="connsiteY62" fmla="*/ 5534268 h 5745162"/>
              <a:gd name="connsiteX63" fmla="*/ 8438240 w 9144000"/>
              <a:gd name="connsiteY63" fmla="*/ 5517014 h 5745162"/>
              <a:gd name="connsiteX64" fmla="*/ 8442258 w 9144000"/>
              <a:gd name="connsiteY64" fmla="*/ 5495365 h 5745162"/>
              <a:gd name="connsiteX65" fmla="*/ 8438397 w 9144000"/>
              <a:gd name="connsiteY65" fmla="*/ 5473631 h 5745162"/>
              <a:gd name="connsiteX66" fmla="*/ 8427439 w 9144000"/>
              <a:gd name="connsiteY66" fmla="*/ 5456320 h 5745162"/>
              <a:gd name="connsiteX67" fmla="*/ 8410341 w 9144000"/>
              <a:gd name="connsiteY67" fmla="*/ 5444841 h 5745162"/>
              <a:gd name="connsiteX68" fmla="*/ 8387913 w 9144000"/>
              <a:gd name="connsiteY68" fmla="*/ 5440615 h 5745162"/>
              <a:gd name="connsiteX69" fmla="*/ 8245203 w 9144000"/>
              <a:gd name="connsiteY69" fmla="*/ 5440268 h 5745162"/>
              <a:gd name="connsiteX70" fmla="*/ 8261546 w 9144000"/>
              <a:gd name="connsiteY70" fmla="*/ 5474340 h 5745162"/>
              <a:gd name="connsiteX71" fmla="*/ 8288505 w 9144000"/>
              <a:gd name="connsiteY71" fmla="*/ 5474340 h 5745162"/>
              <a:gd name="connsiteX72" fmla="*/ 8274156 w 9144000"/>
              <a:gd name="connsiteY72" fmla="*/ 5440268 h 5745162"/>
              <a:gd name="connsiteX73" fmla="*/ 8325053 w 9144000"/>
              <a:gd name="connsiteY73" fmla="*/ 5440254 h 5745162"/>
              <a:gd name="connsiteX74" fmla="*/ 8299363 w 9144000"/>
              <a:gd name="connsiteY74" fmla="*/ 5499384 h 5745162"/>
              <a:gd name="connsiteX75" fmla="*/ 8292395 w 9144000"/>
              <a:gd name="connsiteY75" fmla="*/ 5483045 h 5745162"/>
              <a:gd name="connsiteX76" fmla="*/ 8265650 w 9144000"/>
              <a:gd name="connsiteY76" fmla="*/ 5483045 h 5745162"/>
              <a:gd name="connsiteX77" fmla="*/ 8297582 w 9144000"/>
              <a:gd name="connsiteY77" fmla="*/ 5549710 h 5745162"/>
              <a:gd name="connsiteX78" fmla="*/ 8300545 w 9144000"/>
              <a:gd name="connsiteY78" fmla="*/ 5549710 h 5745162"/>
              <a:gd name="connsiteX79" fmla="*/ 8352283 w 9144000"/>
              <a:gd name="connsiteY79" fmla="*/ 5440254 h 5745162"/>
              <a:gd name="connsiteX80" fmla="*/ 8704282 w 9144000"/>
              <a:gd name="connsiteY80" fmla="*/ 5402716 h 5745162"/>
              <a:gd name="connsiteX81" fmla="*/ 8704282 w 9144000"/>
              <a:gd name="connsiteY81" fmla="*/ 5577644 h 5745162"/>
              <a:gd name="connsiteX82" fmla="*/ 8723671 w 9144000"/>
              <a:gd name="connsiteY82" fmla="*/ 5577644 h 5745162"/>
              <a:gd name="connsiteX83" fmla="*/ 8723671 w 9144000"/>
              <a:gd name="connsiteY83" fmla="*/ 5402716 h 5745162"/>
              <a:gd name="connsiteX84" fmla="*/ 0 w 9144000"/>
              <a:gd name="connsiteY84" fmla="*/ 0 h 5745162"/>
              <a:gd name="connsiteX85" fmla="*/ 9144000 w 9144000"/>
              <a:gd name="connsiteY85" fmla="*/ 0 h 5745162"/>
              <a:gd name="connsiteX86" fmla="*/ 9144000 w 9144000"/>
              <a:gd name="connsiteY86" fmla="*/ 5101843 h 5745162"/>
              <a:gd name="connsiteX87" fmla="*/ 9144000 w 9144000"/>
              <a:gd name="connsiteY87" fmla="*/ 5284313 h 5745162"/>
              <a:gd name="connsiteX88" fmla="*/ 9144000 w 9144000"/>
              <a:gd name="connsiteY88" fmla="*/ 5288954 h 5745162"/>
              <a:gd name="connsiteX89" fmla="*/ 9144000 w 9144000"/>
              <a:gd name="connsiteY89" fmla="*/ 5322124 h 5745162"/>
              <a:gd name="connsiteX90" fmla="*/ 9144000 w 9144000"/>
              <a:gd name="connsiteY90" fmla="*/ 5745162 h 5745162"/>
              <a:gd name="connsiteX91" fmla="*/ 8995529 w 9144000"/>
              <a:gd name="connsiteY91" fmla="*/ 5745162 h 5745162"/>
              <a:gd name="connsiteX92" fmla="*/ 7924718 w 9144000"/>
              <a:gd name="connsiteY92" fmla="*/ 5745162 h 5745162"/>
              <a:gd name="connsiteX93" fmla="*/ 0 w 9144000"/>
              <a:gd name="connsiteY93" fmla="*/ 5745162 h 5745162"/>
              <a:gd name="connsiteX94" fmla="*/ 0 w 9144000"/>
              <a:gd name="connsiteY94" fmla="*/ 5322124 h 5745162"/>
              <a:gd name="connsiteX95" fmla="*/ 0 w 9144000"/>
              <a:gd name="connsiteY95" fmla="*/ 5288954 h 5745162"/>
              <a:gd name="connsiteX96" fmla="*/ 0 w 9144000"/>
              <a:gd name="connsiteY96" fmla="*/ 5284313 h 5745162"/>
              <a:gd name="connsiteX97" fmla="*/ 0 w 9144000"/>
              <a:gd name="connsiteY97" fmla="*/ 5101843 h 5745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144000" h="5745162">
                <a:moveTo>
                  <a:pt x="8381735" y="5463184"/>
                </a:moveTo>
                <a:cubicBezTo>
                  <a:pt x="8387385" y="5461991"/>
                  <a:pt x="8393413" y="5462547"/>
                  <a:pt x="8398942" y="5465039"/>
                </a:cubicBezTo>
                <a:cubicBezTo>
                  <a:pt x="8402361" y="5466657"/>
                  <a:pt x="8405396" y="5468970"/>
                  <a:pt x="8407847" y="5471828"/>
                </a:cubicBezTo>
                <a:cubicBezTo>
                  <a:pt x="8410387" y="5474885"/>
                  <a:pt x="8412320" y="5478388"/>
                  <a:pt x="8413547" y="5482153"/>
                </a:cubicBezTo>
                <a:cubicBezTo>
                  <a:pt x="8414952" y="5486417"/>
                  <a:pt x="8415640" y="5490880"/>
                  <a:pt x="8415584" y="5495365"/>
                </a:cubicBezTo>
                <a:cubicBezTo>
                  <a:pt x="8415665" y="5499797"/>
                  <a:pt x="8415011" y="5504213"/>
                  <a:pt x="8413646" y="5508436"/>
                </a:cubicBezTo>
                <a:cubicBezTo>
                  <a:pt x="8412411" y="5512218"/>
                  <a:pt x="8410478" y="5515742"/>
                  <a:pt x="8407947" y="5518831"/>
                </a:cubicBezTo>
                <a:cubicBezTo>
                  <a:pt x="8399972" y="5527877"/>
                  <a:pt x="8386928" y="5530662"/>
                  <a:pt x="8375887" y="5525676"/>
                </a:cubicBezTo>
                <a:cubicBezTo>
                  <a:pt x="8372423" y="5524073"/>
                  <a:pt x="8369358" y="5521736"/>
                  <a:pt x="8366910" y="5518831"/>
                </a:cubicBezTo>
                <a:cubicBezTo>
                  <a:pt x="8364379" y="5515742"/>
                  <a:pt x="8362446" y="5512218"/>
                  <a:pt x="8361211" y="5508436"/>
                </a:cubicBezTo>
                <a:cubicBezTo>
                  <a:pt x="8359769" y="5504225"/>
                  <a:pt x="8359038" y="5499809"/>
                  <a:pt x="8359045" y="5495365"/>
                </a:cubicBezTo>
                <a:cubicBezTo>
                  <a:pt x="8358993" y="5490879"/>
                  <a:pt x="8359686" y="5486416"/>
                  <a:pt x="8361097" y="5482153"/>
                </a:cubicBezTo>
                <a:cubicBezTo>
                  <a:pt x="8362323" y="5478388"/>
                  <a:pt x="8364257" y="5474885"/>
                  <a:pt x="8366796" y="5471828"/>
                </a:cubicBezTo>
                <a:cubicBezTo>
                  <a:pt x="8370813" y="5467320"/>
                  <a:pt x="8376085" y="5464377"/>
                  <a:pt x="8381735" y="5463184"/>
                </a:cubicBezTo>
                <a:close/>
                <a:moveTo>
                  <a:pt x="8525633" y="5440648"/>
                </a:moveTo>
                <a:lnTo>
                  <a:pt x="8525633" y="5486594"/>
                </a:lnTo>
                <a:lnTo>
                  <a:pt x="8525633" y="5549935"/>
                </a:lnTo>
                <a:lnTo>
                  <a:pt x="8595623" y="5549935"/>
                </a:lnTo>
                <a:lnTo>
                  <a:pt x="8596022" y="5549935"/>
                </a:lnTo>
                <a:lnTo>
                  <a:pt x="8596022" y="5532934"/>
                </a:lnTo>
                <a:lnTo>
                  <a:pt x="8595623" y="5532934"/>
                </a:lnTo>
                <a:lnTo>
                  <a:pt x="8595623" y="5526836"/>
                </a:lnTo>
                <a:lnTo>
                  <a:pt x="8551295" y="5526836"/>
                </a:lnTo>
                <a:lnTo>
                  <a:pt x="8551295" y="5505511"/>
                </a:lnTo>
                <a:lnTo>
                  <a:pt x="8591705" y="5505511"/>
                </a:lnTo>
                <a:lnTo>
                  <a:pt x="8591705" y="5483439"/>
                </a:lnTo>
                <a:lnTo>
                  <a:pt x="8551295" y="5483439"/>
                </a:lnTo>
                <a:lnTo>
                  <a:pt x="8551295" y="5463917"/>
                </a:lnTo>
                <a:lnTo>
                  <a:pt x="8595623" y="5463917"/>
                </a:lnTo>
                <a:lnTo>
                  <a:pt x="8595623" y="5457649"/>
                </a:lnTo>
                <a:lnTo>
                  <a:pt x="8596022" y="5457649"/>
                </a:lnTo>
                <a:lnTo>
                  <a:pt x="8596022" y="5440648"/>
                </a:lnTo>
                <a:lnTo>
                  <a:pt x="8595623" y="5440648"/>
                </a:lnTo>
                <a:lnTo>
                  <a:pt x="8547362" y="5440648"/>
                </a:lnTo>
                <a:close/>
                <a:moveTo>
                  <a:pt x="8448177" y="5440648"/>
                </a:moveTo>
                <a:lnTo>
                  <a:pt x="8448177" y="5486594"/>
                </a:lnTo>
                <a:lnTo>
                  <a:pt x="8448177" y="5549935"/>
                </a:lnTo>
                <a:lnTo>
                  <a:pt x="8518167" y="5549935"/>
                </a:lnTo>
                <a:lnTo>
                  <a:pt x="8518552" y="5549935"/>
                </a:lnTo>
                <a:lnTo>
                  <a:pt x="8518552" y="5532934"/>
                </a:lnTo>
                <a:lnTo>
                  <a:pt x="8518167" y="5532934"/>
                </a:lnTo>
                <a:lnTo>
                  <a:pt x="8518167" y="5526836"/>
                </a:lnTo>
                <a:lnTo>
                  <a:pt x="8473825" y="5526836"/>
                </a:lnTo>
                <a:lnTo>
                  <a:pt x="8473825" y="5505511"/>
                </a:lnTo>
                <a:lnTo>
                  <a:pt x="8514235" y="5505511"/>
                </a:lnTo>
                <a:lnTo>
                  <a:pt x="8514235" y="5483439"/>
                </a:lnTo>
                <a:lnTo>
                  <a:pt x="8473825" y="5483439"/>
                </a:lnTo>
                <a:lnTo>
                  <a:pt x="8473825" y="5463917"/>
                </a:lnTo>
                <a:lnTo>
                  <a:pt x="8518167" y="5463917"/>
                </a:lnTo>
                <a:lnTo>
                  <a:pt x="8518167" y="5457649"/>
                </a:lnTo>
                <a:lnTo>
                  <a:pt x="8518552" y="5457649"/>
                </a:lnTo>
                <a:lnTo>
                  <a:pt x="8518552" y="5440648"/>
                </a:lnTo>
                <a:lnTo>
                  <a:pt x="8518167" y="5440648"/>
                </a:lnTo>
                <a:lnTo>
                  <a:pt x="8469892" y="5440648"/>
                </a:lnTo>
                <a:close/>
                <a:moveTo>
                  <a:pt x="8387913" y="5440615"/>
                </a:moveTo>
                <a:cubicBezTo>
                  <a:pt x="8380162" y="5440531"/>
                  <a:pt x="8372471" y="5441967"/>
                  <a:pt x="8365286" y="5444841"/>
                </a:cubicBezTo>
                <a:cubicBezTo>
                  <a:pt x="8362463" y="5445992"/>
                  <a:pt x="8359742" y="5447373"/>
                  <a:pt x="8357150" y="5448968"/>
                </a:cubicBezTo>
                <a:lnTo>
                  <a:pt x="8332784" y="5500534"/>
                </a:lnTo>
                <a:cubicBezTo>
                  <a:pt x="8333178" y="5506170"/>
                  <a:pt x="8334392" y="5511720"/>
                  <a:pt x="8336389" y="5517014"/>
                </a:cubicBezTo>
                <a:cubicBezTo>
                  <a:pt x="8341193" y="5530088"/>
                  <a:pt x="8351385" y="5540532"/>
                  <a:pt x="8364431" y="5545747"/>
                </a:cubicBezTo>
                <a:cubicBezTo>
                  <a:pt x="8371564" y="5548631"/>
                  <a:pt x="8379210" y="5550068"/>
                  <a:pt x="8386916" y="5549973"/>
                </a:cubicBezTo>
                <a:cubicBezTo>
                  <a:pt x="8394648" y="5550060"/>
                  <a:pt x="8402321" y="5548624"/>
                  <a:pt x="8409486" y="5545747"/>
                </a:cubicBezTo>
                <a:cubicBezTo>
                  <a:pt x="8416013" y="5543105"/>
                  <a:pt x="8421943" y="5539203"/>
                  <a:pt x="8426926" y="5534268"/>
                </a:cubicBezTo>
                <a:cubicBezTo>
                  <a:pt x="8431850" y="5529341"/>
                  <a:pt x="8435700" y="5523468"/>
                  <a:pt x="8438240" y="5517014"/>
                </a:cubicBezTo>
                <a:cubicBezTo>
                  <a:pt x="8440974" y="5510120"/>
                  <a:pt x="8442338" y="5502769"/>
                  <a:pt x="8442258" y="5495365"/>
                </a:cubicBezTo>
                <a:cubicBezTo>
                  <a:pt x="8442328" y="5487947"/>
                  <a:pt x="8441019" y="5480581"/>
                  <a:pt x="8438397" y="5473631"/>
                </a:cubicBezTo>
                <a:cubicBezTo>
                  <a:pt x="8435967" y="5467187"/>
                  <a:pt x="8432239" y="5461298"/>
                  <a:pt x="8427439" y="5456320"/>
                </a:cubicBezTo>
                <a:cubicBezTo>
                  <a:pt x="8422597" y="5451374"/>
                  <a:pt x="8416777" y="5447467"/>
                  <a:pt x="8410341" y="5444841"/>
                </a:cubicBezTo>
                <a:cubicBezTo>
                  <a:pt x="8403230" y="5441951"/>
                  <a:pt x="8395601" y="5440514"/>
                  <a:pt x="8387913" y="5440615"/>
                </a:cubicBezTo>
                <a:close/>
                <a:moveTo>
                  <a:pt x="8245203" y="5440268"/>
                </a:moveTo>
                <a:lnTo>
                  <a:pt x="8261546" y="5474340"/>
                </a:lnTo>
                <a:lnTo>
                  <a:pt x="8288505" y="5474340"/>
                </a:lnTo>
                <a:lnTo>
                  <a:pt x="8274156" y="5440268"/>
                </a:lnTo>
                <a:close/>
                <a:moveTo>
                  <a:pt x="8325053" y="5440254"/>
                </a:moveTo>
                <a:lnTo>
                  <a:pt x="8299363" y="5499384"/>
                </a:lnTo>
                <a:lnTo>
                  <a:pt x="8292395" y="5483045"/>
                </a:lnTo>
                <a:lnTo>
                  <a:pt x="8265650" y="5483045"/>
                </a:lnTo>
                <a:lnTo>
                  <a:pt x="8297582" y="5549710"/>
                </a:lnTo>
                <a:lnTo>
                  <a:pt x="8300545" y="5549710"/>
                </a:lnTo>
                <a:lnTo>
                  <a:pt x="8352283" y="5440254"/>
                </a:lnTo>
                <a:close/>
                <a:moveTo>
                  <a:pt x="8704282" y="5402716"/>
                </a:moveTo>
                <a:lnTo>
                  <a:pt x="8704282" y="5577644"/>
                </a:lnTo>
                <a:lnTo>
                  <a:pt x="8723671" y="5577644"/>
                </a:lnTo>
                <a:lnTo>
                  <a:pt x="8723671" y="5402716"/>
                </a:lnTo>
                <a:close/>
                <a:moveTo>
                  <a:pt x="0" y="0"/>
                </a:moveTo>
                <a:lnTo>
                  <a:pt x="9144000" y="0"/>
                </a:lnTo>
                <a:lnTo>
                  <a:pt x="9144000" y="5101843"/>
                </a:lnTo>
                <a:lnTo>
                  <a:pt x="9144000" y="5284313"/>
                </a:lnTo>
                <a:lnTo>
                  <a:pt x="9144000" y="5288954"/>
                </a:lnTo>
                <a:lnTo>
                  <a:pt x="9144000" y="5322124"/>
                </a:lnTo>
                <a:lnTo>
                  <a:pt x="9144000" y="5745162"/>
                </a:lnTo>
                <a:lnTo>
                  <a:pt x="8995529" y="5745162"/>
                </a:lnTo>
                <a:lnTo>
                  <a:pt x="7924718" y="5745162"/>
                </a:lnTo>
                <a:lnTo>
                  <a:pt x="0" y="5745162"/>
                </a:lnTo>
                <a:lnTo>
                  <a:pt x="0" y="5322124"/>
                </a:lnTo>
                <a:lnTo>
                  <a:pt x="0" y="5288954"/>
                </a:lnTo>
                <a:lnTo>
                  <a:pt x="0" y="5284313"/>
                </a:lnTo>
                <a:lnTo>
                  <a:pt x="0" y="5101843"/>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 Drag image onto slide to add photo </a:t>
            </a:r>
          </a:p>
        </p:txBody>
      </p:sp>
      <p:sp>
        <p:nvSpPr>
          <p:cNvPr id="200" name="First Content Placeholder">
            <a:extLst>
              <a:ext uri="{FF2B5EF4-FFF2-40B4-BE49-F238E27FC236}">
                <a16:creationId xmlns:a16="http://schemas.microsoft.com/office/drawing/2014/main" id="{630CB258-15BC-1643-9DB4-368468698F13}"/>
              </a:ext>
            </a:extLst>
          </p:cNvPr>
          <p:cNvSpPr>
            <a:spLocks noGrp="1"/>
          </p:cNvSpPr>
          <p:nvPr>
            <p:ph type="body" sz="quarter" idx="200"/>
          </p:nvPr>
        </p:nvSpPr>
        <p:spPr>
          <a:xfrm>
            <a:off x="0" y="1112838"/>
            <a:ext cx="6096000" cy="5745162"/>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itle 3">
            <a:extLst>
              <a:ext uri="{FF2B5EF4-FFF2-40B4-BE49-F238E27FC236}">
                <a16:creationId xmlns:a16="http://schemas.microsoft.com/office/drawing/2014/main" id="{63B11128-F69D-DC4E-8CD4-B5A9A92E8D6E}"/>
              </a:ext>
            </a:extLst>
          </p:cNvPr>
          <p:cNvSpPr>
            <a:spLocks noGrp="1"/>
          </p:cNvSpPr>
          <p:nvPr>
            <p:ph type="title" hasCustomPrompt="1"/>
          </p:nvPr>
        </p:nvSpPr>
        <p:spPr/>
        <p:txBody>
          <a:bodyPr/>
          <a:lstStyle>
            <a:lvl1pPr>
              <a:defRPr/>
            </a:lvl1pPr>
          </a:lstStyle>
          <a:p>
            <a:r>
              <a:rPr lang="en-US" dirty="0"/>
              <a:t>CLICK TO ADD Slide TITLE. ALL CAPS. TWO LINES max.</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575733" y="6200775"/>
            <a:ext cx="4934115"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2" name="Date Placeholder 1">
            <a:extLst>
              <a:ext uri="{FF2B5EF4-FFF2-40B4-BE49-F238E27FC236}">
                <a16:creationId xmlns:a16="http://schemas.microsoft.com/office/drawing/2014/main" id="{F97A898C-B866-B14B-9178-5A34D2335457}"/>
              </a:ext>
            </a:extLst>
          </p:cNvPr>
          <p:cNvSpPr>
            <a:spLocks noGrp="1"/>
          </p:cNvSpPr>
          <p:nvPr>
            <p:ph type="dt" sz="half" idx="110"/>
          </p:nvPr>
        </p:nvSpPr>
        <p:spPr/>
        <p:txBody>
          <a:bodyPr/>
          <a:lstStyle/>
          <a:p>
            <a:endParaRPr lang="en-US" dirty="0"/>
          </a:p>
        </p:txBody>
      </p:sp>
      <p:sp>
        <p:nvSpPr>
          <p:cNvPr id="5" name="Footer Placeholder 4">
            <a:extLst>
              <a:ext uri="{FF2B5EF4-FFF2-40B4-BE49-F238E27FC236}">
                <a16:creationId xmlns:a16="http://schemas.microsoft.com/office/drawing/2014/main" id="{26F97896-B943-434D-88CF-4C1DD9A124EB}"/>
              </a:ext>
            </a:extLst>
          </p:cNvPr>
          <p:cNvSpPr>
            <a:spLocks noGrp="1"/>
          </p:cNvSpPr>
          <p:nvPr>
            <p:ph type="ftr" sz="quarter" idx="111"/>
          </p:nvPr>
        </p:nvSpPr>
        <p:spPr/>
        <p:txBody>
          <a:bodyPr/>
          <a:lstStyle/>
          <a:p>
            <a:endParaRPr lang="en-US" dirty="0"/>
          </a:p>
        </p:txBody>
      </p:sp>
      <p:sp>
        <p:nvSpPr>
          <p:cNvPr id="500" name="Caption">
            <a:extLst>
              <a:ext uri="{FF2B5EF4-FFF2-40B4-BE49-F238E27FC236}">
                <a16:creationId xmlns:a16="http://schemas.microsoft.com/office/drawing/2014/main" id="{FD347B14-43C4-154A-92C4-BB860714839D}"/>
              </a:ext>
            </a:extLst>
          </p:cNvPr>
          <p:cNvSpPr>
            <a:spLocks noGrp="1"/>
          </p:cNvSpPr>
          <p:nvPr>
            <p:ph type="body" sz="quarter" idx="500" hasCustomPrompt="1"/>
          </p:nvPr>
        </p:nvSpPr>
        <p:spPr>
          <a:xfrm>
            <a:off x="7947046" y="6200776"/>
            <a:ext cx="3657167"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48" name="Slide Number Placeholder 3">
            <a:extLst>
              <a:ext uri="{FF2B5EF4-FFF2-40B4-BE49-F238E27FC236}">
                <a16:creationId xmlns:a16="http://schemas.microsoft.com/office/drawing/2014/main" id="{92E106F0-9484-5947-ACF2-FD796A463D32}"/>
              </a:ext>
            </a:extLst>
          </p:cNvPr>
          <p:cNvSpPr>
            <a:spLocks noGrp="1"/>
          </p:cNvSpPr>
          <p:nvPr userDrawn="1">
            <p:ph type="sldNum" sz="quarter" idx="112"/>
          </p:nvPr>
        </p:nvSpPr>
        <p:spPr>
          <a:xfrm>
            <a:off x="11720052" y="6516149"/>
            <a:ext cx="467272" cy="174625"/>
          </a:xfrm>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6" name="Group 5">
            <a:extLst>
              <a:ext uri="{FF2B5EF4-FFF2-40B4-BE49-F238E27FC236}">
                <a16:creationId xmlns:a16="http://schemas.microsoft.com/office/drawing/2014/main" id="{B104F9D3-21BC-F941-8399-CF9E0BBD5283}"/>
              </a:ext>
            </a:extLst>
          </p:cNvPr>
          <p:cNvGrpSpPr/>
          <p:nvPr userDrawn="1"/>
        </p:nvGrpSpPr>
        <p:grpSpPr>
          <a:xfrm>
            <a:off x="12532244" y="-2"/>
            <a:ext cx="3948953" cy="11187339"/>
            <a:chOff x="9399182" y="-2"/>
            <a:chExt cx="2961715" cy="11187339"/>
          </a:xfrm>
        </p:grpSpPr>
        <p:sp>
          <p:nvSpPr>
            <p:cNvPr id="45" name="Rectangle 44">
              <a:extLst>
                <a:ext uri="{FF2B5EF4-FFF2-40B4-BE49-F238E27FC236}">
                  <a16:creationId xmlns:a16="http://schemas.microsoft.com/office/drawing/2014/main" id="{E43CC0CC-412F-694E-BA2F-CCF91349B581}"/>
                </a:ext>
              </a:extLst>
            </p:cNvPr>
            <p:cNvSpPr/>
            <p:nvPr userDrawn="1"/>
          </p:nvSpPr>
          <p:spPr>
            <a:xfrm>
              <a:off x="9399182" y="-2"/>
              <a:ext cx="2798651" cy="1101500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46" name="Picture 45">
              <a:extLst>
                <a:ext uri="{FF2B5EF4-FFF2-40B4-BE49-F238E27FC236}">
                  <a16:creationId xmlns:a16="http://schemas.microsoft.com/office/drawing/2014/main" id="{EA9F5F80-B9F9-0F44-B698-DF454AA644DD}"/>
                </a:ext>
              </a:extLst>
            </p:cNvPr>
            <p:cNvPicPr>
              <a:picLocks noChangeAspect="1"/>
            </p:cNvPicPr>
            <p:nvPr userDrawn="1"/>
          </p:nvPicPr>
          <p:blipFill rotWithShape="1">
            <a:blip r:embed="rId2"/>
            <a:srcRect t="17021" r="58309" b="16813"/>
            <a:stretch/>
          </p:blipFill>
          <p:spPr>
            <a:xfrm>
              <a:off x="9558505" y="1321569"/>
              <a:ext cx="2639327" cy="1095417"/>
            </a:xfrm>
            <a:prstGeom prst="rect">
              <a:avLst/>
            </a:prstGeom>
          </p:spPr>
        </p:pic>
        <p:sp>
          <p:nvSpPr>
            <p:cNvPr id="47" name="Rectangle 46">
              <a:extLst>
                <a:ext uri="{FF2B5EF4-FFF2-40B4-BE49-F238E27FC236}">
                  <a16:creationId xmlns:a16="http://schemas.microsoft.com/office/drawing/2014/main" id="{6BB1AE2B-CA0A-8D42-82DE-43E63DE4AC0D}"/>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1" name="TextBox 50">
              <a:extLst>
                <a:ext uri="{FF2B5EF4-FFF2-40B4-BE49-F238E27FC236}">
                  <a16:creationId xmlns:a16="http://schemas.microsoft.com/office/drawing/2014/main" id="{9AB55C23-AD36-AE4E-9421-68AD42E3CAAC}"/>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3" name="Picture 52">
              <a:extLst>
                <a:ext uri="{FF2B5EF4-FFF2-40B4-BE49-F238E27FC236}">
                  <a16:creationId xmlns:a16="http://schemas.microsoft.com/office/drawing/2014/main" id="{1108CC98-FEA9-DC4C-807D-C762CA96FAAF}"/>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03" name="TextBox 102">
              <a:extLst>
                <a:ext uri="{FF2B5EF4-FFF2-40B4-BE49-F238E27FC236}">
                  <a16:creationId xmlns:a16="http://schemas.microsoft.com/office/drawing/2014/main" id="{12194029-9A74-1343-8288-8CF894102496}"/>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104" name="Straight Connector 103">
              <a:extLst>
                <a:ext uri="{FF2B5EF4-FFF2-40B4-BE49-F238E27FC236}">
                  <a16:creationId xmlns:a16="http://schemas.microsoft.com/office/drawing/2014/main" id="{E41EA862-645E-0F49-9B37-60C68EF7C6A8}"/>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196F6A19-D6A3-6947-9A53-F14EEAE75208}"/>
                </a:ext>
              </a:extLst>
            </p:cNvPr>
            <p:cNvGrpSpPr/>
            <p:nvPr userDrawn="1"/>
          </p:nvGrpSpPr>
          <p:grpSpPr>
            <a:xfrm>
              <a:off x="9521833" y="3751281"/>
              <a:ext cx="2754815" cy="7436056"/>
              <a:chOff x="9521833" y="2531409"/>
              <a:chExt cx="2754815" cy="7436056"/>
            </a:xfrm>
          </p:grpSpPr>
          <p:sp>
            <p:nvSpPr>
              <p:cNvPr id="54" name="TextBox 53">
                <a:extLst>
                  <a:ext uri="{FF2B5EF4-FFF2-40B4-BE49-F238E27FC236}">
                    <a16:creationId xmlns:a16="http://schemas.microsoft.com/office/drawing/2014/main" id="{A4D10D26-A257-FE41-BFB0-8F5ED90CC342}"/>
                  </a:ext>
                </a:extLst>
              </p:cNvPr>
              <p:cNvSpPr txBox="1"/>
              <p:nvPr userDrawn="1"/>
            </p:nvSpPr>
            <p:spPr>
              <a:xfrm>
                <a:off x="9558507" y="3953640"/>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55" name="Straight Connector 54">
                <a:extLst>
                  <a:ext uri="{FF2B5EF4-FFF2-40B4-BE49-F238E27FC236}">
                    <a16:creationId xmlns:a16="http://schemas.microsoft.com/office/drawing/2014/main" id="{CCBA4925-27F7-0840-AB2A-43828EF3AD6C}"/>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6" name="TextBox 55">
                <a:extLst>
                  <a:ext uri="{FF2B5EF4-FFF2-40B4-BE49-F238E27FC236}">
                    <a16:creationId xmlns:a16="http://schemas.microsoft.com/office/drawing/2014/main" id="{2586850C-9180-FA4E-968E-FF19A860A64D}"/>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sp>
            <p:nvSpPr>
              <p:cNvPr id="61" name="Rectangle 60">
                <a:extLst>
                  <a:ext uri="{FF2B5EF4-FFF2-40B4-BE49-F238E27FC236}">
                    <a16:creationId xmlns:a16="http://schemas.microsoft.com/office/drawing/2014/main" id="{6261B6DE-3D1B-B646-8CA5-3B37F32A674F}"/>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2" name="TextBox 61">
                <a:extLst>
                  <a:ext uri="{FF2B5EF4-FFF2-40B4-BE49-F238E27FC236}">
                    <a16:creationId xmlns:a16="http://schemas.microsoft.com/office/drawing/2014/main" id="{B35D847C-FBAE-9141-80AA-E929009454B3}"/>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73" name="Graphic 72">
                <a:extLst>
                  <a:ext uri="{FF2B5EF4-FFF2-40B4-BE49-F238E27FC236}">
                    <a16:creationId xmlns:a16="http://schemas.microsoft.com/office/drawing/2014/main" id="{7E3A8F17-D7F3-FB43-8FFE-8437E55D7718}"/>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74" name="TextBox 73">
                <a:extLst>
                  <a:ext uri="{FF2B5EF4-FFF2-40B4-BE49-F238E27FC236}">
                    <a16:creationId xmlns:a16="http://schemas.microsoft.com/office/drawing/2014/main" id="{3F05BF82-935B-0D48-A2E9-BD0093B49F2C}"/>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8" name="TextBox 77">
                <a:extLst>
                  <a:ext uri="{FF2B5EF4-FFF2-40B4-BE49-F238E27FC236}">
                    <a16:creationId xmlns:a16="http://schemas.microsoft.com/office/drawing/2014/main" id="{B65235D7-20FA-AA4C-B70A-258CF74C09E1}"/>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9" name="TextBox 78">
                <a:extLst>
                  <a:ext uri="{FF2B5EF4-FFF2-40B4-BE49-F238E27FC236}">
                    <a16:creationId xmlns:a16="http://schemas.microsoft.com/office/drawing/2014/main" id="{27581D51-2E99-9242-ABB1-C15D65232A7A}"/>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85" name="Rectangle 84">
                <a:extLst>
                  <a:ext uri="{FF2B5EF4-FFF2-40B4-BE49-F238E27FC236}">
                    <a16:creationId xmlns:a16="http://schemas.microsoft.com/office/drawing/2014/main" id="{C5CEAEDC-18E3-9E45-9236-4044DE7F605B}"/>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6" name="TextBox 85">
                <a:extLst>
                  <a:ext uri="{FF2B5EF4-FFF2-40B4-BE49-F238E27FC236}">
                    <a16:creationId xmlns:a16="http://schemas.microsoft.com/office/drawing/2014/main" id="{8CF43F75-DCAC-3A4B-856C-20394D3967E0}"/>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7" name="Graphic 86">
                <a:extLst>
                  <a:ext uri="{FF2B5EF4-FFF2-40B4-BE49-F238E27FC236}">
                    <a16:creationId xmlns:a16="http://schemas.microsoft.com/office/drawing/2014/main" id="{757374C0-8D98-8A47-BE70-BB1D3E4F133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89" name="TextBox 88">
                <a:extLst>
                  <a:ext uri="{FF2B5EF4-FFF2-40B4-BE49-F238E27FC236}">
                    <a16:creationId xmlns:a16="http://schemas.microsoft.com/office/drawing/2014/main" id="{7E869158-45ED-B645-9955-8A67BA7702F6}"/>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90" name="Picture 89">
                <a:extLst>
                  <a:ext uri="{FF2B5EF4-FFF2-40B4-BE49-F238E27FC236}">
                    <a16:creationId xmlns:a16="http://schemas.microsoft.com/office/drawing/2014/main" id="{BC30FFF4-CDB9-3B4D-9B7E-D33DD4F29647}"/>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91" name="TextBox 90">
                <a:extLst>
                  <a:ext uri="{FF2B5EF4-FFF2-40B4-BE49-F238E27FC236}">
                    <a16:creationId xmlns:a16="http://schemas.microsoft.com/office/drawing/2014/main" id="{248967FA-A69C-BF4E-83CA-ACF61244C965}"/>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92" name="TextBox 91">
                <a:extLst>
                  <a:ext uri="{FF2B5EF4-FFF2-40B4-BE49-F238E27FC236}">
                    <a16:creationId xmlns:a16="http://schemas.microsoft.com/office/drawing/2014/main" id="{28A219F0-9820-E94D-9B0B-FC1451A729F1}"/>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97" name="TextBox 96">
                <a:extLst>
                  <a:ext uri="{FF2B5EF4-FFF2-40B4-BE49-F238E27FC236}">
                    <a16:creationId xmlns:a16="http://schemas.microsoft.com/office/drawing/2014/main" id="{6B1FFA28-D937-0546-81ED-6A667496097F}"/>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sp>
            <p:nvSpPr>
              <p:cNvPr id="98" name="TextBox 97">
                <a:extLst>
                  <a:ext uri="{FF2B5EF4-FFF2-40B4-BE49-F238E27FC236}">
                    <a16:creationId xmlns:a16="http://schemas.microsoft.com/office/drawing/2014/main" id="{68994775-7F6D-024C-A545-1FD8DA0B5066}"/>
                  </a:ext>
                </a:extLst>
              </p:cNvPr>
              <p:cNvSpPr txBox="1"/>
              <p:nvPr userDrawn="1"/>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99" name="TextBox 98">
                <a:extLst>
                  <a:ext uri="{FF2B5EF4-FFF2-40B4-BE49-F238E27FC236}">
                    <a16:creationId xmlns:a16="http://schemas.microsoft.com/office/drawing/2014/main" id="{AC1A251F-EFCC-D040-AD73-5A844F6C8923}"/>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00" name="TextBox 99">
                <a:extLst>
                  <a:ext uri="{FF2B5EF4-FFF2-40B4-BE49-F238E27FC236}">
                    <a16:creationId xmlns:a16="http://schemas.microsoft.com/office/drawing/2014/main" id="{0F0507AD-9F18-6D4E-9209-0C54CEF82012}"/>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02" name="TextBox 101">
                <a:extLst>
                  <a:ext uri="{FF2B5EF4-FFF2-40B4-BE49-F238E27FC236}">
                    <a16:creationId xmlns:a16="http://schemas.microsoft.com/office/drawing/2014/main" id="{4827295A-AD1C-9B4E-9832-4C95BEE1E2CF}"/>
                  </a:ext>
                </a:extLst>
              </p:cNvPr>
              <p:cNvSpPr txBox="1"/>
              <p:nvPr userDrawn="1"/>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05" name="Rectangle 104">
                <a:extLst>
                  <a:ext uri="{FF2B5EF4-FFF2-40B4-BE49-F238E27FC236}">
                    <a16:creationId xmlns:a16="http://schemas.microsoft.com/office/drawing/2014/main" id="{6C8F933F-D9D9-7549-9AF5-2C614E0FD4B9}"/>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06" name="TextBox 105">
                <a:extLst>
                  <a:ext uri="{FF2B5EF4-FFF2-40B4-BE49-F238E27FC236}">
                    <a16:creationId xmlns:a16="http://schemas.microsoft.com/office/drawing/2014/main" id="{BFF57C2F-17D2-C542-9688-994363166A69}"/>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07" name="Graphic 106">
                <a:extLst>
                  <a:ext uri="{FF2B5EF4-FFF2-40B4-BE49-F238E27FC236}">
                    <a16:creationId xmlns:a16="http://schemas.microsoft.com/office/drawing/2014/main" id="{8F010FD2-F208-734E-83F5-73F06D91019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08" name="TextBox 107">
                <a:extLst>
                  <a:ext uri="{FF2B5EF4-FFF2-40B4-BE49-F238E27FC236}">
                    <a16:creationId xmlns:a16="http://schemas.microsoft.com/office/drawing/2014/main" id="{FE457EE7-A96E-FF4C-93C4-103A4656AC92}"/>
                  </a:ext>
                </a:extLst>
              </p:cNvPr>
              <p:cNvSpPr txBox="1"/>
              <p:nvPr userDrawn="1"/>
            </p:nvSpPr>
            <p:spPr>
              <a:xfrm>
                <a:off x="9701720" y="2924393"/>
                <a:ext cx="2214055" cy="53707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nvGrpSpPr>
            <p:cNvPr id="3" name="Group 2">
              <a:extLst>
                <a:ext uri="{FF2B5EF4-FFF2-40B4-BE49-F238E27FC236}">
                  <a16:creationId xmlns:a16="http://schemas.microsoft.com/office/drawing/2014/main" id="{0F981F28-9C61-BC4E-BB91-07F303CF4C2D}"/>
                </a:ext>
              </a:extLst>
            </p:cNvPr>
            <p:cNvGrpSpPr/>
            <p:nvPr userDrawn="1"/>
          </p:nvGrpSpPr>
          <p:grpSpPr>
            <a:xfrm>
              <a:off x="9540503" y="2468708"/>
              <a:ext cx="2806644" cy="1181890"/>
              <a:chOff x="9554253" y="2414886"/>
              <a:chExt cx="2806644" cy="1181890"/>
            </a:xfrm>
          </p:grpSpPr>
          <p:grpSp>
            <p:nvGrpSpPr>
              <p:cNvPr id="58" name="Group 57">
                <a:extLst>
                  <a:ext uri="{FF2B5EF4-FFF2-40B4-BE49-F238E27FC236}">
                    <a16:creationId xmlns:a16="http://schemas.microsoft.com/office/drawing/2014/main" id="{0DF2DCCF-DC2F-E347-A31C-CDF68A9AF8AC}"/>
                  </a:ext>
                </a:extLst>
              </p:cNvPr>
              <p:cNvGrpSpPr/>
              <p:nvPr userDrawn="1"/>
            </p:nvGrpSpPr>
            <p:grpSpPr>
              <a:xfrm>
                <a:off x="9554253" y="2414886"/>
                <a:ext cx="2735150" cy="1181890"/>
                <a:chOff x="9541498" y="3751132"/>
                <a:chExt cx="2735150" cy="1181890"/>
              </a:xfrm>
            </p:grpSpPr>
            <p:grpSp>
              <p:nvGrpSpPr>
                <p:cNvPr id="60" name="Group 59">
                  <a:extLst>
                    <a:ext uri="{FF2B5EF4-FFF2-40B4-BE49-F238E27FC236}">
                      <a16:creationId xmlns:a16="http://schemas.microsoft.com/office/drawing/2014/main" id="{672EE88A-201E-864B-915E-E26EB55300E2}"/>
                    </a:ext>
                  </a:extLst>
                </p:cNvPr>
                <p:cNvGrpSpPr/>
                <p:nvPr userDrawn="1"/>
              </p:nvGrpSpPr>
              <p:grpSpPr>
                <a:xfrm>
                  <a:off x="9541498" y="3751132"/>
                  <a:ext cx="2735150" cy="1181890"/>
                  <a:chOff x="9296568" y="4910411"/>
                  <a:chExt cx="2735150" cy="1181890"/>
                </a:xfrm>
              </p:grpSpPr>
              <p:sp>
                <p:nvSpPr>
                  <p:cNvPr id="64" name="Rectangle 63">
                    <a:extLst>
                      <a:ext uri="{FF2B5EF4-FFF2-40B4-BE49-F238E27FC236}">
                        <a16:creationId xmlns:a16="http://schemas.microsoft.com/office/drawing/2014/main" id="{1ACA2DCD-6D06-6E48-ADC7-E4700B8E7ED2}"/>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5" name="TextBox 64">
                    <a:extLst>
                      <a:ext uri="{FF2B5EF4-FFF2-40B4-BE49-F238E27FC236}">
                        <a16:creationId xmlns:a16="http://schemas.microsoft.com/office/drawing/2014/main" id="{766699C1-6810-F840-B15E-9FDBF86672FE}"/>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6" name="TextBox 65">
                    <a:extLst>
                      <a:ext uri="{FF2B5EF4-FFF2-40B4-BE49-F238E27FC236}">
                        <a16:creationId xmlns:a16="http://schemas.microsoft.com/office/drawing/2014/main" id="{46B5DD35-B22A-0445-8540-375CCBA7046C}"/>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3" name="Graphic 62">
                  <a:extLst>
                    <a:ext uri="{FF2B5EF4-FFF2-40B4-BE49-F238E27FC236}">
                      <a16:creationId xmlns:a16="http://schemas.microsoft.com/office/drawing/2014/main" id="{9D9E4893-D645-1746-AECB-65B57D82B9E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1" name="Picture 10">
                <a:extLst>
                  <a:ext uri="{FF2B5EF4-FFF2-40B4-BE49-F238E27FC236}">
                    <a16:creationId xmlns:a16="http://schemas.microsoft.com/office/drawing/2014/main" id="{670B2B87-7712-C049-9036-20C3AD85D78B}"/>
                  </a:ext>
                </a:extLst>
              </p:cNvPr>
              <p:cNvPicPr>
                <a:picLocks noChangeAspect="1"/>
              </p:cNvPicPr>
              <p:nvPr userDrawn="1"/>
            </p:nvPicPr>
            <p:blipFill rotWithShape="1">
              <a:blip r:embed="rId9"/>
              <a:srcRect t="5468" r="25071" b="3995"/>
              <a:stretch/>
            </p:blipFill>
            <p:spPr>
              <a:xfrm>
                <a:off x="10779975" y="2820522"/>
                <a:ext cx="1580922" cy="695279"/>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791413312"/>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efault Text Over Photo (Full)">
    <p:bg>
      <p:bgPr>
        <a:solidFill>
          <a:schemeClr val="bg1"/>
        </a:solidFill>
        <a:effectLst/>
      </p:bgPr>
    </p:bg>
    <p:spTree>
      <p:nvGrpSpPr>
        <p:cNvPr id="1" name=""/>
        <p:cNvGrpSpPr/>
        <p:nvPr/>
      </p:nvGrpSpPr>
      <p:grpSpPr>
        <a:xfrm>
          <a:off x="0" y="0"/>
          <a:ext cx="0" cy="0"/>
          <a:chOff x="0" y="0"/>
          <a:chExt cx="0" cy="0"/>
        </a:xfrm>
      </p:grpSpPr>
      <p:sp>
        <p:nvSpPr>
          <p:cNvPr id="143" name="TextBox 142">
            <a:extLst>
              <a:ext uri="{FF2B5EF4-FFF2-40B4-BE49-F238E27FC236}">
                <a16:creationId xmlns:a16="http://schemas.microsoft.com/office/drawing/2014/main" id="{46481346-5599-134A-9D85-7AA21E57226F}"/>
              </a:ext>
            </a:extLst>
          </p:cNvPr>
          <p:cNvSpPr txBox="1">
            <a:spLocks/>
          </p:cNvSpPr>
          <p:nvPr userDrawn="1"/>
        </p:nvSpPr>
        <p:spPr>
          <a:xfrm>
            <a:off x="0" y="6200777"/>
            <a:ext cx="12192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1400" dirty="0"/>
          </a:p>
        </p:txBody>
      </p:sp>
      <p:sp>
        <p:nvSpPr>
          <p:cNvPr id="102" name="Picture Placeholder 101">
            <a:extLst>
              <a:ext uri="{FF2B5EF4-FFF2-40B4-BE49-F238E27FC236}">
                <a16:creationId xmlns:a16="http://schemas.microsoft.com/office/drawing/2014/main" id="{FD73EF23-017D-BB49-A247-140CD91DD7D7}"/>
              </a:ext>
            </a:extLst>
          </p:cNvPr>
          <p:cNvSpPr>
            <a:spLocks noGrp="1"/>
          </p:cNvSpPr>
          <p:nvPr>
            <p:ph type="pic" sz="quarter" idx="10" hasCustomPrompt="1"/>
          </p:nvPr>
        </p:nvSpPr>
        <p:spPr>
          <a:xfrm>
            <a:off x="0" y="0"/>
            <a:ext cx="12192000" cy="6858000"/>
          </a:xfrm>
          <a:custGeom>
            <a:avLst/>
            <a:gdLst>
              <a:gd name="connsiteX0" fmla="*/ 8381735 w 9144000"/>
              <a:gd name="connsiteY0" fmla="*/ 6576022 h 6858000"/>
              <a:gd name="connsiteX1" fmla="*/ 8398942 w 9144000"/>
              <a:gd name="connsiteY1" fmla="*/ 6577877 h 6858000"/>
              <a:gd name="connsiteX2" fmla="*/ 8407847 w 9144000"/>
              <a:gd name="connsiteY2" fmla="*/ 6584666 h 6858000"/>
              <a:gd name="connsiteX3" fmla="*/ 8413547 w 9144000"/>
              <a:gd name="connsiteY3" fmla="*/ 6594991 h 6858000"/>
              <a:gd name="connsiteX4" fmla="*/ 8415584 w 9144000"/>
              <a:gd name="connsiteY4" fmla="*/ 6608203 h 6858000"/>
              <a:gd name="connsiteX5" fmla="*/ 8413646 w 9144000"/>
              <a:gd name="connsiteY5" fmla="*/ 6621274 h 6858000"/>
              <a:gd name="connsiteX6" fmla="*/ 8407947 w 9144000"/>
              <a:gd name="connsiteY6" fmla="*/ 6631669 h 6858000"/>
              <a:gd name="connsiteX7" fmla="*/ 8375887 w 9144000"/>
              <a:gd name="connsiteY7" fmla="*/ 6638514 h 6858000"/>
              <a:gd name="connsiteX8" fmla="*/ 8366910 w 9144000"/>
              <a:gd name="connsiteY8" fmla="*/ 6631669 h 6858000"/>
              <a:gd name="connsiteX9" fmla="*/ 8361211 w 9144000"/>
              <a:gd name="connsiteY9" fmla="*/ 6621274 h 6858000"/>
              <a:gd name="connsiteX10" fmla="*/ 8359045 w 9144000"/>
              <a:gd name="connsiteY10" fmla="*/ 6608203 h 6858000"/>
              <a:gd name="connsiteX11" fmla="*/ 8361097 w 9144000"/>
              <a:gd name="connsiteY11" fmla="*/ 6594991 h 6858000"/>
              <a:gd name="connsiteX12" fmla="*/ 8366796 w 9144000"/>
              <a:gd name="connsiteY12" fmla="*/ 6584666 h 6858000"/>
              <a:gd name="connsiteX13" fmla="*/ 8381735 w 9144000"/>
              <a:gd name="connsiteY13" fmla="*/ 6576022 h 6858000"/>
              <a:gd name="connsiteX14" fmla="*/ 8525633 w 9144000"/>
              <a:gd name="connsiteY14" fmla="*/ 6553486 h 6858000"/>
              <a:gd name="connsiteX15" fmla="*/ 8525633 w 9144000"/>
              <a:gd name="connsiteY15" fmla="*/ 6599432 h 6858000"/>
              <a:gd name="connsiteX16" fmla="*/ 8525633 w 9144000"/>
              <a:gd name="connsiteY16" fmla="*/ 6662773 h 6858000"/>
              <a:gd name="connsiteX17" fmla="*/ 8595623 w 9144000"/>
              <a:gd name="connsiteY17" fmla="*/ 6662773 h 6858000"/>
              <a:gd name="connsiteX18" fmla="*/ 8596022 w 9144000"/>
              <a:gd name="connsiteY18" fmla="*/ 6662773 h 6858000"/>
              <a:gd name="connsiteX19" fmla="*/ 8596022 w 9144000"/>
              <a:gd name="connsiteY19" fmla="*/ 6645772 h 6858000"/>
              <a:gd name="connsiteX20" fmla="*/ 8595623 w 9144000"/>
              <a:gd name="connsiteY20" fmla="*/ 6645772 h 6858000"/>
              <a:gd name="connsiteX21" fmla="*/ 8595623 w 9144000"/>
              <a:gd name="connsiteY21" fmla="*/ 6639674 h 6858000"/>
              <a:gd name="connsiteX22" fmla="*/ 8551295 w 9144000"/>
              <a:gd name="connsiteY22" fmla="*/ 6639674 h 6858000"/>
              <a:gd name="connsiteX23" fmla="*/ 8551295 w 9144000"/>
              <a:gd name="connsiteY23" fmla="*/ 6618349 h 6858000"/>
              <a:gd name="connsiteX24" fmla="*/ 8591705 w 9144000"/>
              <a:gd name="connsiteY24" fmla="*/ 6618349 h 6858000"/>
              <a:gd name="connsiteX25" fmla="*/ 8591705 w 9144000"/>
              <a:gd name="connsiteY25" fmla="*/ 6596277 h 6858000"/>
              <a:gd name="connsiteX26" fmla="*/ 8551295 w 9144000"/>
              <a:gd name="connsiteY26" fmla="*/ 6596277 h 6858000"/>
              <a:gd name="connsiteX27" fmla="*/ 8551295 w 9144000"/>
              <a:gd name="connsiteY27" fmla="*/ 6576755 h 6858000"/>
              <a:gd name="connsiteX28" fmla="*/ 8595623 w 9144000"/>
              <a:gd name="connsiteY28" fmla="*/ 6576755 h 6858000"/>
              <a:gd name="connsiteX29" fmla="*/ 8595623 w 9144000"/>
              <a:gd name="connsiteY29" fmla="*/ 6570487 h 6858000"/>
              <a:gd name="connsiteX30" fmla="*/ 8596022 w 9144000"/>
              <a:gd name="connsiteY30" fmla="*/ 6570487 h 6858000"/>
              <a:gd name="connsiteX31" fmla="*/ 8596022 w 9144000"/>
              <a:gd name="connsiteY31" fmla="*/ 6553486 h 6858000"/>
              <a:gd name="connsiteX32" fmla="*/ 8595623 w 9144000"/>
              <a:gd name="connsiteY32" fmla="*/ 6553486 h 6858000"/>
              <a:gd name="connsiteX33" fmla="*/ 8547362 w 9144000"/>
              <a:gd name="connsiteY33" fmla="*/ 6553486 h 6858000"/>
              <a:gd name="connsiteX34" fmla="*/ 8448177 w 9144000"/>
              <a:gd name="connsiteY34" fmla="*/ 6553486 h 6858000"/>
              <a:gd name="connsiteX35" fmla="*/ 8448177 w 9144000"/>
              <a:gd name="connsiteY35" fmla="*/ 6599432 h 6858000"/>
              <a:gd name="connsiteX36" fmla="*/ 8448177 w 9144000"/>
              <a:gd name="connsiteY36" fmla="*/ 6662773 h 6858000"/>
              <a:gd name="connsiteX37" fmla="*/ 8518167 w 9144000"/>
              <a:gd name="connsiteY37" fmla="*/ 6662773 h 6858000"/>
              <a:gd name="connsiteX38" fmla="*/ 8518552 w 9144000"/>
              <a:gd name="connsiteY38" fmla="*/ 6662773 h 6858000"/>
              <a:gd name="connsiteX39" fmla="*/ 8518552 w 9144000"/>
              <a:gd name="connsiteY39" fmla="*/ 6645772 h 6858000"/>
              <a:gd name="connsiteX40" fmla="*/ 8518167 w 9144000"/>
              <a:gd name="connsiteY40" fmla="*/ 6645772 h 6858000"/>
              <a:gd name="connsiteX41" fmla="*/ 8518167 w 9144000"/>
              <a:gd name="connsiteY41" fmla="*/ 6639674 h 6858000"/>
              <a:gd name="connsiteX42" fmla="*/ 8473825 w 9144000"/>
              <a:gd name="connsiteY42" fmla="*/ 6639674 h 6858000"/>
              <a:gd name="connsiteX43" fmla="*/ 8473825 w 9144000"/>
              <a:gd name="connsiteY43" fmla="*/ 6618349 h 6858000"/>
              <a:gd name="connsiteX44" fmla="*/ 8514235 w 9144000"/>
              <a:gd name="connsiteY44" fmla="*/ 6618349 h 6858000"/>
              <a:gd name="connsiteX45" fmla="*/ 8514235 w 9144000"/>
              <a:gd name="connsiteY45" fmla="*/ 6596277 h 6858000"/>
              <a:gd name="connsiteX46" fmla="*/ 8473825 w 9144000"/>
              <a:gd name="connsiteY46" fmla="*/ 6596277 h 6858000"/>
              <a:gd name="connsiteX47" fmla="*/ 8473825 w 9144000"/>
              <a:gd name="connsiteY47" fmla="*/ 6576755 h 6858000"/>
              <a:gd name="connsiteX48" fmla="*/ 8518167 w 9144000"/>
              <a:gd name="connsiteY48" fmla="*/ 6576755 h 6858000"/>
              <a:gd name="connsiteX49" fmla="*/ 8518167 w 9144000"/>
              <a:gd name="connsiteY49" fmla="*/ 6570487 h 6858000"/>
              <a:gd name="connsiteX50" fmla="*/ 8518552 w 9144000"/>
              <a:gd name="connsiteY50" fmla="*/ 6570487 h 6858000"/>
              <a:gd name="connsiteX51" fmla="*/ 8518552 w 9144000"/>
              <a:gd name="connsiteY51" fmla="*/ 6553486 h 6858000"/>
              <a:gd name="connsiteX52" fmla="*/ 8518167 w 9144000"/>
              <a:gd name="connsiteY52" fmla="*/ 6553486 h 6858000"/>
              <a:gd name="connsiteX53" fmla="*/ 8469892 w 9144000"/>
              <a:gd name="connsiteY53" fmla="*/ 6553486 h 6858000"/>
              <a:gd name="connsiteX54" fmla="*/ 8387913 w 9144000"/>
              <a:gd name="connsiteY54" fmla="*/ 6553453 h 6858000"/>
              <a:gd name="connsiteX55" fmla="*/ 8365286 w 9144000"/>
              <a:gd name="connsiteY55" fmla="*/ 6557679 h 6858000"/>
              <a:gd name="connsiteX56" fmla="*/ 8357150 w 9144000"/>
              <a:gd name="connsiteY56" fmla="*/ 6561806 h 6858000"/>
              <a:gd name="connsiteX57" fmla="*/ 8332784 w 9144000"/>
              <a:gd name="connsiteY57" fmla="*/ 6613372 h 6858000"/>
              <a:gd name="connsiteX58" fmla="*/ 8336389 w 9144000"/>
              <a:gd name="connsiteY58" fmla="*/ 6629852 h 6858000"/>
              <a:gd name="connsiteX59" fmla="*/ 8364431 w 9144000"/>
              <a:gd name="connsiteY59" fmla="*/ 6658585 h 6858000"/>
              <a:gd name="connsiteX60" fmla="*/ 8386916 w 9144000"/>
              <a:gd name="connsiteY60" fmla="*/ 6662811 h 6858000"/>
              <a:gd name="connsiteX61" fmla="*/ 8409486 w 9144000"/>
              <a:gd name="connsiteY61" fmla="*/ 6658585 h 6858000"/>
              <a:gd name="connsiteX62" fmla="*/ 8426926 w 9144000"/>
              <a:gd name="connsiteY62" fmla="*/ 6647106 h 6858000"/>
              <a:gd name="connsiteX63" fmla="*/ 8438240 w 9144000"/>
              <a:gd name="connsiteY63" fmla="*/ 6629852 h 6858000"/>
              <a:gd name="connsiteX64" fmla="*/ 8442258 w 9144000"/>
              <a:gd name="connsiteY64" fmla="*/ 6608203 h 6858000"/>
              <a:gd name="connsiteX65" fmla="*/ 8438397 w 9144000"/>
              <a:gd name="connsiteY65" fmla="*/ 6586469 h 6858000"/>
              <a:gd name="connsiteX66" fmla="*/ 8427439 w 9144000"/>
              <a:gd name="connsiteY66" fmla="*/ 6569158 h 6858000"/>
              <a:gd name="connsiteX67" fmla="*/ 8410341 w 9144000"/>
              <a:gd name="connsiteY67" fmla="*/ 6557679 h 6858000"/>
              <a:gd name="connsiteX68" fmla="*/ 8387913 w 9144000"/>
              <a:gd name="connsiteY68" fmla="*/ 6553453 h 6858000"/>
              <a:gd name="connsiteX69" fmla="*/ 8245203 w 9144000"/>
              <a:gd name="connsiteY69" fmla="*/ 6553106 h 6858000"/>
              <a:gd name="connsiteX70" fmla="*/ 8261546 w 9144000"/>
              <a:gd name="connsiteY70" fmla="*/ 6587178 h 6858000"/>
              <a:gd name="connsiteX71" fmla="*/ 8288505 w 9144000"/>
              <a:gd name="connsiteY71" fmla="*/ 6587178 h 6858000"/>
              <a:gd name="connsiteX72" fmla="*/ 8274156 w 9144000"/>
              <a:gd name="connsiteY72" fmla="*/ 6553106 h 6858000"/>
              <a:gd name="connsiteX73" fmla="*/ 8325053 w 9144000"/>
              <a:gd name="connsiteY73" fmla="*/ 6553092 h 6858000"/>
              <a:gd name="connsiteX74" fmla="*/ 8299363 w 9144000"/>
              <a:gd name="connsiteY74" fmla="*/ 6612222 h 6858000"/>
              <a:gd name="connsiteX75" fmla="*/ 8292395 w 9144000"/>
              <a:gd name="connsiteY75" fmla="*/ 6595883 h 6858000"/>
              <a:gd name="connsiteX76" fmla="*/ 8265650 w 9144000"/>
              <a:gd name="connsiteY76" fmla="*/ 6595883 h 6858000"/>
              <a:gd name="connsiteX77" fmla="*/ 8297582 w 9144000"/>
              <a:gd name="connsiteY77" fmla="*/ 6662548 h 6858000"/>
              <a:gd name="connsiteX78" fmla="*/ 8300545 w 9144000"/>
              <a:gd name="connsiteY78" fmla="*/ 6662548 h 6858000"/>
              <a:gd name="connsiteX79" fmla="*/ 8352283 w 9144000"/>
              <a:gd name="connsiteY79" fmla="*/ 6553092 h 6858000"/>
              <a:gd name="connsiteX80" fmla="*/ 8704282 w 9144000"/>
              <a:gd name="connsiteY80" fmla="*/ 6515554 h 6858000"/>
              <a:gd name="connsiteX81" fmla="*/ 8704282 w 9144000"/>
              <a:gd name="connsiteY81" fmla="*/ 6690482 h 6858000"/>
              <a:gd name="connsiteX82" fmla="*/ 8723671 w 9144000"/>
              <a:gd name="connsiteY82" fmla="*/ 6690482 h 6858000"/>
              <a:gd name="connsiteX83" fmla="*/ 8723671 w 9144000"/>
              <a:gd name="connsiteY83" fmla="*/ 6515554 h 6858000"/>
              <a:gd name="connsiteX84" fmla="*/ 0 w 9144000"/>
              <a:gd name="connsiteY84" fmla="*/ 0 h 6858000"/>
              <a:gd name="connsiteX85" fmla="*/ 9144000 w 9144000"/>
              <a:gd name="connsiteY85" fmla="*/ 0 h 6858000"/>
              <a:gd name="connsiteX86" fmla="*/ 9144000 w 9144000"/>
              <a:gd name="connsiteY86" fmla="*/ 6214681 h 6858000"/>
              <a:gd name="connsiteX87" fmla="*/ 9144000 w 9144000"/>
              <a:gd name="connsiteY87" fmla="*/ 6397151 h 6858000"/>
              <a:gd name="connsiteX88" fmla="*/ 9144000 w 9144000"/>
              <a:gd name="connsiteY88" fmla="*/ 6401792 h 6858000"/>
              <a:gd name="connsiteX89" fmla="*/ 9144000 w 9144000"/>
              <a:gd name="connsiteY89" fmla="*/ 6434962 h 6858000"/>
              <a:gd name="connsiteX90" fmla="*/ 9144000 w 9144000"/>
              <a:gd name="connsiteY90" fmla="*/ 6858000 h 6858000"/>
              <a:gd name="connsiteX91" fmla="*/ 8995529 w 9144000"/>
              <a:gd name="connsiteY91" fmla="*/ 6858000 h 6858000"/>
              <a:gd name="connsiteX92" fmla="*/ 7924718 w 9144000"/>
              <a:gd name="connsiteY92" fmla="*/ 6858000 h 6858000"/>
              <a:gd name="connsiteX93" fmla="*/ 0 w 9144000"/>
              <a:gd name="connsiteY93" fmla="*/ 6858000 h 6858000"/>
              <a:gd name="connsiteX94" fmla="*/ 0 w 9144000"/>
              <a:gd name="connsiteY94" fmla="*/ 6434962 h 6858000"/>
              <a:gd name="connsiteX95" fmla="*/ 0 w 9144000"/>
              <a:gd name="connsiteY95" fmla="*/ 6401792 h 6858000"/>
              <a:gd name="connsiteX96" fmla="*/ 0 w 9144000"/>
              <a:gd name="connsiteY96" fmla="*/ 6397151 h 6858000"/>
              <a:gd name="connsiteX97" fmla="*/ 0 w 9144000"/>
              <a:gd name="connsiteY97" fmla="*/ 62146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144000" h="6858000">
                <a:moveTo>
                  <a:pt x="8381735" y="6576022"/>
                </a:moveTo>
                <a:cubicBezTo>
                  <a:pt x="8387385" y="6574829"/>
                  <a:pt x="8393413" y="6575385"/>
                  <a:pt x="8398942" y="6577877"/>
                </a:cubicBezTo>
                <a:cubicBezTo>
                  <a:pt x="8402361" y="6579495"/>
                  <a:pt x="8405396" y="6581808"/>
                  <a:pt x="8407847" y="6584666"/>
                </a:cubicBezTo>
                <a:cubicBezTo>
                  <a:pt x="8410387" y="6587723"/>
                  <a:pt x="8412320" y="6591226"/>
                  <a:pt x="8413547" y="6594991"/>
                </a:cubicBezTo>
                <a:cubicBezTo>
                  <a:pt x="8414952" y="6599255"/>
                  <a:pt x="8415640" y="6603718"/>
                  <a:pt x="8415584" y="6608203"/>
                </a:cubicBezTo>
                <a:cubicBezTo>
                  <a:pt x="8415665" y="6612635"/>
                  <a:pt x="8415011" y="6617051"/>
                  <a:pt x="8413646" y="6621274"/>
                </a:cubicBezTo>
                <a:cubicBezTo>
                  <a:pt x="8412411" y="6625056"/>
                  <a:pt x="8410478" y="6628580"/>
                  <a:pt x="8407947" y="6631669"/>
                </a:cubicBezTo>
                <a:cubicBezTo>
                  <a:pt x="8399972" y="6640715"/>
                  <a:pt x="8386928" y="6643500"/>
                  <a:pt x="8375887" y="6638514"/>
                </a:cubicBezTo>
                <a:cubicBezTo>
                  <a:pt x="8372423" y="6636911"/>
                  <a:pt x="8369358" y="6634574"/>
                  <a:pt x="8366910" y="6631669"/>
                </a:cubicBezTo>
                <a:cubicBezTo>
                  <a:pt x="8364379" y="6628580"/>
                  <a:pt x="8362446" y="6625056"/>
                  <a:pt x="8361211" y="6621274"/>
                </a:cubicBezTo>
                <a:cubicBezTo>
                  <a:pt x="8359769" y="6617063"/>
                  <a:pt x="8359038" y="6612647"/>
                  <a:pt x="8359045" y="6608203"/>
                </a:cubicBezTo>
                <a:cubicBezTo>
                  <a:pt x="8358993" y="6603717"/>
                  <a:pt x="8359686" y="6599254"/>
                  <a:pt x="8361097" y="6594991"/>
                </a:cubicBezTo>
                <a:cubicBezTo>
                  <a:pt x="8362323" y="6591226"/>
                  <a:pt x="8364257" y="6587723"/>
                  <a:pt x="8366796" y="6584666"/>
                </a:cubicBezTo>
                <a:cubicBezTo>
                  <a:pt x="8370813" y="6580158"/>
                  <a:pt x="8376085" y="6577215"/>
                  <a:pt x="8381735" y="6576022"/>
                </a:cubicBezTo>
                <a:close/>
                <a:moveTo>
                  <a:pt x="8525633" y="6553486"/>
                </a:moveTo>
                <a:lnTo>
                  <a:pt x="8525633" y="6599432"/>
                </a:lnTo>
                <a:lnTo>
                  <a:pt x="8525633" y="6662773"/>
                </a:lnTo>
                <a:lnTo>
                  <a:pt x="8595623" y="6662773"/>
                </a:lnTo>
                <a:lnTo>
                  <a:pt x="8596022" y="6662773"/>
                </a:lnTo>
                <a:lnTo>
                  <a:pt x="8596022" y="6645772"/>
                </a:lnTo>
                <a:lnTo>
                  <a:pt x="8595623" y="6645772"/>
                </a:lnTo>
                <a:lnTo>
                  <a:pt x="8595623" y="6639674"/>
                </a:lnTo>
                <a:lnTo>
                  <a:pt x="8551295" y="6639674"/>
                </a:lnTo>
                <a:lnTo>
                  <a:pt x="8551295" y="6618349"/>
                </a:lnTo>
                <a:lnTo>
                  <a:pt x="8591705" y="6618349"/>
                </a:lnTo>
                <a:lnTo>
                  <a:pt x="8591705" y="6596277"/>
                </a:lnTo>
                <a:lnTo>
                  <a:pt x="8551295" y="6596277"/>
                </a:lnTo>
                <a:lnTo>
                  <a:pt x="8551295" y="6576755"/>
                </a:lnTo>
                <a:lnTo>
                  <a:pt x="8595623" y="6576755"/>
                </a:lnTo>
                <a:lnTo>
                  <a:pt x="8595623" y="6570487"/>
                </a:lnTo>
                <a:lnTo>
                  <a:pt x="8596022" y="6570487"/>
                </a:lnTo>
                <a:lnTo>
                  <a:pt x="8596022" y="6553486"/>
                </a:lnTo>
                <a:lnTo>
                  <a:pt x="8595623" y="6553486"/>
                </a:lnTo>
                <a:lnTo>
                  <a:pt x="8547362" y="6553486"/>
                </a:lnTo>
                <a:close/>
                <a:moveTo>
                  <a:pt x="8448177" y="6553486"/>
                </a:moveTo>
                <a:lnTo>
                  <a:pt x="8448177" y="6599432"/>
                </a:lnTo>
                <a:lnTo>
                  <a:pt x="8448177" y="6662773"/>
                </a:lnTo>
                <a:lnTo>
                  <a:pt x="8518167" y="6662773"/>
                </a:lnTo>
                <a:lnTo>
                  <a:pt x="8518552" y="6662773"/>
                </a:lnTo>
                <a:lnTo>
                  <a:pt x="8518552" y="6645772"/>
                </a:lnTo>
                <a:lnTo>
                  <a:pt x="8518167" y="6645772"/>
                </a:lnTo>
                <a:lnTo>
                  <a:pt x="8518167" y="6639674"/>
                </a:lnTo>
                <a:lnTo>
                  <a:pt x="8473825" y="6639674"/>
                </a:lnTo>
                <a:lnTo>
                  <a:pt x="8473825" y="6618349"/>
                </a:lnTo>
                <a:lnTo>
                  <a:pt x="8514235" y="6618349"/>
                </a:lnTo>
                <a:lnTo>
                  <a:pt x="8514235" y="6596277"/>
                </a:lnTo>
                <a:lnTo>
                  <a:pt x="8473825" y="6596277"/>
                </a:lnTo>
                <a:lnTo>
                  <a:pt x="8473825" y="6576755"/>
                </a:lnTo>
                <a:lnTo>
                  <a:pt x="8518167" y="6576755"/>
                </a:lnTo>
                <a:lnTo>
                  <a:pt x="8518167" y="6570487"/>
                </a:lnTo>
                <a:lnTo>
                  <a:pt x="8518552" y="6570487"/>
                </a:lnTo>
                <a:lnTo>
                  <a:pt x="8518552" y="6553486"/>
                </a:lnTo>
                <a:lnTo>
                  <a:pt x="8518167" y="6553486"/>
                </a:lnTo>
                <a:lnTo>
                  <a:pt x="8469892" y="6553486"/>
                </a:lnTo>
                <a:close/>
                <a:moveTo>
                  <a:pt x="8387913" y="6553453"/>
                </a:moveTo>
                <a:cubicBezTo>
                  <a:pt x="8380162" y="6553369"/>
                  <a:pt x="8372471" y="6554805"/>
                  <a:pt x="8365286" y="6557679"/>
                </a:cubicBezTo>
                <a:cubicBezTo>
                  <a:pt x="8362463" y="6558830"/>
                  <a:pt x="8359742" y="6560211"/>
                  <a:pt x="8357150" y="6561806"/>
                </a:cubicBezTo>
                <a:lnTo>
                  <a:pt x="8332784" y="6613372"/>
                </a:lnTo>
                <a:cubicBezTo>
                  <a:pt x="8333178" y="6619008"/>
                  <a:pt x="8334392" y="6624558"/>
                  <a:pt x="8336389" y="6629852"/>
                </a:cubicBezTo>
                <a:cubicBezTo>
                  <a:pt x="8341193" y="6642926"/>
                  <a:pt x="8351385" y="6653370"/>
                  <a:pt x="8364431" y="6658585"/>
                </a:cubicBezTo>
                <a:cubicBezTo>
                  <a:pt x="8371564" y="6661469"/>
                  <a:pt x="8379210" y="6662906"/>
                  <a:pt x="8386916" y="6662811"/>
                </a:cubicBezTo>
                <a:cubicBezTo>
                  <a:pt x="8394648" y="6662898"/>
                  <a:pt x="8402321" y="6661462"/>
                  <a:pt x="8409486" y="6658585"/>
                </a:cubicBezTo>
                <a:cubicBezTo>
                  <a:pt x="8416013" y="6655943"/>
                  <a:pt x="8421943" y="6652041"/>
                  <a:pt x="8426926" y="6647106"/>
                </a:cubicBezTo>
                <a:cubicBezTo>
                  <a:pt x="8431850" y="6642179"/>
                  <a:pt x="8435700" y="6636306"/>
                  <a:pt x="8438240" y="6629852"/>
                </a:cubicBezTo>
                <a:cubicBezTo>
                  <a:pt x="8440974" y="6622958"/>
                  <a:pt x="8442338" y="6615607"/>
                  <a:pt x="8442258" y="6608203"/>
                </a:cubicBezTo>
                <a:cubicBezTo>
                  <a:pt x="8442328" y="6600785"/>
                  <a:pt x="8441019" y="6593419"/>
                  <a:pt x="8438397" y="6586469"/>
                </a:cubicBezTo>
                <a:cubicBezTo>
                  <a:pt x="8435967" y="6580025"/>
                  <a:pt x="8432239" y="6574136"/>
                  <a:pt x="8427439" y="6569158"/>
                </a:cubicBezTo>
                <a:cubicBezTo>
                  <a:pt x="8422597" y="6564212"/>
                  <a:pt x="8416777" y="6560305"/>
                  <a:pt x="8410341" y="6557679"/>
                </a:cubicBezTo>
                <a:cubicBezTo>
                  <a:pt x="8403230" y="6554789"/>
                  <a:pt x="8395601" y="6553352"/>
                  <a:pt x="8387913" y="6553453"/>
                </a:cubicBezTo>
                <a:close/>
                <a:moveTo>
                  <a:pt x="8245203" y="6553106"/>
                </a:moveTo>
                <a:lnTo>
                  <a:pt x="8261546" y="6587178"/>
                </a:lnTo>
                <a:lnTo>
                  <a:pt x="8288505" y="6587178"/>
                </a:lnTo>
                <a:lnTo>
                  <a:pt x="8274156" y="6553106"/>
                </a:lnTo>
                <a:close/>
                <a:moveTo>
                  <a:pt x="8325053" y="6553092"/>
                </a:moveTo>
                <a:lnTo>
                  <a:pt x="8299363" y="6612222"/>
                </a:lnTo>
                <a:lnTo>
                  <a:pt x="8292395" y="6595883"/>
                </a:lnTo>
                <a:lnTo>
                  <a:pt x="8265650" y="6595883"/>
                </a:lnTo>
                <a:lnTo>
                  <a:pt x="8297582" y="6662548"/>
                </a:lnTo>
                <a:lnTo>
                  <a:pt x="8300545" y="6662548"/>
                </a:lnTo>
                <a:lnTo>
                  <a:pt x="8352283" y="6553092"/>
                </a:lnTo>
                <a:close/>
                <a:moveTo>
                  <a:pt x="8704282" y="6515554"/>
                </a:moveTo>
                <a:lnTo>
                  <a:pt x="8704282" y="6690482"/>
                </a:lnTo>
                <a:lnTo>
                  <a:pt x="8723671" y="6690482"/>
                </a:lnTo>
                <a:lnTo>
                  <a:pt x="8723671" y="6515554"/>
                </a:lnTo>
                <a:close/>
                <a:moveTo>
                  <a:pt x="0" y="0"/>
                </a:moveTo>
                <a:lnTo>
                  <a:pt x="9144000" y="0"/>
                </a:lnTo>
                <a:lnTo>
                  <a:pt x="9144000" y="6214681"/>
                </a:lnTo>
                <a:lnTo>
                  <a:pt x="9144000" y="6397151"/>
                </a:lnTo>
                <a:lnTo>
                  <a:pt x="9144000" y="6401792"/>
                </a:lnTo>
                <a:lnTo>
                  <a:pt x="9144000" y="6434962"/>
                </a:lnTo>
                <a:lnTo>
                  <a:pt x="9144000" y="6858000"/>
                </a:lnTo>
                <a:lnTo>
                  <a:pt x="8995529" y="6858000"/>
                </a:lnTo>
                <a:lnTo>
                  <a:pt x="7924718" y="6858000"/>
                </a:lnTo>
                <a:lnTo>
                  <a:pt x="0" y="6858000"/>
                </a:lnTo>
                <a:lnTo>
                  <a:pt x="0" y="6434962"/>
                </a:lnTo>
                <a:lnTo>
                  <a:pt x="0" y="6401792"/>
                </a:lnTo>
                <a:lnTo>
                  <a:pt x="0" y="6397151"/>
                </a:lnTo>
                <a:lnTo>
                  <a:pt x="0" y="6214681"/>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 Drag image onto slide to add photo </a:t>
            </a:r>
          </a:p>
        </p:txBody>
      </p:sp>
      <p:grpSp>
        <p:nvGrpSpPr>
          <p:cNvPr id="6" name="Group 5">
            <a:extLst>
              <a:ext uri="{FF2B5EF4-FFF2-40B4-BE49-F238E27FC236}">
                <a16:creationId xmlns:a16="http://schemas.microsoft.com/office/drawing/2014/main" id="{CDC1CA07-8C63-8647-8A4A-38C9BB1B9E32}"/>
              </a:ext>
            </a:extLst>
          </p:cNvPr>
          <p:cNvGrpSpPr/>
          <p:nvPr userDrawn="1"/>
        </p:nvGrpSpPr>
        <p:grpSpPr>
          <a:xfrm>
            <a:off x="-339919" y="-244225"/>
            <a:ext cx="12877237"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99801"/>
                <a:ext cx="307777" cy="129266"/>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0" cy="235792"/>
              <a:chOff x="431800" y="-240735"/>
              <a:chExt cx="8280400"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914337" y="-176700"/>
                <a:ext cx="1315340"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0" y="-122839"/>
                <a:ext cx="3482537"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a:off x="5229677" y="-122839"/>
                <a:ext cx="348252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869729" y="3686135"/>
                  <a:ext cx="1478115" cy="8079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flipH="1">
                  <a:off x="-130672" y="4465589"/>
                  <a:ext cx="2" cy="1682549"/>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2" cy="1682546"/>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123421" y="6868673"/>
              <a:ext cx="2930114" cy="235790"/>
              <a:chOff x="3121388" y="6869197"/>
              <a:chExt cx="2930114"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121388" y="6954537"/>
                <a:ext cx="153888"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87991" y="6954537"/>
                <a:ext cx="170720"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69961" y="6954537"/>
                <a:ext cx="181541"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6096000"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575733" y="6200775"/>
            <a:ext cx="4934115"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sp>
        <p:nvSpPr>
          <p:cNvPr id="500" name="Caption">
            <a:extLst>
              <a:ext uri="{FF2B5EF4-FFF2-40B4-BE49-F238E27FC236}">
                <a16:creationId xmlns:a16="http://schemas.microsoft.com/office/drawing/2014/main" id="{3907BEE1-E170-4B45-8716-60BA2FC22521}"/>
              </a:ext>
            </a:extLst>
          </p:cNvPr>
          <p:cNvSpPr>
            <a:spLocks noGrp="1"/>
          </p:cNvSpPr>
          <p:nvPr>
            <p:ph type="body" sz="quarter" idx="500" hasCustomPrompt="1"/>
          </p:nvPr>
        </p:nvSpPr>
        <p:spPr>
          <a:xfrm>
            <a:off x="7947046" y="6200776"/>
            <a:ext cx="3657167"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dirty="0"/>
              <a:t>Click to add photo caption</a:t>
            </a:r>
          </a:p>
        </p:txBody>
      </p:sp>
      <p:grpSp>
        <p:nvGrpSpPr>
          <p:cNvPr id="144" name="Group 143">
            <a:extLst>
              <a:ext uri="{FF2B5EF4-FFF2-40B4-BE49-F238E27FC236}">
                <a16:creationId xmlns:a16="http://schemas.microsoft.com/office/drawing/2014/main" id="{2368DF05-568B-8542-8C72-DF1F57E7755B}"/>
              </a:ext>
            </a:extLst>
          </p:cNvPr>
          <p:cNvGrpSpPr/>
          <p:nvPr userDrawn="1"/>
        </p:nvGrpSpPr>
        <p:grpSpPr>
          <a:xfrm>
            <a:off x="12532244" y="-2"/>
            <a:ext cx="3948953" cy="11187339"/>
            <a:chOff x="9399182" y="-2"/>
            <a:chExt cx="2961715" cy="11187339"/>
          </a:xfrm>
        </p:grpSpPr>
        <p:sp>
          <p:nvSpPr>
            <p:cNvPr id="145" name="Rectangle 144">
              <a:extLst>
                <a:ext uri="{FF2B5EF4-FFF2-40B4-BE49-F238E27FC236}">
                  <a16:creationId xmlns:a16="http://schemas.microsoft.com/office/drawing/2014/main" id="{46F9184D-8E86-4D45-B84F-2FFA5448B70D}"/>
                </a:ext>
              </a:extLst>
            </p:cNvPr>
            <p:cNvSpPr/>
            <p:nvPr userDrawn="1"/>
          </p:nvSpPr>
          <p:spPr>
            <a:xfrm>
              <a:off x="9399182" y="-2"/>
              <a:ext cx="2798651" cy="1101500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146" name="Picture 145">
              <a:extLst>
                <a:ext uri="{FF2B5EF4-FFF2-40B4-BE49-F238E27FC236}">
                  <a16:creationId xmlns:a16="http://schemas.microsoft.com/office/drawing/2014/main" id="{C603612C-55C8-C541-8D50-2F8B676C0A9B}"/>
                </a:ext>
              </a:extLst>
            </p:cNvPr>
            <p:cNvPicPr>
              <a:picLocks noChangeAspect="1"/>
            </p:cNvPicPr>
            <p:nvPr userDrawn="1"/>
          </p:nvPicPr>
          <p:blipFill rotWithShape="1">
            <a:blip r:embed="rId2"/>
            <a:srcRect t="17021" r="58309" b="16813"/>
            <a:stretch/>
          </p:blipFill>
          <p:spPr>
            <a:xfrm>
              <a:off x="9558505" y="1321569"/>
              <a:ext cx="2639327" cy="1095417"/>
            </a:xfrm>
            <a:prstGeom prst="rect">
              <a:avLst/>
            </a:prstGeom>
          </p:spPr>
        </p:pic>
        <p:sp>
          <p:nvSpPr>
            <p:cNvPr id="147" name="Rectangle 146">
              <a:extLst>
                <a:ext uri="{FF2B5EF4-FFF2-40B4-BE49-F238E27FC236}">
                  <a16:creationId xmlns:a16="http://schemas.microsoft.com/office/drawing/2014/main" id="{9A91BC00-A745-1C44-8C0F-2E56EB93F065}"/>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48" name="TextBox 147">
              <a:extLst>
                <a:ext uri="{FF2B5EF4-FFF2-40B4-BE49-F238E27FC236}">
                  <a16:creationId xmlns:a16="http://schemas.microsoft.com/office/drawing/2014/main" id="{9382585A-4F78-B447-8773-3700C9C77510}"/>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49" name="Picture 148">
              <a:extLst>
                <a:ext uri="{FF2B5EF4-FFF2-40B4-BE49-F238E27FC236}">
                  <a16:creationId xmlns:a16="http://schemas.microsoft.com/office/drawing/2014/main" id="{FA314583-5943-5747-A179-6750C843A6DA}"/>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50" name="TextBox 149">
              <a:extLst>
                <a:ext uri="{FF2B5EF4-FFF2-40B4-BE49-F238E27FC236}">
                  <a16:creationId xmlns:a16="http://schemas.microsoft.com/office/drawing/2014/main" id="{667736F2-0684-7049-915D-E1AE4FEF1C1F}"/>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151" name="Straight Connector 150">
              <a:extLst>
                <a:ext uri="{FF2B5EF4-FFF2-40B4-BE49-F238E27FC236}">
                  <a16:creationId xmlns:a16="http://schemas.microsoft.com/office/drawing/2014/main" id="{8B02C5E0-ADB8-2F46-8348-B72DA9D08CF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52" name="Group 151">
              <a:extLst>
                <a:ext uri="{FF2B5EF4-FFF2-40B4-BE49-F238E27FC236}">
                  <a16:creationId xmlns:a16="http://schemas.microsoft.com/office/drawing/2014/main" id="{CDE6DBBA-CE9A-2042-B7D5-0165AD2334E5}"/>
                </a:ext>
              </a:extLst>
            </p:cNvPr>
            <p:cNvGrpSpPr/>
            <p:nvPr userDrawn="1"/>
          </p:nvGrpSpPr>
          <p:grpSpPr>
            <a:xfrm>
              <a:off x="9521833" y="3751281"/>
              <a:ext cx="2754815" cy="7436056"/>
              <a:chOff x="9521833" y="2531409"/>
              <a:chExt cx="2754815" cy="7436056"/>
            </a:xfrm>
          </p:grpSpPr>
          <p:sp>
            <p:nvSpPr>
              <p:cNvPr id="161" name="TextBox 160">
                <a:extLst>
                  <a:ext uri="{FF2B5EF4-FFF2-40B4-BE49-F238E27FC236}">
                    <a16:creationId xmlns:a16="http://schemas.microsoft.com/office/drawing/2014/main" id="{A854AB62-018A-CB4B-8521-979E582C96DE}"/>
                  </a:ext>
                </a:extLst>
              </p:cNvPr>
              <p:cNvSpPr txBox="1"/>
              <p:nvPr userDrawn="1"/>
            </p:nvSpPr>
            <p:spPr>
              <a:xfrm>
                <a:off x="9558507" y="3953640"/>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162" name="Straight Connector 161">
                <a:extLst>
                  <a:ext uri="{FF2B5EF4-FFF2-40B4-BE49-F238E27FC236}">
                    <a16:creationId xmlns:a16="http://schemas.microsoft.com/office/drawing/2014/main" id="{511FF7D6-EE76-9E48-B953-E8C488A6DC3E}"/>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63" name="TextBox 162">
                <a:extLst>
                  <a:ext uri="{FF2B5EF4-FFF2-40B4-BE49-F238E27FC236}">
                    <a16:creationId xmlns:a16="http://schemas.microsoft.com/office/drawing/2014/main" id="{5EE5D691-B3DD-7940-A2EE-4F1242AE5D3A}"/>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sp>
            <p:nvSpPr>
              <p:cNvPr id="164" name="Rectangle 163">
                <a:extLst>
                  <a:ext uri="{FF2B5EF4-FFF2-40B4-BE49-F238E27FC236}">
                    <a16:creationId xmlns:a16="http://schemas.microsoft.com/office/drawing/2014/main" id="{DA9D6203-1E48-DF4B-BDC3-B397A843D5F5}"/>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65" name="TextBox 164">
                <a:extLst>
                  <a:ext uri="{FF2B5EF4-FFF2-40B4-BE49-F238E27FC236}">
                    <a16:creationId xmlns:a16="http://schemas.microsoft.com/office/drawing/2014/main" id="{C3359E59-5350-D34B-A3EA-40E99A3FD6B7}"/>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66" name="Graphic 165">
                <a:extLst>
                  <a:ext uri="{FF2B5EF4-FFF2-40B4-BE49-F238E27FC236}">
                    <a16:creationId xmlns:a16="http://schemas.microsoft.com/office/drawing/2014/main" id="{050619D2-D343-C74D-A7AE-31444836923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167" name="TextBox 166">
                <a:extLst>
                  <a:ext uri="{FF2B5EF4-FFF2-40B4-BE49-F238E27FC236}">
                    <a16:creationId xmlns:a16="http://schemas.microsoft.com/office/drawing/2014/main" id="{00C56975-AB4A-2543-A94B-0493E8E4AF6F}"/>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68" name="TextBox 167">
                <a:extLst>
                  <a:ext uri="{FF2B5EF4-FFF2-40B4-BE49-F238E27FC236}">
                    <a16:creationId xmlns:a16="http://schemas.microsoft.com/office/drawing/2014/main" id="{D124988A-7981-B841-BB41-B682BE6C4461}"/>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69" name="TextBox 168">
                <a:extLst>
                  <a:ext uri="{FF2B5EF4-FFF2-40B4-BE49-F238E27FC236}">
                    <a16:creationId xmlns:a16="http://schemas.microsoft.com/office/drawing/2014/main" id="{556222D6-2C29-844E-BCEB-F80A3A82B3EB}"/>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170" name="Rectangle 169">
                <a:extLst>
                  <a:ext uri="{FF2B5EF4-FFF2-40B4-BE49-F238E27FC236}">
                    <a16:creationId xmlns:a16="http://schemas.microsoft.com/office/drawing/2014/main" id="{A64B4767-3CEA-BC46-97EA-2C980219C696}"/>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71" name="TextBox 170">
                <a:extLst>
                  <a:ext uri="{FF2B5EF4-FFF2-40B4-BE49-F238E27FC236}">
                    <a16:creationId xmlns:a16="http://schemas.microsoft.com/office/drawing/2014/main" id="{2D773D81-6CE7-9842-A402-24F9E5DA7A41}"/>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72" name="Graphic 171">
                <a:extLst>
                  <a:ext uri="{FF2B5EF4-FFF2-40B4-BE49-F238E27FC236}">
                    <a16:creationId xmlns:a16="http://schemas.microsoft.com/office/drawing/2014/main" id="{36B14339-67DD-8D4B-B01C-96674861DC3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173" name="TextBox 172">
                <a:extLst>
                  <a:ext uri="{FF2B5EF4-FFF2-40B4-BE49-F238E27FC236}">
                    <a16:creationId xmlns:a16="http://schemas.microsoft.com/office/drawing/2014/main" id="{780D3816-2F37-C44F-BB3D-AAD1BD77FCFA}"/>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74" name="Picture 173">
                <a:extLst>
                  <a:ext uri="{FF2B5EF4-FFF2-40B4-BE49-F238E27FC236}">
                    <a16:creationId xmlns:a16="http://schemas.microsoft.com/office/drawing/2014/main" id="{0A78A0F4-3B2A-0840-B2ED-D10184A35C28}"/>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175" name="TextBox 174">
                <a:extLst>
                  <a:ext uri="{FF2B5EF4-FFF2-40B4-BE49-F238E27FC236}">
                    <a16:creationId xmlns:a16="http://schemas.microsoft.com/office/drawing/2014/main" id="{86D47968-FA35-774E-AF51-0C090A1928AC}"/>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76" name="TextBox 175">
                <a:extLst>
                  <a:ext uri="{FF2B5EF4-FFF2-40B4-BE49-F238E27FC236}">
                    <a16:creationId xmlns:a16="http://schemas.microsoft.com/office/drawing/2014/main" id="{12E64578-3F1D-6649-852E-6A3EAA8D6CBB}"/>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77" name="TextBox 176">
                <a:extLst>
                  <a:ext uri="{FF2B5EF4-FFF2-40B4-BE49-F238E27FC236}">
                    <a16:creationId xmlns:a16="http://schemas.microsoft.com/office/drawing/2014/main" id="{030BA93C-7BDC-A64D-B6DC-746732C83C30}"/>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sp>
            <p:nvSpPr>
              <p:cNvPr id="178" name="TextBox 177">
                <a:extLst>
                  <a:ext uri="{FF2B5EF4-FFF2-40B4-BE49-F238E27FC236}">
                    <a16:creationId xmlns:a16="http://schemas.microsoft.com/office/drawing/2014/main" id="{581B96C2-BEBF-A94F-82A9-8A26BA103B53}"/>
                  </a:ext>
                </a:extLst>
              </p:cNvPr>
              <p:cNvSpPr txBox="1"/>
              <p:nvPr userDrawn="1"/>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79" name="TextBox 178">
                <a:extLst>
                  <a:ext uri="{FF2B5EF4-FFF2-40B4-BE49-F238E27FC236}">
                    <a16:creationId xmlns:a16="http://schemas.microsoft.com/office/drawing/2014/main" id="{0EFE05D7-5CE1-7146-8853-1139A08DF9E6}"/>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80" name="TextBox 179">
                <a:extLst>
                  <a:ext uri="{FF2B5EF4-FFF2-40B4-BE49-F238E27FC236}">
                    <a16:creationId xmlns:a16="http://schemas.microsoft.com/office/drawing/2014/main" id="{E8BD0C13-8FBE-394A-910E-10615590B6A1}"/>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81" name="TextBox 180">
                <a:extLst>
                  <a:ext uri="{FF2B5EF4-FFF2-40B4-BE49-F238E27FC236}">
                    <a16:creationId xmlns:a16="http://schemas.microsoft.com/office/drawing/2014/main" id="{D7FB5246-47EA-FD4F-8D6E-196E7AD7FA38}"/>
                  </a:ext>
                </a:extLst>
              </p:cNvPr>
              <p:cNvSpPr txBox="1"/>
              <p:nvPr userDrawn="1"/>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82" name="Rectangle 181">
                <a:extLst>
                  <a:ext uri="{FF2B5EF4-FFF2-40B4-BE49-F238E27FC236}">
                    <a16:creationId xmlns:a16="http://schemas.microsoft.com/office/drawing/2014/main" id="{B89C480E-A71A-D44E-B608-4344003C99CB}"/>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83" name="TextBox 182">
                <a:extLst>
                  <a:ext uri="{FF2B5EF4-FFF2-40B4-BE49-F238E27FC236}">
                    <a16:creationId xmlns:a16="http://schemas.microsoft.com/office/drawing/2014/main" id="{DD62B91F-6210-1449-A8C8-796BD40FAB50}"/>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84" name="Graphic 183">
                <a:extLst>
                  <a:ext uri="{FF2B5EF4-FFF2-40B4-BE49-F238E27FC236}">
                    <a16:creationId xmlns:a16="http://schemas.microsoft.com/office/drawing/2014/main" id="{BC18E47A-0D07-5E4B-92C8-9B3BB2EA831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85" name="TextBox 184">
                <a:extLst>
                  <a:ext uri="{FF2B5EF4-FFF2-40B4-BE49-F238E27FC236}">
                    <a16:creationId xmlns:a16="http://schemas.microsoft.com/office/drawing/2014/main" id="{A34A608C-8516-8545-9041-572194C4BC91}"/>
                  </a:ext>
                </a:extLst>
              </p:cNvPr>
              <p:cNvSpPr txBox="1"/>
              <p:nvPr userDrawn="1"/>
            </p:nvSpPr>
            <p:spPr>
              <a:xfrm>
                <a:off x="9701720" y="2924393"/>
                <a:ext cx="2214055" cy="53707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nvGrpSpPr>
            <p:cNvPr id="153" name="Group 152">
              <a:extLst>
                <a:ext uri="{FF2B5EF4-FFF2-40B4-BE49-F238E27FC236}">
                  <a16:creationId xmlns:a16="http://schemas.microsoft.com/office/drawing/2014/main" id="{D31E61DD-2C09-1F45-A7EF-4AD5FA85F952}"/>
                </a:ext>
              </a:extLst>
            </p:cNvPr>
            <p:cNvGrpSpPr/>
            <p:nvPr userDrawn="1"/>
          </p:nvGrpSpPr>
          <p:grpSpPr>
            <a:xfrm>
              <a:off x="9540503" y="2468708"/>
              <a:ext cx="2806644" cy="1181890"/>
              <a:chOff x="9554253" y="2414886"/>
              <a:chExt cx="2806644" cy="1181890"/>
            </a:xfrm>
          </p:grpSpPr>
          <p:grpSp>
            <p:nvGrpSpPr>
              <p:cNvPr id="154" name="Group 153">
                <a:extLst>
                  <a:ext uri="{FF2B5EF4-FFF2-40B4-BE49-F238E27FC236}">
                    <a16:creationId xmlns:a16="http://schemas.microsoft.com/office/drawing/2014/main" id="{AE515DAB-7829-4E46-8033-92951355A1AC}"/>
                  </a:ext>
                </a:extLst>
              </p:cNvPr>
              <p:cNvGrpSpPr/>
              <p:nvPr userDrawn="1"/>
            </p:nvGrpSpPr>
            <p:grpSpPr>
              <a:xfrm>
                <a:off x="9554253" y="2414886"/>
                <a:ext cx="2735150" cy="1181890"/>
                <a:chOff x="9541498" y="3751132"/>
                <a:chExt cx="2735150" cy="1181890"/>
              </a:xfrm>
            </p:grpSpPr>
            <p:grpSp>
              <p:nvGrpSpPr>
                <p:cNvPr id="156" name="Group 155">
                  <a:extLst>
                    <a:ext uri="{FF2B5EF4-FFF2-40B4-BE49-F238E27FC236}">
                      <a16:creationId xmlns:a16="http://schemas.microsoft.com/office/drawing/2014/main" id="{5785614C-7308-5841-9902-E01FC7DF0F79}"/>
                    </a:ext>
                  </a:extLst>
                </p:cNvPr>
                <p:cNvGrpSpPr/>
                <p:nvPr userDrawn="1"/>
              </p:nvGrpSpPr>
              <p:grpSpPr>
                <a:xfrm>
                  <a:off x="9541498" y="3751132"/>
                  <a:ext cx="2735150" cy="1181890"/>
                  <a:chOff x="9296568" y="4910411"/>
                  <a:chExt cx="2735150" cy="1181890"/>
                </a:xfrm>
              </p:grpSpPr>
              <p:sp>
                <p:nvSpPr>
                  <p:cNvPr id="158" name="Rectangle 157">
                    <a:extLst>
                      <a:ext uri="{FF2B5EF4-FFF2-40B4-BE49-F238E27FC236}">
                        <a16:creationId xmlns:a16="http://schemas.microsoft.com/office/drawing/2014/main" id="{59501F35-B809-2B4D-94F5-1FBC3C009A86}"/>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59" name="TextBox 158">
                    <a:extLst>
                      <a:ext uri="{FF2B5EF4-FFF2-40B4-BE49-F238E27FC236}">
                        <a16:creationId xmlns:a16="http://schemas.microsoft.com/office/drawing/2014/main" id="{9CDE9FBA-1F86-8948-A493-6011E0A7AAC8}"/>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160" name="TextBox 159">
                    <a:extLst>
                      <a:ext uri="{FF2B5EF4-FFF2-40B4-BE49-F238E27FC236}">
                        <a16:creationId xmlns:a16="http://schemas.microsoft.com/office/drawing/2014/main" id="{45394A56-E008-A14E-AECC-1347077C6587}"/>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157" name="Graphic 156">
                  <a:extLst>
                    <a:ext uri="{FF2B5EF4-FFF2-40B4-BE49-F238E27FC236}">
                      <a16:creationId xmlns:a16="http://schemas.microsoft.com/office/drawing/2014/main" id="{33074372-DE62-C049-AC9B-F5C2A426647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155" name="Picture 154">
                <a:extLst>
                  <a:ext uri="{FF2B5EF4-FFF2-40B4-BE49-F238E27FC236}">
                    <a16:creationId xmlns:a16="http://schemas.microsoft.com/office/drawing/2014/main" id="{538972A4-60AB-0A4B-AD4C-080FA4770747}"/>
                  </a:ext>
                </a:extLst>
              </p:cNvPr>
              <p:cNvPicPr>
                <a:picLocks noChangeAspect="1"/>
              </p:cNvPicPr>
              <p:nvPr userDrawn="1"/>
            </p:nvPicPr>
            <p:blipFill rotWithShape="1">
              <a:blip r:embed="rId9"/>
              <a:srcRect t="5468" r="25071" b="3995"/>
              <a:stretch/>
            </p:blipFill>
            <p:spPr>
              <a:xfrm>
                <a:off x="10779975" y="2820522"/>
                <a:ext cx="1580922" cy="695279"/>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765666809"/>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tatistics Text Over Photo (Full)">
    <p:bg>
      <p:bgPr>
        <a:solidFill>
          <a:schemeClr val="bg1"/>
        </a:solidFill>
        <a:effectLst/>
      </p:bgPr>
    </p:bg>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041452B9-404B-4B43-893C-BB42AF2A9105}"/>
              </a:ext>
            </a:extLst>
          </p:cNvPr>
          <p:cNvSpPr txBox="1">
            <a:spLocks/>
          </p:cNvSpPr>
          <p:nvPr userDrawn="1"/>
        </p:nvSpPr>
        <p:spPr>
          <a:xfrm>
            <a:off x="0" y="6200777"/>
            <a:ext cx="12192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1400" dirty="0"/>
          </a:p>
        </p:txBody>
      </p:sp>
      <p:sp>
        <p:nvSpPr>
          <p:cNvPr id="93" name="Picture Placeholder 92">
            <a:extLst>
              <a:ext uri="{FF2B5EF4-FFF2-40B4-BE49-F238E27FC236}">
                <a16:creationId xmlns:a16="http://schemas.microsoft.com/office/drawing/2014/main" id="{96643F1E-EEDF-7D42-A27B-58F498588AD4}"/>
              </a:ext>
            </a:extLst>
          </p:cNvPr>
          <p:cNvSpPr>
            <a:spLocks noGrp="1"/>
          </p:cNvSpPr>
          <p:nvPr>
            <p:ph type="pic" sz="quarter" idx="10" hasCustomPrompt="1"/>
          </p:nvPr>
        </p:nvSpPr>
        <p:spPr>
          <a:xfrm>
            <a:off x="0" y="0"/>
            <a:ext cx="12192000" cy="6858000"/>
          </a:xfrm>
          <a:custGeom>
            <a:avLst/>
            <a:gdLst>
              <a:gd name="connsiteX0" fmla="*/ 8381735 w 9144000"/>
              <a:gd name="connsiteY0" fmla="*/ 6576022 h 6858000"/>
              <a:gd name="connsiteX1" fmla="*/ 8398942 w 9144000"/>
              <a:gd name="connsiteY1" fmla="*/ 6577877 h 6858000"/>
              <a:gd name="connsiteX2" fmla="*/ 8407847 w 9144000"/>
              <a:gd name="connsiteY2" fmla="*/ 6584666 h 6858000"/>
              <a:gd name="connsiteX3" fmla="*/ 8413547 w 9144000"/>
              <a:gd name="connsiteY3" fmla="*/ 6594991 h 6858000"/>
              <a:gd name="connsiteX4" fmla="*/ 8415584 w 9144000"/>
              <a:gd name="connsiteY4" fmla="*/ 6608203 h 6858000"/>
              <a:gd name="connsiteX5" fmla="*/ 8413646 w 9144000"/>
              <a:gd name="connsiteY5" fmla="*/ 6621274 h 6858000"/>
              <a:gd name="connsiteX6" fmla="*/ 8407947 w 9144000"/>
              <a:gd name="connsiteY6" fmla="*/ 6631669 h 6858000"/>
              <a:gd name="connsiteX7" fmla="*/ 8375887 w 9144000"/>
              <a:gd name="connsiteY7" fmla="*/ 6638514 h 6858000"/>
              <a:gd name="connsiteX8" fmla="*/ 8366910 w 9144000"/>
              <a:gd name="connsiteY8" fmla="*/ 6631669 h 6858000"/>
              <a:gd name="connsiteX9" fmla="*/ 8361211 w 9144000"/>
              <a:gd name="connsiteY9" fmla="*/ 6621274 h 6858000"/>
              <a:gd name="connsiteX10" fmla="*/ 8359045 w 9144000"/>
              <a:gd name="connsiteY10" fmla="*/ 6608203 h 6858000"/>
              <a:gd name="connsiteX11" fmla="*/ 8361097 w 9144000"/>
              <a:gd name="connsiteY11" fmla="*/ 6594991 h 6858000"/>
              <a:gd name="connsiteX12" fmla="*/ 8366796 w 9144000"/>
              <a:gd name="connsiteY12" fmla="*/ 6584666 h 6858000"/>
              <a:gd name="connsiteX13" fmla="*/ 8381735 w 9144000"/>
              <a:gd name="connsiteY13" fmla="*/ 6576022 h 6858000"/>
              <a:gd name="connsiteX14" fmla="*/ 8525633 w 9144000"/>
              <a:gd name="connsiteY14" fmla="*/ 6553486 h 6858000"/>
              <a:gd name="connsiteX15" fmla="*/ 8525633 w 9144000"/>
              <a:gd name="connsiteY15" fmla="*/ 6599432 h 6858000"/>
              <a:gd name="connsiteX16" fmla="*/ 8525633 w 9144000"/>
              <a:gd name="connsiteY16" fmla="*/ 6662773 h 6858000"/>
              <a:gd name="connsiteX17" fmla="*/ 8595623 w 9144000"/>
              <a:gd name="connsiteY17" fmla="*/ 6662773 h 6858000"/>
              <a:gd name="connsiteX18" fmla="*/ 8596022 w 9144000"/>
              <a:gd name="connsiteY18" fmla="*/ 6662773 h 6858000"/>
              <a:gd name="connsiteX19" fmla="*/ 8596022 w 9144000"/>
              <a:gd name="connsiteY19" fmla="*/ 6645772 h 6858000"/>
              <a:gd name="connsiteX20" fmla="*/ 8595623 w 9144000"/>
              <a:gd name="connsiteY20" fmla="*/ 6645772 h 6858000"/>
              <a:gd name="connsiteX21" fmla="*/ 8595623 w 9144000"/>
              <a:gd name="connsiteY21" fmla="*/ 6639674 h 6858000"/>
              <a:gd name="connsiteX22" fmla="*/ 8551295 w 9144000"/>
              <a:gd name="connsiteY22" fmla="*/ 6639674 h 6858000"/>
              <a:gd name="connsiteX23" fmla="*/ 8551295 w 9144000"/>
              <a:gd name="connsiteY23" fmla="*/ 6618349 h 6858000"/>
              <a:gd name="connsiteX24" fmla="*/ 8591705 w 9144000"/>
              <a:gd name="connsiteY24" fmla="*/ 6618349 h 6858000"/>
              <a:gd name="connsiteX25" fmla="*/ 8591705 w 9144000"/>
              <a:gd name="connsiteY25" fmla="*/ 6596277 h 6858000"/>
              <a:gd name="connsiteX26" fmla="*/ 8551295 w 9144000"/>
              <a:gd name="connsiteY26" fmla="*/ 6596277 h 6858000"/>
              <a:gd name="connsiteX27" fmla="*/ 8551295 w 9144000"/>
              <a:gd name="connsiteY27" fmla="*/ 6576755 h 6858000"/>
              <a:gd name="connsiteX28" fmla="*/ 8595623 w 9144000"/>
              <a:gd name="connsiteY28" fmla="*/ 6576755 h 6858000"/>
              <a:gd name="connsiteX29" fmla="*/ 8595623 w 9144000"/>
              <a:gd name="connsiteY29" fmla="*/ 6570487 h 6858000"/>
              <a:gd name="connsiteX30" fmla="*/ 8596022 w 9144000"/>
              <a:gd name="connsiteY30" fmla="*/ 6570487 h 6858000"/>
              <a:gd name="connsiteX31" fmla="*/ 8596022 w 9144000"/>
              <a:gd name="connsiteY31" fmla="*/ 6553486 h 6858000"/>
              <a:gd name="connsiteX32" fmla="*/ 8595623 w 9144000"/>
              <a:gd name="connsiteY32" fmla="*/ 6553486 h 6858000"/>
              <a:gd name="connsiteX33" fmla="*/ 8547362 w 9144000"/>
              <a:gd name="connsiteY33" fmla="*/ 6553486 h 6858000"/>
              <a:gd name="connsiteX34" fmla="*/ 8448177 w 9144000"/>
              <a:gd name="connsiteY34" fmla="*/ 6553486 h 6858000"/>
              <a:gd name="connsiteX35" fmla="*/ 8448177 w 9144000"/>
              <a:gd name="connsiteY35" fmla="*/ 6599432 h 6858000"/>
              <a:gd name="connsiteX36" fmla="*/ 8448177 w 9144000"/>
              <a:gd name="connsiteY36" fmla="*/ 6662773 h 6858000"/>
              <a:gd name="connsiteX37" fmla="*/ 8518167 w 9144000"/>
              <a:gd name="connsiteY37" fmla="*/ 6662773 h 6858000"/>
              <a:gd name="connsiteX38" fmla="*/ 8518552 w 9144000"/>
              <a:gd name="connsiteY38" fmla="*/ 6662773 h 6858000"/>
              <a:gd name="connsiteX39" fmla="*/ 8518552 w 9144000"/>
              <a:gd name="connsiteY39" fmla="*/ 6645772 h 6858000"/>
              <a:gd name="connsiteX40" fmla="*/ 8518167 w 9144000"/>
              <a:gd name="connsiteY40" fmla="*/ 6645772 h 6858000"/>
              <a:gd name="connsiteX41" fmla="*/ 8518167 w 9144000"/>
              <a:gd name="connsiteY41" fmla="*/ 6639674 h 6858000"/>
              <a:gd name="connsiteX42" fmla="*/ 8473825 w 9144000"/>
              <a:gd name="connsiteY42" fmla="*/ 6639674 h 6858000"/>
              <a:gd name="connsiteX43" fmla="*/ 8473825 w 9144000"/>
              <a:gd name="connsiteY43" fmla="*/ 6618349 h 6858000"/>
              <a:gd name="connsiteX44" fmla="*/ 8514235 w 9144000"/>
              <a:gd name="connsiteY44" fmla="*/ 6618349 h 6858000"/>
              <a:gd name="connsiteX45" fmla="*/ 8514235 w 9144000"/>
              <a:gd name="connsiteY45" fmla="*/ 6596277 h 6858000"/>
              <a:gd name="connsiteX46" fmla="*/ 8473825 w 9144000"/>
              <a:gd name="connsiteY46" fmla="*/ 6596277 h 6858000"/>
              <a:gd name="connsiteX47" fmla="*/ 8473825 w 9144000"/>
              <a:gd name="connsiteY47" fmla="*/ 6576755 h 6858000"/>
              <a:gd name="connsiteX48" fmla="*/ 8518167 w 9144000"/>
              <a:gd name="connsiteY48" fmla="*/ 6576755 h 6858000"/>
              <a:gd name="connsiteX49" fmla="*/ 8518167 w 9144000"/>
              <a:gd name="connsiteY49" fmla="*/ 6570487 h 6858000"/>
              <a:gd name="connsiteX50" fmla="*/ 8518552 w 9144000"/>
              <a:gd name="connsiteY50" fmla="*/ 6570487 h 6858000"/>
              <a:gd name="connsiteX51" fmla="*/ 8518552 w 9144000"/>
              <a:gd name="connsiteY51" fmla="*/ 6553486 h 6858000"/>
              <a:gd name="connsiteX52" fmla="*/ 8518167 w 9144000"/>
              <a:gd name="connsiteY52" fmla="*/ 6553486 h 6858000"/>
              <a:gd name="connsiteX53" fmla="*/ 8469892 w 9144000"/>
              <a:gd name="connsiteY53" fmla="*/ 6553486 h 6858000"/>
              <a:gd name="connsiteX54" fmla="*/ 8387913 w 9144000"/>
              <a:gd name="connsiteY54" fmla="*/ 6553453 h 6858000"/>
              <a:gd name="connsiteX55" fmla="*/ 8365286 w 9144000"/>
              <a:gd name="connsiteY55" fmla="*/ 6557679 h 6858000"/>
              <a:gd name="connsiteX56" fmla="*/ 8357150 w 9144000"/>
              <a:gd name="connsiteY56" fmla="*/ 6561806 h 6858000"/>
              <a:gd name="connsiteX57" fmla="*/ 8332784 w 9144000"/>
              <a:gd name="connsiteY57" fmla="*/ 6613372 h 6858000"/>
              <a:gd name="connsiteX58" fmla="*/ 8336389 w 9144000"/>
              <a:gd name="connsiteY58" fmla="*/ 6629852 h 6858000"/>
              <a:gd name="connsiteX59" fmla="*/ 8364431 w 9144000"/>
              <a:gd name="connsiteY59" fmla="*/ 6658585 h 6858000"/>
              <a:gd name="connsiteX60" fmla="*/ 8386916 w 9144000"/>
              <a:gd name="connsiteY60" fmla="*/ 6662811 h 6858000"/>
              <a:gd name="connsiteX61" fmla="*/ 8409486 w 9144000"/>
              <a:gd name="connsiteY61" fmla="*/ 6658585 h 6858000"/>
              <a:gd name="connsiteX62" fmla="*/ 8426926 w 9144000"/>
              <a:gd name="connsiteY62" fmla="*/ 6647106 h 6858000"/>
              <a:gd name="connsiteX63" fmla="*/ 8438240 w 9144000"/>
              <a:gd name="connsiteY63" fmla="*/ 6629852 h 6858000"/>
              <a:gd name="connsiteX64" fmla="*/ 8442258 w 9144000"/>
              <a:gd name="connsiteY64" fmla="*/ 6608203 h 6858000"/>
              <a:gd name="connsiteX65" fmla="*/ 8438397 w 9144000"/>
              <a:gd name="connsiteY65" fmla="*/ 6586469 h 6858000"/>
              <a:gd name="connsiteX66" fmla="*/ 8427439 w 9144000"/>
              <a:gd name="connsiteY66" fmla="*/ 6569158 h 6858000"/>
              <a:gd name="connsiteX67" fmla="*/ 8410341 w 9144000"/>
              <a:gd name="connsiteY67" fmla="*/ 6557679 h 6858000"/>
              <a:gd name="connsiteX68" fmla="*/ 8387913 w 9144000"/>
              <a:gd name="connsiteY68" fmla="*/ 6553453 h 6858000"/>
              <a:gd name="connsiteX69" fmla="*/ 8245203 w 9144000"/>
              <a:gd name="connsiteY69" fmla="*/ 6553106 h 6858000"/>
              <a:gd name="connsiteX70" fmla="*/ 8261546 w 9144000"/>
              <a:gd name="connsiteY70" fmla="*/ 6587178 h 6858000"/>
              <a:gd name="connsiteX71" fmla="*/ 8288505 w 9144000"/>
              <a:gd name="connsiteY71" fmla="*/ 6587178 h 6858000"/>
              <a:gd name="connsiteX72" fmla="*/ 8274156 w 9144000"/>
              <a:gd name="connsiteY72" fmla="*/ 6553106 h 6858000"/>
              <a:gd name="connsiteX73" fmla="*/ 8325053 w 9144000"/>
              <a:gd name="connsiteY73" fmla="*/ 6553092 h 6858000"/>
              <a:gd name="connsiteX74" fmla="*/ 8299363 w 9144000"/>
              <a:gd name="connsiteY74" fmla="*/ 6612222 h 6858000"/>
              <a:gd name="connsiteX75" fmla="*/ 8292395 w 9144000"/>
              <a:gd name="connsiteY75" fmla="*/ 6595883 h 6858000"/>
              <a:gd name="connsiteX76" fmla="*/ 8265650 w 9144000"/>
              <a:gd name="connsiteY76" fmla="*/ 6595883 h 6858000"/>
              <a:gd name="connsiteX77" fmla="*/ 8297582 w 9144000"/>
              <a:gd name="connsiteY77" fmla="*/ 6662548 h 6858000"/>
              <a:gd name="connsiteX78" fmla="*/ 8300545 w 9144000"/>
              <a:gd name="connsiteY78" fmla="*/ 6662548 h 6858000"/>
              <a:gd name="connsiteX79" fmla="*/ 8352283 w 9144000"/>
              <a:gd name="connsiteY79" fmla="*/ 6553092 h 6858000"/>
              <a:gd name="connsiteX80" fmla="*/ 8704282 w 9144000"/>
              <a:gd name="connsiteY80" fmla="*/ 6515554 h 6858000"/>
              <a:gd name="connsiteX81" fmla="*/ 8704282 w 9144000"/>
              <a:gd name="connsiteY81" fmla="*/ 6690482 h 6858000"/>
              <a:gd name="connsiteX82" fmla="*/ 8723671 w 9144000"/>
              <a:gd name="connsiteY82" fmla="*/ 6690482 h 6858000"/>
              <a:gd name="connsiteX83" fmla="*/ 8723671 w 9144000"/>
              <a:gd name="connsiteY83" fmla="*/ 6515554 h 6858000"/>
              <a:gd name="connsiteX84" fmla="*/ 0 w 9144000"/>
              <a:gd name="connsiteY84" fmla="*/ 0 h 6858000"/>
              <a:gd name="connsiteX85" fmla="*/ 9144000 w 9144000"/>
              <a:gd name="connsiteY85" fmla="*/ 0 h 6858000"/>
              <a:gd name="connsiteX86" fmla="*/ 9144000 w 9144000"/>
              <a:gd name="connsiteY86" fmla="*/ 6214681 h 6858000"/>
              <a:gd name="connsiteX87" fmla="*/ 9144000 w 9144000"/>
              <a:gd name="connsiteY87" fmla="*/ 6397151 h 6858000"/>
              <a:gd name="connsiteX88" fmla="*/ 9144000 w 9144000"/>
              <a:gd name="connsiteY88" fmla="*/ 6401792 h 6858000"/>
              <a:gd name="connsiteX89" fmla="*/ 9144000 w 9144000"/>
              <a:gd name="connsiteY89" fmla="*/ 6434962 h 6858000"/>
              <a:gd name="connsiteX90" fmla="*/ 9144000 w 9144000"/>
              <a:gd name="connsiteY90" fmla="*/ 6858000 h 6858000"/>
              <a:gd name="connsiteX91" fmla="*/ 8995529 w 9144000"/>
              <a:gd name="connsiteY91" fmla="*/ 6858000 h 6858000"/>
              <a:gd name="connsiteX92" fmla="*/ 7924718 w 9144000"/>
              <a:gd name="connsiteY92" fmla="*/ 6858000 h 6858000"/>
              <a:gd name="connsiteX93" fmla="*/ 0 w 9144000"/>
              <a:gd name="connsiteY93" fmla="*/ 6858000 h 6858000"/>
              <a:gd name="connsiteX94" fmla="*/ 0 w 9144000"/>
              <a:gd name="connsiteY94" fmla="*/ 6434962 h 6858000"/>
              <a:gd name="connsiteX95" fmla="*/ 0 w 9144000"/>
              <a:gd name="connsiteY95" fmla="*/ 6401792 h 6858000"/>
              <a:gd name="connsiteX96" fmla="*/ 0 w 9144000"/>
              <a:gd name="connsiteY96" fmla="*/ 6397151 h 6858000"/>
              <a:gd name="connsiteX97" fmla="*/ 0 w 9144000"/>
              <a:gd name="connsiteY97" fmla="*/ 62146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144000" h="6858000">
                <a:moveTo>
                  <a:pt x="8381735" y="6576022"/>
                </a:moveTo>
                <a:cubicBezTo>
                  <a:pt x="8387385" y="6574829"/>
                  <a:pt x="8393413" y="6575385"/>
                  <a:pt x="8398942" y="6577877"/>
                </a:cubicBezTo>
                <a:cubicBezTo>
                  <a:pt x="8402361" y="6579495"/>
                  <a:pt x="8405396" y="6581808"/>
                  <a:pt x="8407847" y="6584666"/>
                </a:cubicBezTo>
                <a:cubicBezTo>
                  <a:pt x="8410387" y="6587723"/>
                  <a:pt x="8412320" y="6591226"/>
                  <a:pt x="8413547" y="6594991"/>
                </a:cubicBezTo>
                <a:cubicBezTo>
                  <a:pt x="8414952" y="6599255"/>
                  <a:pt x="8415640" y="6603718"/>
                  <a:pt x="8415584" y="6608203"/>
                </a:cubicBezTo>
                <a:cubicBezTo>
                  <a:pt x="8415665" y="6612635"/>
                  <a:pt x="8415011" y="6617051"/>
                  <a:pt x="8413646" y="6621274"/>
                </a:cubicBezTo>
                <a:cubicBezTo>
                  <a:pt x="8412411" y="6625056"/>
                  <a:pt x="8410478" y="6628580"/>
                  <a:pt x="8407947" y="6631669"/>
                </a:cubicBezTo>
                <a:cubicBezTo>
                  <a:pt x="8399972" y="6640715"/>
                  <a:pt x="8386928" y="6643500"/>
                  <a:pt x="8375887" y="6638514"/>
                </a:cubicBezTo>
                <a:cubicBezTo>
                  <a:pt x="8372423" y="6636911"/>
                  <a:pt x="8369358" y="6634574"/>
                  <a:pt x="8366910" y="6631669"/>
                </a:cubicBezTo>
                <a:cubicBezTo>
                  <a:pt x="8364379" y="6628580"/>
                  <a:pt x="8362446" y="6625056"/>
                  <a:pt x="8361211" y="6621274"/>
                </a:cubicBezTo>
                <a:cubicBezTo>
                  <a:pt x="8359769" y="6617063"/>
                  <a:pt x="8359038" y="6612647"/>
                  <a:pt x="8359045" y="6608203"/>
                </a:cubicBezTo>
                <a:cubicBezTo>
                  <a:pt x="8358993" y="6603717"/>
                  <a:pt x="8359686" y="6599254"/>
                  <a:pt x="8361097" y="6594991"/>
                </a:cubicBezTo>
                <a:cubicBezTo>
                  <a:pt x="8362323" y="6591226"/>
                  <a:pt x="8364257" y="6587723"/>
                  <a:pt x="8366796" y="6584666"/>
                </a:cubicBezTo>
                <a:cubicBezTo>
                  <a:pt x="8370813" y="6580158"/>
                  <a:pt x="8376085" y="6577215"/>
                  <a:pt x="8381735" y="6576022"/>
                </a:cubicBezTo>
                <a:close/>
                <a:moveTo>
                  <a:pt x="8525633" y="6553486"/>
                </a:moveTo>
                <a:lnTo>
                  <a:pt x="8525633" y="6599432"/>
                </a:lnTo>
                <a:lnTo>
                  <a:pt x="8525633" y="6662773"/>
                </a:lnTo>
                <a:lnTo>
                  <a:pt x="8595623" y="6662773"/>
                </a:lnTo>
                <a:lnTo>
                  <a:pt x="8596022" y="6662773"/>
                </a:lnTo>
                <a:lnTo>
                  <a:pt x="8596022" y="6645772"/>
                </a:lnTo>
                <a:lnTo>
                  <a:pt x="8595623" y="6645772"/>
                </a:lnTo>
                <a:lnTo>
                  <a:pt x="8595623" y="6639674"/>
                </a:lnTo>
                <a:lnTo>
                  <a:pt x="8551295" y="6639674"/>
                </a:lnTo>
                <a:lnTo>
                  <a:pt x="8551295" y="6618349"/>
                </a:lnTo>
                <a:lnTo>
                  <a:pt x="8591705" y="6618349"/>
                </a:lnTo>
                <a:lnTo>
                  <a:pt x="8591705" y="6596277"/>
                </a:lnTo>
                <a:lnTo>
                  <a:pt x="8551295" y="6596277"/>
                </a:lnTo>
                <a:lnTo>
                  <a:pt x="8551295" y="6576755"/>
                </a:lnTo>
                <a:lnTo>
                  <a:pt x="8595623" y="6576755"/>
                </a:lnTo>
                <a:lnTo>
                  <a:pt x="8595623" y="6570487"/>
                </a:lnTo>
                <a:lnTo>
                  <a:pt x="8596022" y="6570487"/>
                </a:lnTo>
                <a:lnTo>
                  <a:pt x="8596022" y="6553486"/>
                </a:lnTo>
                <a:lnTo>
                  <a:pt x="8595623" y="6553486"/>
                </a:lnTo>
                <a:lnTo>
                  <a:pt x="8547362" y="6553486"/>
                </a:lnTo>
                <a:close/>
                <a:moveTo>
                  <a:pt x="8448177" y="6553486"/>
                </a:moveTo>
                <a:lnTo>
                  <a:pt x="8448177" y="6599432"/>
                </a:lnTo>
                <a:lnTo>
                  <a:pt x="8448177" y="6662773"/>
                </a:lnTo>
                <a:lnTo>
                  <a:pt x="8518167" y="6662773"/>
                </a:lnTo>
                <a:lnTo>
                  <a:pt x="8518552" y="6662773"/>
                </a:lnTo>
                <a:lnTo>
                  <a:pt x="8518552" y="6645772"/>
                </a:lnTo>
                <a:lnTo>
                  <a:pt x="8518167" y="6645772"/>
                </a:lnTo>
                <a:lnTo>
                  <a:pt x="8518167" y="6639674"/>
                </a:lnTo>
                <a:lnTo>
                  <a:pt x="8473825" y="6639674"/>
                </a:lnTo>
                <a:lnTo>
                  <a:pt x="8473825" y="6618349"/>
                </a:lnTo>
                <a:lnTo>
                  <a:pt x="8514235" y="6618349"/>
                </a:lnTo>
                <a:lnTo>
                  <a:pt x="8514235" y="6596277"/>
                </a:lnTo>
                <a:lnTo>
                  <a:pt x="8473825" y="6596277"/>
                </a:lnTo>
                <a:lnTo>
                  <a:pt x="8473825" y="6576755"/>
                </a:lnTo>
                <a:lnTo>
                  <a:pt x="8518167" y="6576755"/>
                </a:lnTo>
                <a:lnTo>
                  <a:pt x="8518167" y="6570487"/>
                </a:lnTo>
                <a:lnTo>
                  <a:pt x="8518552" y="6570487"/>
                </a:lnTo>
                <a:lnTo>
                  <a:pt x="8518552" y="6553486"/>
                </a:lnTo>
                <a:lnTo>
                  <a:pt x="8518167" y="6553486"/>
                </a:lnTo>
                <a:lnTo>
                  <a:pt x="8469892" y="6553486"/>
                </a:lnTo>
                <a:close/>
                <a:moveTo>
                  <a:pt x="8387913" y="6553453"/>
                </a:moveTo>
                <a:cubicBezTo>
                  <a:pt x="8380162" y="6553369"/>
                  <a:pt x="8372471" y="6554805"/>
                  <a:pt x="8365286" y="6557679"/>
                </a:cubicBezTo>
                <a:cubicBezTo>
                  <a:pt x="8362463" y="6558830"/>
                  <a:pt x="8359742" y="6560211"/>
                  <a:pt x="8357150" y="6561806"/>
                </a:cubicBezTo>
                <a:lnTo>
                  <a:pt x="8332784" y="6613372"/>
                </a:lnTo>
                <a:cubicBezTo>
                  <a:pt x="8333178" y="6619008"/>
                  <a:pt x="8334392" y="6624558"/>
                  <a:pt x="8336389" y="6629852"/>
                </a:cubicBezTo>
                <a:cubicBezTo>
                  <a:pt x="8341193" y="6642926"/>
                  <a:pt x="8351385" y="6653370"/>
                  <a:pt x="8364431" y="6658585"/>
                </a:cubicBezTo>
                <a:cubicBezTo>
                  <a:pt x="8371564" y="6661469"/>
                  <a:pt x="8379210" y="6662906"/>
                  <a:pt x="8386916" y="6662811"/>
                </a:cubicBezTo>
                <a:cubicBezTo>
                  <a:pt x="8394648" y="6662898"/>
                  <a:pt x="8402321" y="6661462"/>
                  <a:pt x="8409486" y="6658585"/>
                </a:cubicBezTo>
                <a:cubicBezTo>
                  <a:pt x="8416013" y="6655943"/>
                  <a:pt x="8421943" y="6652041"/>
                  <a:pt x="8426926" y="6647106"/>
                </a:cubicBezTo>
                <a:cubicBezTo>
                  <a:pt x="8431850" y="6642179"/>
                  <a:pt x="8435700" y="6636306"/>
                  <a:pt x="8438240" y="6629852"/>
                </a:cubicBezTo>
                <a:cubicBezTo>
                  <a:pt x="8440974" y="6622958"/>
                  <a:pt x="8442338" y="6615607"/>
                  <a:pt x="8442258" y="6608203"/>
                </a:cubicBezTo>
                <a:cubicBezTo>
                  <a:pt x="8442328" y="6600785"/>
                  <a:pt x="8441019" y="6593419"/>
                  <a:pt x="8438397" y="6586469"/>
                </a:cubicBezTo>
                <a:cubicBezTo>
                  <a:pt x="8435967" y="6580025"/>
                  <a:pt x="8432239" y="6574136"/>
                  <a:pt x="8427439" y="6569158"/>
                </a:cubicBezTo>
                <a:cubicBezTo>
                  <a:pt x="8422597" y="6564212"/>
                  <a:pt x="8416777" y="6560305"/>
                  <a:pt x="8410341" y="6557679"/>
                </a:cubicBezTo>
                <a:cubicBezTo>
                  <a:pt x="8403230" y="6554789"/>
                  <a:pt x="8395601" y="6553352"/>
                  <a:pt x="8387913" y="6553453"/>
                </a:cubicBezTo>
                <a:close/>
                <a:moveTo>
                  <a:pt x="8245203" y="6553106"/>
                </a:moveTo>
                <a:lnTo>
                  <a:pt x="8261546" y="6587178"/>
                </a:lnTo>
                <a:lnTo>
                  <a:pt x="8288505" y="6587178"/>
                </a:lnTo>
                <a:lnTo>
                  <a:pt x="8274156" y="6553106"/>
                </a:lnTo>
                <a:close/>
                <a:moveTo>
                  <a:pt x="8325053" y="6553092"/>
                </a:moveTo>
                <a:lnTo>
                  <a:pt x="8299363" y="6612222"/>
                </a:lnTo>
                <a:lnTo>
                  <a:pt x="8292395" y="6595883"/>
                </a:lnTo>
                <a:lnTo>
                  <a:pt x="8265650" y="6595883"/>
                </a:lnTo>
                <a:lnTo>
                  <a:pt x="8297582" y="6662548"/>
                </a:lnTo>
                <a:lnTo>
                  <a:pt x="8300545" y="6662548"/>
                </a:lnTo>
                <a:lnTo>
                  <a:pt x="8352283" y="6553092"/>
                </a:lnTo>
                <a:close/>
                <a:moveTo>
                  <a:pt x="8704282" y="6515554"/>
                </a:moveTo>
                <a:lnTo>
                  <a:pt x="8704282" y="6690482"/>
                </a:lnTo>
                <a:lnTo>
                  <a:pt x="8723671" y="6690482"/>
                </a:lnTo>
                <a:lnTo>
                  <a:pt x="8723671" y="6515554"/>
                </a:lnTo>
                <a:close/>
                <a:moveTo>
                  <a:pt x="0" y="0"/>
                </a:moveTo>
                <a:lnTo>
                  <a:pt x="9144000" y="0"/>
                </a:lnTo>
                <a:lnTo>
                  <a:pt x="9144000" y="6214681"/>
                </a:lnTo>
                <a:lnTo>
                  <a:pt x="9144000" y="6397151"/>
                </a:lnTo>
                <a:lnTo>
                  <a:pt x="9144000" y="6401792"/>
                </a:lnTo>
                <a:lnTo>
                  <a:pt x="9144000" y="6434962"/>
                </a:lnTo>
                <a:lnTo>
                  <a:pt x="9144000" y="6858000"/>
                </a:lnTo>
                <a:lnTo>
                  <a:pt x="8995529" y="6858000"/>
                </a:lnTo>
                <a:lnTo>
                  <a:pt x="7924718" y="6858000"/>
                </a:lnTo>
                <a:lnTo>
                  <a:pt x="0" y="6858000"/>
                </a:lnTo>
                <a:lnTo>
                  <a:pt x="0" y="6434962"/>
                </a:lnTo>
                <a:lnTo>
                  <a:pt x="0" y="6401792"/>
                </a:lnTo>
                <a:lnTo>
                  <a:pt x="0" y="6397151"/>
                </a:lnTo>
                <a:lnTo>
                  <a:pt x="0" y="6214681"/>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 Drag image onto slide to add photo </a:t>
            </a:r>
          </a:p>
        </p:txBody>
      </p:sp>
      <p:grpSp>
        <p:nvGrpSpPr>
          <p:cNvPr id="7" name="Group 6">
            <a:extLst>
              <a:ext uri="{FF2B5EF4-FFF2-40B4-BE49-F238E27FC236}">
                <a16:creationId xmlns:a16="http://schemas.microsoft.com/office/drawing/2014/main" id="{26ACA9DB-4044-6F42-96B1-45EBCD182B84}"/>
              </a:ext>
            </a:extLst>
          </p:cNvPr>
          <p:cNvGrpSpPr/>
          <p:nvPr userDrawn="1"/>
        </p:nvGrpSpPr>
        <p:grpSpPr>
          <a:xfrm>
            <a:off x="-339919" y="-244225"/>
            <a:ext cx="12877237"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99801"/>
                <a:ext cx="307777" cy="129266"/>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0" cy="235792"/>
              <a:chOff x="431800" y="-240735"/>
              <a:chExt cx="8280400"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914337" y="-176700"/>
                <a:ext cx="1315340"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0" y="-122839"/>
                <a:ext cx="3482537"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a:off x="5229677" y="-122839"/>
                <a:ext cx="348252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869729" y="3686135"/>
                  <a:ext cx="1478115" cy="8079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flipH="1">
                  <a:off x="-130672" y="4465589"/>
                  <a:ext cx="2" cy="1682549"/>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2" cy="1682546"/>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123421" y="6868673"/>
              <a:ext cx="2930114" cy="235790"/>
              <a:chOff x="3121388" y="6869197"/>
              <a:chExt cx="2930114"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121388" y="6954537"/>
                <a:ext cx="153888"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87991" y="6954537"/>
                <a:ext cx="170720"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69961" y="6954537"/>
                <a:ext cx="181541"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6096000"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sz="2800">
                <a:solidFill>
                  <a:schemeClr val="bg1"/>
                </a:solidFill>
              </a:defRPr>
            </a:lvl1pPr>
            <a:lvl2pPr>
              <a:defRPr>
                <a:solidFill>
                  <a:schemeClr val="bg1"/>
                </a:solidFill>
              </a:defRPr>
            </a:lvl2pPr>
            <a:lvl3pPr marL="0" indent="0">
              <a:buFontTx/>
              <a:buNone/>
              <a:defRPr>
                <a:solidFill>
                  <a:schemeClr val="bg1"/>
                </a:solidFill>
              </a:defRPr>
            </a:lvl3pPr>
            <a:lvl4pPr marL="0" indent="0">
              <a:buFontTx/>
              <a:buNone/>
              <a:defRPr>
                <a:solidFill>
                  <a:schemeClr val="bg1"/>
                </a:solidFill>
              </a:defRPr>
            </a:lvl4pPr>
            <a:lvl5pPr marL="0" indent="0">
              <a:buFontTx/>
              <a:buNone/>
              <a:defRPr>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575733" y="6200775"/>
            <a:ext cx="4934115"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6" name="Group 5">
            <a:extLst>
              <a:ext uri="{FF2B5EF4-FFF2-40B4-BE49-F238E27FC236}">
                <a16:creationId xmlns:a16="http://schemas.microsoft.com/office/drawing/2014/main" id="{384FC32F-D780-2C41-B31E-1F1C7720CD48}"/>
              </a:ext>
            </a:extLst>
          </p:cNvPr>
          <p:cNvGrpSpPr/>
          <p:nvPr userDrawn="1"/>
        </p:nvGrpSpPr>
        <p:grpSpPr>
          <a:xfrm>
            <a:off x="12532244" y="-1"/>
            <a:ext cx="3948953" cy="9658589"/>
            <a:chOff x="9399182" y="-1"/>
            <a:chExt cx="2961715" cy="9658589"/>
          </a:xfrm>
        </p:grpSpPr>
        <p:sp>
          <p:nvSpPr>
            <p:cNvPr id="114" name="Rectangle 113">
              <a:extLst>
                <a:ext uri="{FF2B5EF4-FFF2-40B4-BE49-F238E27FC236}">
                  <a16:creationId xmlns:a16="http://schemas.microsoft.com/office/drawing/2014/main" id="{1F6701BF-092D-2F4F-9D3D-CB526578FD23}"/>
                </a:ext>
              </a:extLst>
            </p:cNvPr>
            <p:cNvSpPr/>
            <p:nvPr userDrawn="1"/>
          </p:nvSpPr>
          <p:spPr>
            <a:xfrm>
              <a:off x="9399182" y="-1"/>
              <a:ext cx="2798651" cy="94869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163" name="Picture 162">
              <a:extLst>
                <a:ext uri="{FF2B5EF4-FFF2-40B4-BE49-F238E27FC236}">
                  <a16:creationId xmlns:a16="http://schemas.microsoft.com/office/drawing/2014/main" id="{2D12CE45-289D-6B47-8827-232211E4A4E4}"/>
                </a:ext>
              </a:extLst>
            </p:cNvPr>
            <p:cNvPicPr>
              <a:picLocks noChangeAspect="1"/>
            </p:cNvPicPr>
            <p:nvPr userDrawn="1"/>
          </p:nvPicPr>
          <p:blipFill rotWithShape="1">
            <a:blip r:embed="rId2"/>
            <a:srcRect t="11482" r="50733" b="17784"/>
            <a:stretch/>
          </p:blipFill>
          <p:spPr>
            <a:xfrm>
              <a:off x="9558506" y="1332920"/>
              <a:ext cx="2639326" cy="746975"/>
            </a:xfrm>
            <a:prstGeom prst="rect">
              <a:avLst/>
            </a:prstGeom>
          </p:spPr>
        </p:pic>
        <p:grpSp>
          <p:nvGrpSpPr>
            <p:cNvPr id="115" name="Group 114">
              <a:extLst>
                <a:ext uri="{FF2B5EF4-FFF2-40B4-BE49-F238E27FC236}">
                  <a16:creationId xmlns:a16="http://schemas.microsoft.com/office/drawing/2014/main" id="{E06DB9A1-FD76-8C4E-AA60-A3215A54B22B}"/>
                </a:ext>
              </a:extLst>
            </p:cNvPr>
            <p:cNvGrpSpPr/>
            <p:nvPr userDrawn="1"/>
          </p:nvGrpSpPr>
          <p:grpSpPr>
            <a:xfrm>
              <a:off x="9541497" y="162442"/>
              <a:ext cx="2819400" cy="814510"/>
              <a:chOff x="-3644733" y="165205"/>
              <a:chExt cx="2819400" cy="814510"/>
            </a:xfrm>
          </p:grpSpPr>
          <p:sp>
            <p:nvSpPr>
              <p:cNvPr id="154" name="Rectangle 153">
                <a:extLst>
                  <a:ext uri="{FF2B5EF4-FFF2-40B4-BE49-F238E27FC236}">
                    <a16:creationId xmlns:a16="http://schemas.microsoft.com/office/drawing/2014/main" id="{9B6A22A1-5D5B-4A45-9873-94CDE4AF538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55" name="TextBox 154">
                <a:extLst>
                  <a:ext uri="{FF2B5EF4-FFF2-40B4-BE49-F238E27FC236}">
                    <a16:creationId xmlns:a16="http://schemas.microsoft.com/office/drawing/2014/main" id="{7ABB8F1D-E85A-ED44-9693-9F13743BAED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56" name="Picture 155">
                <a:extLst>
                  <a:ext uri="{FF2B5EF4-FFF2-40B4-BE49-F238E27FC236}">
                    <a16:creationId xmlns:a16="http://schemas.microsoft.com/office/drawing/2014/main" id="{20DBD003-BD74-534F-B6C9-503C1716230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116" name="TextBox 115">
              <a:extLst>
                <a:ext uri="{FF2B5EF4-FFF2-40B4-BE49-F238E27FC236}">
                  <a16:creationId xmlns:a16="http://schemas.microsoft.com/office/drawing/2014/main" id="{00987C7D-6B58-624B-A8C2-E1C8B5B41655}"/>
                </a:ext>
              </a:extLst>
            </p:cNvPr>
            <p:cNvSpPr txBox="1"/>
            <p:nvPr userDrawn="1"/>
          </p:nvSpPr>
          <p:spPr>
            <a:xfrm>
              <a:off x="9558507" y="3644763"/>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117" name="Straight Connector 116">
              <a:extLst>
                <a:ext uri="{FF2B5EF4-FFF2-40B4-BE49-F238E27FC236}">
                  <a16:creationId xmlns:a16="http://schemas.microsoft.com/office/drawing/2014/main" id="{76A5E172-F2DB-AB47-BF8B-E04905D4DF34}"/>
                </a:ext>
              </a:extLst>
            </p:cNvPr>
            <p:cNvCxnSpPr>
              <a:cxnSpLocks/>
            </p:cNvCxnSpPr>
            <p:nvPr userDrawn="1"/>
          </p:nvCxnSpPr>
          <p:spPr>
            <a:xfrm>
              <a:off x="9558507" y="384738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3686235-423F-604C-911D-620F011D49F8}"/>
                </a:ext>
              </a:extLst>
            </p:cNvPr>
            <p:cNvSpPr txBox="1"/>
            <p:nvPr userDrawn="1"/>
          </p:nvSpPr>
          <p:spPr>
            <a:xfrm>
              <a:off x="9686426" y="470569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19" name="Group 118">
              <a:extLst>
                <a:ext uri="{FF2B5EF4-FFF2-40B4-BE49-F238E27FC236}">
                  <a16:creationId xmlns:a16="http://schemas.microsoft.com/office/drawing/2014/main" id="{74431D0C-E5D7-5C4B-B34D-ED622DCEC90B}"/>
                </a:ext>
              </a:extLst>
            </p:cNvPr>
            <p:cNvGrpSpPr/>
            <p:nvPr userDrawn="1"/>
          </p:nvGrpSpPr>
          <p:grpSpPr>
            <a:xfrm>
              <a:off x="9541497" y="8247273"/>
              <a:ext cx="2735151" cy="1411315"/>
              <a:chOff x="9296567" y="4910411"/>
              <a:chExt cx="2735151" cy="1411315"/>
            </a:xfrm>
          </p:grpSpPr>
          <p:sp>
            <p:nvSpPr>
              <p:cNvPr id="148" name="Rectangle 147">
                <a:extLst>
                  <a:ext uri="{FF2B5EF4-FFF2-40B4-BE49-F238E27FC236}">
                    <a16:creationId xmlns:a16="http://schemas.microsoft.com/office/drawing/2014/main" id="{3EE33C6F-C414-704B-930C-49B6415FB0D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49" name="TextBox 148">
                <a:extLst>
                  <a:ext uri="{FF2B5EF4-FFF2-40B4-BE49-F238E27FC236}">
                    <a16:creationId xmlns:a16="http://schemas.microsoft.com/office/drawing/2014/main" id="{C7770F39-017B-9A4E-B2C7-C48397F86E0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50" name="Graphic 149">
                <a:extLst>
                  <a:ext uri="{FF2B5EF4-FFF2-40B4-BE49-F238E27FC236}">
                    <a16:creationId xmlns:a16="http://schemas.microsoft.com/office/drawing/2014/main" id="{2B06D124-E28F-144C-A1A8-A9F9DCEDD39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51" name="TextBox 150">
                <a:extLst>
                  <a:ext uri="{FF2B5EF4-FFF2-40B4-BE49-F238E27FC236}">
                    <a16:creationId xmlns:a16="http://schemas.microsoft.com/office/drawing/2014/main" id="{217354F4-3327-F641-8A6E-7CF3A11F0418}"/>
                  </a:ext>
                </a:extLst>
              </p:cNvPr>
              <p:cNvSpPr txBox="1"/>
              <p:nvPr userDrawn="1"/>
            </p:nvSpPr>
            <p:spPr>
              <a:xfrm>
                <a:off x="9471805" y="5619194"/>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52" name="TextBox 151">
                <a:extLst>
                  <a:ext uri="{FF2B5EF4-FFF2-40B4-BE49-F238E27FC236}">
                    <a16:creationId xmlns:a16="http://schemas.microsoft.com/office/drawing/2014/main" id="{C21E8267-10D6-A74C-9247-CF15A2756B5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53" name="TextBox 152">
                <a:extLst>
                  <a:ext uri="{FF2B5EF4-FFF2-40B4-BE49-F238E27FC236}">
                    <a16:creationId xmlns:a16="http://schemas.microsoft.com/office/drawing/2014/main" id="{33236540-7695-CC4F-8B5C-2A70FAD9ED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20" name="Group 119">
              <a:extLst>
                <a:ext uri="{FF2B5EF4-FFF2-40B4-BE49-F238E27FC236}">
                  <a16:creationId xmlns:a16="http://schemas.microsoft.com/office/drawing/2014/main" id="{1CC75D71-084C-2841-A6C3-E4B52088D324}"/>
                </a:ext>
              </a:extLst>
            </p:cNvPr>
            <p:cNvGrpSpPr/>
            <p:nvPr userDrawn="1"/>
          </p:nvGrpSpPr>
          <p:grpSpPr>
            <a:xfrm>
              <a:off x="9541497" y="6890617"/>
              <a:ext cx="2735151" cy="1280928"/>
              <a:chOff x="9286315" y="6976989"/>
              <a:chExt cx="2735151" cy="1280928"/>
            </a:xfrm>
          </p:grpSpPr>
          <p:sp>
            <p:nvSpPr>
              <p:cNvPr id="138" name="Rectangle 137">
                <a:extLst>
                  <a:ext uri="{FF2B5EF4-FFF2-40B4-BE49-F238E27FC236}">
                    <a16:creationId xmlns:a16="http://schemas.microsoft.com/office/drawing/2014/main" id="{80A4814C-F3C9-8E4D-A7A3-91D0BBB9B2D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44" name="TextBox 143">
                <a:extLst>
                  <a:ext uri="{FF2B5EF4-FFF2-40B4-BE49-F238E27FC236}">
                    <a16:creationId xmlns:a16="http://schemas.microsoft.com/office/drawing/2014/main" id="{9E22E78A-6530-6E49-B5B6-FE675F4954F7}"/>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45" name="Graphic 144">
                <a:extLst>
                  <a:ext uri="{FF2B5EF4-FFF2-40B4-BE49-F238E27FC236}">
                    <a16:creationId xmlns:a16="http://schemas.microsoft.com/office/drawing/2014/main" id="{DABEDA03-6252-DA49-BF04-D4C0068F703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46" name="TextBox 145">
                <a:extLst>
                  <a:ext uri="{FF2B5EF4-FFF2-40B4-BE49-F238E27FC236}">
                    <a16:creationId xmlns:a16="http://schemas.microsoft.com/office/drawing/2014/main" id="{8636DC60-0BA4-B64F-91F4-B8555CA43CB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47" name="Picture 146">
                <a:extLst>
                  <a:ext uri="{FF2B5EF4-FFF2-40B4-BE49-F238E27FC236}">
                    <a16:creationId xmlns:a16="http://schemas.microsoft.com/office/drawing/2014/main" id="{9C06CF34-F5E9-FF43-92FC-A8A12A5E751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1" name="Group 120">
              <a:extLst>
                <a:ext uri="{FF2B5EF4-FFF2-40B4-BE49-F238E27FC236}">
                  <a16:creationId xmlns:a16="http://schemas.microsoft.com/office/drawing/2014/main" id="{38052344-BDD9-5C4C-BCF9-CDD928F9ABEF}"/>
                </a:ext>
              </a:extLst>
            </p:cNvPr>
            <p:cNvGrpSpPr/>
            <p:nvPr userDrawn="1"/>
          </p:nvGrpSpPr>
          <p:grpSpPr>
            <a:xfrm>
              <a:off x="9521833" y="3969883"/>
              <a:ext cx="2617883" cy="651460"/>
              <a:chOff x="12352022" y="513115"/>
              <a:chExt cx="2617883" cy="651460"/>
            </a:xfrm>
          </p:grpSpPr>
          <p:sp>
            <p:nvSpPr>
              <p:cNvPr id="135" name="TextBox 134">
                <a:extLst>
                  <a:ext uri="{FF2B5EF4-FFF2-40B4-BE49-F238E27FC236}">
                    <a16:creationId xmlns:a16="http://schemas.microsoft.com/office/drawing/2014/main" id="{EA326582-6206-9448-AC3D-D3956871747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6" name="TextBox 135">
                <a:extLst>
                  <a:ext uri="{FF2B5EF4-FFF2-40B4-BE49-F238E27FC236}">
                    <a16:creationId xmlns:a16="http://schemas.microsoft.com/office/drawing/2014/main" id="{4064E1A2-6908-7D4E-AED8-AABD4AFAA4D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37" name="TextBox 136">
                <a:extLst>
                  <a:ext uri="{FF2B5EF4-FFF2-40B4-BE49-F238E27FC236}">
                    <a16:creationId xmlns:a16="http://schemas.microsoft.com/office/drawing/2014/main" id="{26F5F72F-54E6-6444-AD2C-1C7049E062D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122" name="TextBox 121">
              <a:extLst>
                <a:ext uri="{FF2B5EF4-FFF2-40B4-BE49-F238E27FC236}">
                  <a16:creationId xmlns:a16="http://schemas.microsoft.com/office/drawing/2014/main" id="{6ADF7B1D-21B9-4A43-9883-156AF8A7FE24}"/>
                </a:ext>
              </a:extLst>
            </p:cNvPr>
            <p:cNvSpPr txBox="1"/>
            <p:nvPr userDrawn="1"/>
          </p:nvSpPr>
          <p:spPr>
            <a:xfrm>
              <a:off x="9674267" y="4988995"/>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23" name="TextBox 122">
              <a:extLst>
                <a:ext uri="{FF2B5EF4-FFF2-40B4-BE49-F238E27FC236}">
                  <a16:creationId xmlns:a16="http://schemas.microsoft.com/office/drawing/2014/main" id="{FD008BFE-F284-7448-B84A-6DC42232D3A9}"/>
                </a:ext>
              </a:extLst>
            </p:cNvPr>
            <p:cNvSpPr txBox="1"/>
            <p:nvPr userDrawn="1"/>
          </p:nvSpPr>
          <p:spPr>
            <a:xfrm>
              <a:off x="9686426" y="540425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24" name="TextBox 123">
              <a:extLst>
                <a:ext uri="{FF2B5EF4-FFF2-40B4-BE49-F238E27FC236}">
                  <a16:creationId xmlns:a16="http://schemas.microsoft.com/office/drawing/2014/main" id="{3BA44DCB-A3AF-9546-85AA-0C8080A538B5}"/>
                </a:ext>
              </a:extLst>
            </p:cNvPr>
            <p:cNvSpPr txBox="1"/>
            <p:nvPr userDrawn="1"/>
          </p:nvSpPr>
          <p:spPr>
            <a:xfrm>
              <a:off x="9686426" y="612434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25" name="TextBox 124">
              <a:extLst>
                <a:ext uri="{FF2B5EF4-FFF2-40B4-BE49-F238E27FC236}">
                  <a16:creationId xmlns:a16="http://schemas.microsoft.com/office/drawing/2014/main" id="{495F74B5-1BAA-CF4B-B826-677D9A1B2C48}"/>
                </a:ext>
              </a:extLst>
            </p:cNvPr>
            <p:cNvSpPr txBox="1"/>
            <p:nvPr userDrawn="1"/>
          </p:nvSpPr>
          <p:spPr>
            <a:xfrm>
              <a:off x="9674267" y="6554905"/>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33" name="TextBox 132">
              <a:extLst>
                <a:ext uri="{FF2B5EF4-FFF2-40B4-BE49-F238E27FC236}">
                  <a16:creationId xmlns:a16="http://schemas.microsoft.com/office/drawing/2014/main" id="{3F7CB717-E705-2840-9197-C78C7B64E71A}"/>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134" name="Straight Connector 133">
              <a:extLst>
                <a:ext uri="{FF2B5EF4-FFF2-40B4-BE49-F238E27FC236}">
                  <a16:creationId xmlns:a16="http://schemas.microsoft.com/office/drawing/2014/main" id="{C57B530B-447D-4A4B-9F77-9EBFE3288785}"/>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62FAFE70-D4B2-8F4F-9523-F66BEB76844C}"/>
                </a:ext>
              </a:extLst>
            </p:cNvPr>
            <p:cNvGrpSpPr/>
            <p:nvPr userDrawn="1"/>
          </p:nvGrpSpPr>
          <p:grpSpPr>
            <a:xfrm>
              <a:off x="9541497" y="2222532"/>
              <a:ext cx="2735151" cy="1326215"/>
              <a:chOff x="9286315" y="6976988"/>
              <a:chExt cx="2735151" cy="1326215"/>
            </a:xfrm>
          </p:grpSpPr>
          <p:sp>
            <p:nvSpPr>
              <p:cNvPr id="129" name="Rectangle 128">
                <a:extLst>
                  <a:ext uri="{FF2B5EF4-FFF2-40B4-BE49-F238E27FC236}">
                    <a16:creationId xmlns:a16="http://schemas.microsoft.com/office/drawing/2014/main" id="{E47B8ADC-2456-1243-95C8-E860AAB723D4}"/>
                  </a:ext>
                </a:extLst>
              </p:cNvPr>
              <p:cNvSpPr/>
              <p:nvPr userDrawn="1"/>
            </p:nvSpPr>
            <p:spPr>
              <a:xfrm>
                <a:off x="9286315" y="6976988"/>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0" name="TextBox 129">
                <a:extLst>
                  <a:ext uri="{FF2B5EF4-FFF2-40B4-BE49-F238E27FC236}">
                    <a16:creationId xmlns:a16="http://schemas.microsoft.com/office/drawing/2014/main" id="{EDAA5B06-10D3-584A-BD73-861E5B9ACB56}"/>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31" name="Graphic 130">
                <a:extLst>
                  <a:ext uri="{FF2B5EF4-FFF2-40B4-BE49-F238E27FC236}">
                    <a16:creationId xmlns:a16="http://schemas.microsoft.com/office/drawing/2014/main" id="{161E4833-BB86-994F-833D-93E67F55990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2" name="TextBox 131">
                <a:extLst>
                  <a:ext uri="{FF2B5EF4-FFF2-40B4-BE49-F238E27FC236}">
                    <a16:creationId xmlns:a16="http://schemas.microsoft.com/office/drawing/2014/main" id="{8DAA1AE3-7284-B649-9EEF-97FFE151F8C8}"/>
                  </a:ext>
                </a:extLst>
              </p:cNvPr>
              <p:cNvSpPr txBox="1"/>
              <p:nvPr userDrawn="1"/>
            </p:nvSpPr>
            <p:spPr>
              <a:xfrm>
                <a:off x="9446538" y="7369972"/>
                <a:ext cx="2214055" cy="53707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sp>
        <p:nvSpPr>
          <p:cNvPr id="500" name="Caption">
            <a:extLst>
              <a:ext uri="{FF2B5EF4-FFF2-40B4-BE49-F238E27FC236}">
                <a16:creationId xmlns:a16="http://schemas.microsoft.com/office/drawing/2014/main" id="{659A1A30-0D40-E04A-93E5-5EBF0216ED61}"/>
              </a:ext>
            </a:extLst>
          </p:cNvPr>
          <p:cNvSpPr>
            <a:spLocks noGrp="1"/>
          </p:cNvSpPr>
          <p:nvPr>
            <p:ph type="body" sz="quarter" idx="500" hasCustomPrompt="1"/>
          </p:nvPr>
        </p:nvSpPr>
        <p:spPr>
          <a:xfrm>
            <a:off x="7947046" y="6200776"/>
            <a:ext cx="3657167"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dirty="0"/>
              <a:t>Click to add photo caption</a:t>
            </a:r>
          </a:p>
        </p:txBody>
      </p:sp>
    </p:spTree>
    <p:extLst>
      <p:ext uri="{BB962C8B-B14F-4D97-AF65-F5344CB8AC3E}">
        <p14:creationId xmlns:p14="http://schemas.microsoft.com/office/powerpoint/2010/main" val="1587903709"/>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Single Large Stat Over Photo (Full)">
    <p:bg>
      <p:bgPr>
        <a:solidFill>
          <a:schemeClr val="bg1"/>
        </a:solidFill>
        <a:effectLst/>
      </p:bgPr>
    </p:bg>
    <p:spTree>
      <p:nvGrpSpPr>
        <p:cNvPr id="1" name=""/>
        <p:cNvGrpSpPr/>
        <p:nvPr/>
      </p:nvGrpSpPr>
      <p:grpSpPr>
        <a:xfrm>
          <a:off x="0" y="0"/>
          <a:ext cx="0" cy="0"/>
          <a:chOff x="0" y="0"/>
          <a:chExt cx="0" cy="0"/>
        </a:xfrm>
      </p:grpSpPr>
      <p:sp>
        <p:nvSpPr>
          <p:cNvPr id="92" name="TextBox 91">
            <a:extLst>
              <a:ext uri="{FF2B5EF4-FFF2-40B4-BE49-F238E27FC236}">
                <a16:creationId xmlns:a16="http://schemas.microsoft.com/office/drawing/2014/main" id="{23B4BB76-40B0-E54D-B448-1587B8F2254F}"/>
              </a:ext>
            </a:extLst>
          </p:cNvPr>
          <p:cNvSpPr txBox="1">
            <a:spLocks/>
          </p:cNvSpPr>
          <p:nvPr userDrawn="1"/>
        </p:nvSpPr>
        <p:spPr>
          <a:xfrm>
            <a:off x="0" y="6200777"/>
            <a:ext cx="12192000" cy="657225"/>
          </a:xfrm>
          <a:custGeom>
            <a:avLst/>
            <a:gdLst>
              <a:gd name="connsiteX0" fmla="*/ 8545321 w 9144000"/>
              <a:gd name="connsiteY0" fmla="*/ 376500 h 657225"/>
              <a:gd name="connsiteX1" fmla="*/ 8554631 w 9144000"/>
              <a:gd name="connsiteY1" fmla="*/ 376500 h 657225"/>
              <a:gd name="connsiteX2" fmla="*/ 8572756 w 9144000"/>
              <a:gd name="connsiteY2" fmla="*/ 391789 h 657225"/>
              <a:gd name="connsiteX3" fmla="*/ 8552841 w 9144000"/>
              <a:gd name="connsiteY3" fmla="*/ 407812 h 657225"/>
              <a:gd name="connsiteX4" fmla="*/ 8552841 w 9144000"/>
              <a:gd name="connsiteY4" fmla="*/ 407699 h 657225"/>
              <a:gd name="connsiteX5" fmla="*/ 8545321 w 9144000"/>
              <a:gd name="connsiteY5" fmla="*/ 407699 h 657225"/>
              <a:gd name="connsiteX6" fmla="*/ 8440532 w 9144000"/>
              <a:gd name="connsiteY6" fmla="*/ 375390 h 657225"/>
              <a:gd name="connsiteX7" fmla="*/ 8450870 w 9144000"/>
              <a:gd name="connsiteY7" fmla="*/ 375390 h 657225"/>
              <a:gd name="connsiteX8" fmla="*/ 8486566 w 9144000"/>
              <a:gd name="connsiteY8" fmla="*/ 406439 h 657225"/>
              <a:gd name="connsiteX9" fmla="*/ 8452487 w 9144000"/>
              <a:gd name="connsiteY9" fmla="*/ 439520 h 657225"/>
              <a:gd name="connsiteX10" fmla="*/ 8440532 w 9144000"/>
              <a:gd name="connsiteY10" fmla="*/ 439520 h 657225"/>
              <a:gd name="connsiteX11" fmla="*/ 8359313 w 9144000"/>
              <a:gd name="connsiteY11" fmla="*/ 353970 h 657225"/>
              <a:gd name="connsiteX12" fmla="*/ 8357847 w 9144000"/>
              <a:gd name="connsiteY12" fmla="*/ 357073 h 657225"/>
              <a:gd name="connsiteX13" fmla="*/ 8338066 w 9144000"/>
              <a:gd name="connsiteY13" fmla="*/ 398879 h 657225"/>
              <a:gd name="connsiteX14" fmla="*/ 8338066 w 9144000"/>
              <a:gd name="connsiteY14" fmla="*/ 460790 h 657225"/>
              <a:gd name="connsiteX15" fmla="*/ 8406529 w 9144000"/>
              <a:gd name="connsiteY15" fmla="*/ 460790 h 657225"/>
              <a:gd name="connsiteX16" fmla="*/ 8406529 w 9144000"/>
              <a:gd name="connsiteY16" fmla="*/ 438203 h 657225"/>
              <a:gd name="connsiteX17" fmla="*/ 8363159 w 9144000"/>
              <a:gd name="connsiteY17" fmla="*/ 438203 h 657225"/>
              <a:gd name="connsiteX18" fmla="*/ 8363159 w 9144000"/>
              <a:gd name="connsiteY18" fmla="*/ 417366 h 657225"/>
              <a:gd name="connsiteX19" fmla="*/ 8402683 w 9144000"/>
              <a:gd name="connsiteY19" fmla="*/ 417366 h 657225"/>
              <a:gd name="connsiteX20" fmla="*/ 8402683 w 9144000"/>
              <a:gd name="connsiteY20" fmla="*/ 395795 h 657225"/>
              <a:gd name="connsiteX21" fmla="*/ 8363159 w 9144000"/>
              <a:gd name="connsiteY21" fmla="*/ 395795 h 657225"/>
              <a:gd name="connsiteX22" fmla="*/ 8363159 w 9144000"/>
              <a:gd name="connsiteY22" fmla="*/ 376707 h 657225"/>
              <a:gd name="connsiteX23" fmla="*/ 8406529 w 9144000"/>
              <a:gd name="connsiteY23" fmla="*/ 376707 h 657225"/>
              <a:gd name="connsiteX24" fmla="*/ 8406529 w 9144000"/>
              <a:gd name="connsiteY24" fmla="*/ 353970 h 657225"/>
              <a:gd name="connsiteX25" fmla="*/ 8245576 w 9144000"/>
              <a:gd name="connsiteY25" fmla="*/ 353951 h 657225"/>
              <a:gd name="connsiteX26" fmla="*/ 8262083 w 9144000"/>
              <a:gd name="connsiteY26" fmla="*/ 388348 h 657225"/>
              <a:gd name="connsiteX27" fmla="*/ 8288527 w 9144000"/>
              <a:gd name="connsiteY27" fmla="*/ 388348 h 657225"/>
              <a:gd name="connsiteX28" fmla="*/ 8273963 w 9144000"/>
              <a:gd name="connsiteY28" fmla="*/ 353951 h 657225"/>
              <a:gd name="connsiteX29" fmla="*/ 8520246 w 9144000"/>
              <a:gd name="connsiteY29" fmla="*/ 353932 h 657225"/>
              <a:gd name="connsiteX30" fmla="*/ 8520246 w 9144000"/>
              <a:gd name="connsiteY30" fmla="*/ 460789 h 657225"/>
              <a:gd name="connsiteX31" fmla="*/ 8545321 w 9144000"/>
              <a:gd name="connsiteY31" fmla="*/ 460789 h 657225"/>
              <a:gd name="connsiteX32" fmla="*/ 8545321 w 9144000"/>
              <a:gd name="connsiteY32" fmla="*/ 429157 h 657225"/>
              <a:gd name="connsiteX33" fmla="*/ 8554631 w 9144000"/>
              <a:gd name="connsiteY33" fmla="*/ 429157 h 657225"/>
              <a:gd name="connsiteX34" fmla="*/ 8598420 w 9144000"/>
              <a:gd name="connsiteY34" fmla="*/ 391244 h 657225"/>
              <a:gd name="connsiteX35" fmla="*/ 8550347 w 9144000"/>
              <a:gd name="connsiteY35" fmla="*/ 353932 h 657225"/>
              <a:gd name="connsiteX36" fmla="*/ 8415496 w 9144000"/>
              <a:gd name="connsiteY36" fmla="*/ 353932 h 657225"/>
              <a:gd name="connsiteX37" fmla="*/ 8415496 w 9144000"/>
              <a:gd name="connsiteY37" fmla="*/ 460695 h 657225"/>
              <a:gd name="connsiteX38" fmla="*/ 8448547 w 9144000"/>
              <a:gd name="connsiteY38" fmla="*/ 460808 h 657225"/>
              <a:gd name="connsiteX39" fmla="*/ 8513278 w 9144000"/>
              <a:gd name="connsiteY39" fmla="*/ 406439 h 657225"/>
              <a:gd name="connsiteX40" fmla="*/ 8447462 w 9144000"/>
              <a:gd name="connsiteY40" fmla="*/ 353970 h 657225"/>
              <a:gd name="connsiteX41" fmla="*/ 8447500 w 9144000"/>
              <a:gd name="connsiteY41" fmla="*/ 353932 h 657225"/>
              <a:gd name="connsiteX42" fmla="*/ 8415496 w 9144000"/>
              <a:gd name="connsiteY42" fmla="*/ 353932 h 657225"/>
              <a:gd name="connsiteX43" fmla="*/ 8323901 w 9144000"/>
              <a:gd name="connsiteY43" fmla="*/ 353932 h 657225"/>
              <a:gd name="connsiteX44" fmla="*/ 8298694 w 9144000"/>
              <a:gd name="connsiteY44" fmla="*/ 411874 h 657225"/>
              <a:gd name="connsiteX45" fmla="*/ 8291859 w 9144000"/>
              <a:gd name="connsiteY45" fmla="*/ 395870 h 657225"/>
              <a:gd name="connsiteX46" fmla="*/ 8265624 w 9144000"/>
              <a:gd name="connsiteY46" fmla="*/ 395870 h 657225"/>
              <a:gd name="connsiteX47" fmla="*/ 8296943 w 9144000"/>
              <a:gd name="connsiteY47" fmla="*/ 461203 h 657225"/>
              <a:gd name="connsiteX48" fmla="*/ 8299856 w 9144000"/>
              <a:gd name="connsiteY48" fmla="*/ 461203 h 657225"/>
              <a:gd name="connsiteX49" fmla="*/ 8350594 w 9144000"/>
              <a:gd name="connsiteY49" fmla="*/ 353932 h 657225"/>
              <a:gd name="connsiteX50" fmla="*/ 8704282 w 9144000"/>
              <a:gd name="connsiteY50" fmla="*/ 315373 h 657225"/>
              <a:gd name="connsiteX51" fmla="*/ 8704282 w 9144000"/>
              <a:gd name="connsiteY51" fmla="*/ 489998 h 657225"/>
              <a:gd name="connsiteX52" fmla="*/ 8723671 w 9144000"/>
              <a:gd name="connsiteY52" fmla="*/ 489998 h 657225"/>
              <a:gd name="connsiteX53" fmla="*/ 8723671 w 9144000"/>
              <a:gd name="connsiteY53" fmla="*/ 315373 h 657225"/>
              <a:gd name="connsiteX54" fmla="*/ 0 w 9144000"/>
              <a:gd name="connsiteY54" fmla="*/ 0 h 657225"/>
              <a:gd name="connsiteX55" fmla="*/ 9144000 w 9144000"/>
              <a:gd name="connsiteY55" fmla="*/ 0 h 657225"/>
              <a:gd name="connsiteX56" fmla="*/ 9144000 w 9144000"/>
              <a:gd name="connsiteY56" fmla="*/ 657225 h 657225"/>
              <a:gd name="connsiteX57" fmla="*/ 0 w 9144000"/>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9144000" h="657225">
                <a:moveTo>
                  <a:pt x="8545321" y="376500"/>
                </a:moveTo>
                <a:lnTo>
                  <a:pt x="8554631" y="376500"/>
                </a:lnTo>
                <a:cubicBezTo>
                  <a:pt x="8567006" y="376500"/>
                  <a:pt x="8572756" y="383195"/>
                  <a:pt x="8572756" y="391789"/>
                </a:cubicBezTo>
                <a:cubicBezTo>
                  <a:pt x="8572756" y="402133"/>
                  <a:pt x="8566130" y="407812"/>
                  <a:pt x="8552841" y="407812"/>
                </a:cubicBezTo>
                <a:lnTo>
                  <a:pt x="8552841" y="407699"/>
                </a:lnTo>
                <a:lnTo>
                  <a:pt x="8545321" y="407699"/>
                </a:lnTo>
                <a:close/>
                <a:moveTo>
                  <a:pt x="8440532" y="375390"/>
                </a:moveTo>
                <a:lnTo>
                  <a:pt x="8450870" y="375390"/>
                </a:lnTo>
                <a:cubicBezTo>
                  <a:pt x="8474172" y="375390"/>
                  <a:pt x="8486566" y="387050"/>
                  <a:pt x="8486566" y="406439"/>
                </a:cubicBezTo>
                <a:cubicBezTo>
                  <a:pt x="8486566" y="426412"/>
                  <a:pt x="8476095" y="439520"/>
                  <a:pt x="8452487" y="439520"/>
                </a:cubicBezTo>
                <a:lnTo>
                  <a:pt x="8440532" y="439520"/>
                </a:lnTo>
                <a:close/>
                <a:moveTo>
                  <a:pt x="8359313" y="353970"/>
                </a:moveTo>
                <a:lnTo>
                  <a:pt x="8357847" y="357073"/>
                </a:lnTo>
                <a:lnTo>
                  <a:pt x="8338066" y="398879"/>
                </a:lnTo>
                <a:lnTo>
                  <a:pt x="8338066" y="460790"/>
                </a:lnTo>
                <a:lnTo>
                  <a:pt x="8406529" y="460790"/>
                </a:lnTo>
                <a:lnTo>
                  <a:pt x="8406529" y="438203"/>
                </a:lnTo>
                <a:lnTo>
                  <a:pt x="8363159" y="438203"/>
                </a:lnTo>
                <a:lnTo>
                  <a:pt x="8363159" y="417366"/>
                </a:lnTo>
                <a:lnTo>
                  <a:pt x="8402683" y="417366"/>
                </a:lnTo>
                <a:lnTo>
                  <a:pt x="8402683" y="395795"/>
                </a:lnTo>
                <a:lnTo>
                  <a:pt x="8363159" y="395795"/>
                </a:lnTo>
                <a:lnTo>
                  <a:pt x="8363159" y="376707"/>
                </a:lnTo>
                <a:lnTo>
                  <a:pt x="8406529" y="376707"/>
                </a:lnTo>
                <a:lnTo>
                  <a:pt x="8406529" y="353970"/>
                </a:lnTo>
                <a:close/>
                <a:moveTo>
                  <a:pt x="8245576" y="353951"/>
                </a:moveTo>
                <a:lnTo>
                  <a:pt x="8262083" y="388348"/>
                </a:lnTo>
                <a:lnTo>
                  <a:pt x="8288527" y="388348"/>
                </a:lnTo>
                <a:lnTo>
                  <a:pt x="8273963" y="353951"/>
                </a:lnTo>
                <a:close/>
                <a:moveTo>
                  <a:pt x="8520246" y="353932"/>
                </a:moveTo>
                <a:lnTo>
                  <a:pt x="8520246" y="460789"/>
                </a:lnTo>
                <a:lnTo>
                  <a:pt x="8545321" y="460789"/>
                </a:lnTo>
                <a:lnTo>
                  <a:pt x="8545321" y="429157"/>
                </a:lnTo>
                <a:lnTo>
                  <a:pt x="8554631" y="429157"/>
                </a:lnTo>
                <a:cubicBezTo>
                  <a:pt x="8583189" y="429157"/>
                  <a:pt x="8598420" y="413266"/>
                  <a:pt x="8598420" y="391244"/>
                </a:cubicBezTo>
                <a:cubicBezTo>
                  <a:pt x="8598439" y="369711"/>
                  <a:pt x="8581628" y="353932"/>
                  <a:pt x="8550347" y="353932"/>
                </a:cubicBezTo>
                <a:close/>
                <a:moveTo>
                  <a:pt x="8415496" y="353932"/>
                </a:moveTo>
                <a:lnTo>
                  <a:pt x="8415496" y="460695"/>
                </a:lnTo>
                <a:cubicBezTo>
                  <a:pt x="8415496" y="460695"/>
                  <a:pt x="8435867" y="460808"/>
                  <a:pt x="8448547" y="460808"/>
                </a:cubicBezTo>
                <a:cubicBezTo>
                  <a:pt x="8493382" y="460808"/>
                  <a:pt x="8513278" y="437921"/>
                  <a:pt x="8513278" y="406439"/>
                </a:cubicBezTo>
                <a:cubicBezTo>
                  <a:pt x="8513278" y="376349"/>
                  <a:pt x="8492335" y="353970"/>
                  <a:pt x="8447462" y="353970"/>
                </a:cubicBezTo>
                <a:lnTo>
                  <a:pt x="8447500" y="353932"/>
                </a:lnTo>
                <a:cubicBezTo>
                  <a:pt x="8436743" y="353932"/>
                  <a:pt x="8415496" y="353932"/>
                  <a:pt x="8415496" y="353932"/>
                </a:cubicBezTo>
                <a:close/>
                <a:moveTo>
                  <a:pt x="8323901" y="353932"/>
                </a:moveTo>
                <a:lnTo>
                  <a:pt x="8298694" y="411874"/>
                </a:lnTo>
                <a:lnTo>
                  <a:pt x="8291859" y="395870"/>
                </a:lnTo>
                <a:lnTo>
                  <a:pt x="8265624" y="395870"/>
                </a:lnTo>
                <a:lnTo>
                  <a:pt x="8296943" y="461203"/>
                </a:lnTo>
                <a:lnTo>
                  <a:pt x="8299856" y="461203"/>
                </a:lnTo>
                <a:lnTo>
                  <a:pt x="8350594" y="353932"/>
                </a:lnTo>
                <a:close/>
                <a:moveTo>
                  <a:pt x="8704282" y="315373"/>
                </a:moveTo>
                <a:lnTo>
                  <a:pt x="8704282" y="489998"/>
                </a:lnTo>
                <a:lnTo>
                  <a:pt x="8723671" y="489998"/>
                </a:lnTo>
                <a:lnTo>
                  <a:pt x="8723671" y="315373"/>
                </a:lnTo>
                <a:close/>
                <a:moveTo>
                  <a:pt x="0" y="0"/>
                </a:moveTo>
                <a:lnTo>
                  <a:pt x="9144000" y="0"/>
                </a:lnTo>
                <a:lnTo>
                  <a:pt x="9144000"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1400" dirty="0"/>
          </a:p>
        </p:txBody>
      </p:sp>
      <p:grpSp>
        <p:nvGrpSpPr>
          <p:cNvPr id="8" name="Group 7">
            <a:extLst>
              <a:ext uri="{FF2B5EF4-FFF2-40B4-BE49-F238E27FC236}">
                <a16:creationId xmlns:a16="http://schemas.microsoft.com/office/drawing/2014/main" id="{B59B1C78-E256-DF49-A6F9-68ADE4F58193}"/>
              </a:ext>
            </a:extLst>
          </p:cNvPr>
          <p:cNvGrpSpPr/>
          <p:nvPr userDrawn="1"/>
        </p:nvGrpSpPr>
        <p:grpSpPr>
          <a:xfrm>
            <a:off x="-339919" y="-244225"/>
            <a:ext cx="12877237"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310209" y="6399801"/>
                <a:ext cx="359073" cy="129266"/>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FOOT </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 NOTES </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0" cy="235792"/>
              <a:chOff x="431800" y="-240735"/>
              <a:chExt cx="8280400"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895101" y="-176700"/>
                <a:ext cx="1353812"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 KEEP CONTENT WITHIN THIS AREA </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0" y="-122839"/>
                <a:ext cx="3463301"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a:off x="5248913" y="-122839"/>
                <a:ext cx="3463287"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891346" y="3686135"/>
                  <a:ext cx="1521348" cy="8079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 KEEP CONTENT WITHIN THIS AREA </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flipH="1">
                  <a:off x="-130672" y="4487205"/>
                  <a:ext cx="1" cy="1660934"/>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1" cy="1660929"/>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092162" y="6868673"/>
              <a:ext cx="2992631" cy="235790"/>
              <a:chOff x="3090129" y="6869197"/>
              <a:chExt cx="2992631"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090129" y="6954537"/>
                <a:ext cx="216406"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1/3 </a:t>
                </a:r>
                <a:r>
                  <a:rPr lang="en-US" sz="650" kern="1200" baseline="30000" dirty="0">
                    <a:solidFill>
                      <a:schemeClr val="accent2"/>
                    </a:solidFill>
                    <a:latin typeface="Arial" charset="0"/>
                    <a:ea typeface="Arial" charset="0"/>
                    <a:cs typeface="Arial" charset="0"/>
                  </a:rPr>
                  <a:t> RD </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68755" y="6954537"/>
                <a:ext cx="209192"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HALF </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38703" y="6954537"/>
                <a:ext cx="244057"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 2/3 </a:t>
                </a:r>
                <a:r>
                  <a:rPr lang="en-US" sz="650" baseline="30000" dirty="0">
                    <a:solidFill>
                      <a:schemeClr val="accent2"/>
                    </a:solidFill>
                    <a:latin typeface="Arial" charset="0"/>
                    <a:ea typeface="Arial" charset="0"/>
                    <a:cs typeface="Arial" charset="0"/>
                  </a:rPr>
                  <a:t> RDS </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113" name="Picture Placeholder 112">
            <a:extLst>
              <a:ext uri="{FF2B5EF4-FFF2-40B4-BE49-F238E27FC236}">
                <a16:creationId xmlns:a16="http://schemas.microsoft.com/office/drawing/2014/main" id="{F496D090-3599-A14E-975E-33E720BD0F6C}"/>
              </a:ext>
            </a:extLst>
          </p:cNvPr>
          <p:cNvSpPr>
            <a:spLocks noGrp="1"/>
          </p:cNvSpPr>
          <p:nvPr>
            <p:ph type="pic" sz="quarter" idx="10" hasCustomPrompt="1"/>
          </p:nvPr>
        </p:nvSpPr>
        <p:spPr>
          <a:xfrm>
            <a:off x="0" y="0"/>
            <a:ext cx="12192000" cy="6858000"/>
          </a:xfrm>
          <a:custGeom>
            <a:avLst/>
            <a:gdLst>
              <a:gd name="connsiteX0" fmla="*/ 8381735 w 9144000"/>
              <a:gd name="connsiteY0" fmla="*/ 6576022 h 6858000"/>
              <a:gd name="connsiteX1" fmla="*/ 8398942 w 9144000"/>
              <a:gd name="connsiteY1" fmla="*/ 6577877 h 6858000"/>
              <a:gd name="connsiteX2" fmla="*/ 8407847 w 9144000"/>
              <a:gd name="connsiteY2" fmla="*/ 6584666 h 6858000"/>
              <a:gd name="connsiteX3" fmla="*/ 8413547 w 9144000"/>
              <a:gd name="connsiteY3" fmla="*/ 6594991 h 6858000"/>
              <a:gd name="connsiteX4" fmla="*/ 8415584 w 9144000"/>
              <a:gd name="connsiteY4" fmla="*/ 6608203 h 6858000"/>
              <a:gd name="connsiteX5" fmla="*/ 8413646 w 9144000"/>
              <a:gd name="connsiteY5" fmla="*/ 6621274 h 6858000"/>
              <a:gd name="connsiteX6" fmla="*/ 8407947 w 9144000"/>
              <a:gd name="connsiteY6" fmla="*/ 6631669 h 6858000"/>
              <a:gd name="connsiteX7" fmla="*/ 8375887 w 9144000"/>
              <a:gd name="connsiteY7" fmla="*/ 6638514 h 6858000"/>
              <a:gd name="connsiteX8" fmla="*/ 8366910 w 9144000"/>
              <a:gd name="connsiteY8" fmla="*/ 6631669 h 6858000"/>
              <a:gd name="connsiteX9" fmla="*/ 8361211 w 9144000"/>
              <a:gd name="connsiteY9" fmla="*/ 6621274 h 6858000"/>
              <a:gd name="connsiteX10" fmla="*/ 8359045 w 9144000"/>
              <a:gd name="connsiteY10" fmla="*/ 6608203 h 6858000"/>
              <a:gd name="connsiteX11" fmla="*/ 8361097 w 9144000"/>
              <a:gd name="connsiteY11" fmla="*/ 6594991 h 6858000"/>
              <a:gd name="connsiteX12" fmla="*/ 8366796 w 9144000"/>
              <a:gd name="connsiteY12" fmla="*/ 6584666 h 6858000"/>
              <a:gd name="connsiteX13" fmla="*/ 8381735 w 9144000"/>
              <a:gd name="connsiteY13" fmla="*/ 6576022 h 6858000"/>
              <a:gd name="connsiteX14" fmla="*/ 8525633 w 9144000"/>
              <a:gd name="connsiteY14" fmla="*/ 6553486 h 6858000"/>
              <a:gd name="connsiteX15" fmla="*/ 8525633 w 9144000"/>
              <a:gd name="connsiteY15" fmla="*/ 6599432 h 6858000"/>
              <a:gd name="connsiteX16" fmla="*/ 8525633 w 9144000"/>
              <a:gd name="connsiteY16" fmla="*/ 6662773 h 6858000"/>
              <a:gd name="connsiteX17" fmla="*/ 8595623 w 9144000"/>
              <a:gd name="connsiteY17" fmla="*/ 6662773 h 6858000"/>
              <a:gd name="connsiteX18" fmla="*/ 8596022 w 9144000"/>
              <a:gd name="connsiteY18" fmla="*/ 6662773 h 6858000"/>
              <a:gd name="connsiteX19" fmla="*/ 8596022 w 9144000"/>
              <a:gd name="connsiteY19" fmla="*/ 6645772 h 6858000"/>
              <a:gd name="connsiteX20" fmla="*/ 8595623 w 9144000"/>
              <a:gd name="connsiteY20" fmla="*/ 6645772 h 6858000"/>
              <a:gd name="connsiteX21" fmla="*/ 8595623 w 9144000"/>
              <a:gd name="connsiteY21" fmla="*/ 6639674 h 6858000"/>
              <a:gd name="connsiteX22" fmla="*/ 8551295 w 9144000"/>
              <a:gd name="connsiteY22" fmla="*/ 6639674 h 6858000"/>
              <a:gd name="connsiteX23" fmla="*/ 8551295 w 9144000"/>
              <a:gd name="connsiteY23" fmla="*/ 6618349 h 6858000"/>
              <a:gd name="connsiteX24" fmla="*/ 8591705 w 9144000"/>
              <a:gd name="connsiteY24" fmla="*/ 6618349 h 6858000"/>
              <a:gd name="connsiteX25" fmla="*/ 8591705 w 9144000"/>
              <a:gd name="connsiteY25" fmla="*/ 6596277 h 6858000"/>
              <a:gd name="connsiteX26" fmla="*/ 8551295 w 9144000"/>
              <a:gd name="connsiteY26" fmla="*/ 6596277 h 6858000"/>
              <a:gd name="connsiteX27" fmla="*/ 8551295 w 9144000"/>
              <a:gd name="connsiteY27" fmla="*/ 6576755 h 6858000"/>
              <a:gd name="connsiteX28" fmla="*/ 8595623 w 9144000"/>
              <a:gd name="connsiteY28" fmla="*/ 6576755 h 6858000"/>
              <a:gd name="connsiteX29" fmla="*/ 8595623 w 9144000"/>
              <a:gd name="connsiteY29" fmla="*/ 6570487 h 6858000"/>
              <a:gd name="connsiteX30" fmla="*/ 8596022 w 9144000"/>
              <a:gd name="connsiteY30" fmla="*/ 6570487 h 6858000"/>
              <a:gd name="connsiteX31" fmla="*/ 8596022 w 9144000"/>
              <a:gd name="connsiteY31" fmla="*/ 6553486 h 6858000"/>
              <a:gd name="connsiteX32" fmla="*/ 8595623 w 9144000"/>
              <a:gd name="connsiteY32" fmla="*/ 6553486 h 6858000"/>
              <a:gd name="connsiteX33" fmla="*/ 8547362 w 9144000"/>
              <a:gd name="connsiteY33" fmla="*/ 6553486 h 6858000"/>
              <a:gd name="connsiteX34" fmla="*/ 8448177 w 9144000"/>
              <a:gd name="connsiteY34" fmla="*/ 6553486 h 6858000"/>
              <a:gd name="connsiteX35" fmla="*/ 8448177 w 9144000"/>
              <a:gd name="connsiteY35" fmla="*/ 6599432 h 6858000"/>
              <a:gd name="connsiteX36" fmla="*/ 8448177 w 9144000"/>
              <a:gd name="connsiteY36" fmla="*/ 6662773 h 6858000"/>
              <a:gd name="connsiteX37" fmla="*/ 8518167 w 9144000"/>
              <a:gd name="connsiteY37" fmla="*/ 6662773 h 6858000"/>
              <a:gd name="connsiteX38" fmla="*/ 8518552 w 9144000"/>
              <a:gd name="connsiteY38" fmla="*/ 6662773 h 6858000"/>
              <a:gd name="connsiteX39" fmla="*/ 8518552 w 9144000"/>
              <a:gd name="connsiteY39" fmla="*/ 6645772 h 6858000"/>
              <a:gd name="connsiteX40" fmla="*/ 8518167 w 9144000"/>
              <a:gd name="connsiteY40" fmla="*/ 6645772 h 6858000"/>
              <a:gd name="connsiteX41" fmla="*/ 8518167 w 9144000"/>
              <a:gd name="connsiteY41" fmla="*/ 6639674 h 6858000"/>
              <a:gd name="connsiteX42" fmla="*/ 8473825 w 9144000"/>
              <a:gd name="connsiteY42" fmla="*/ 6639674 h 6858000"/>
              <a:gd name="connsiteX43" fmla="*/ 8473825 w 9144000"/>
              <a:gd name="connsiteY43" fmla="*/ 6618349 h 6858000"/>
              <a:gd name="connsiteX44" fmla="*/ 8514235 w 9144000"/>
              <a:gd name="connsiteY44" fmla="*/ 6618349 h 6858000"/>
              <a:gd name="connsiteX45" fmla="*/ 8514235 w 9144000"/>
              <a:gd name="connsiteY45" fmla="*/ 6596277 h 6858000"/>
              <a:gd name="connsiteX46" fmla="*/ 8473825 w 9144000"/>
              <a:gd name="connsiteY46" fmla="*/ 6596277 h 6858000"/>
              <a:gd name="connsiteX47" fmla="*/ 8473825 w 9144000"/>
              <a:gd name="connsiteY47" fmla="*/ 6576755 h 6858000"/>
              <a:gd name="connsiteX48" fmla="*/ 8518167 w 9144000"/>
              <a:gd name="connsiteY48" fmla="*/ 6576755 h 6858000"/>
              <a:gd name="connsiteX49" fmla="*/ 8518167 w 9144000"/>
              <a:gd name="connsiteY49" fmla="*/ 6570487 h 6858000"/>
              <a:gd name="connsiteX50" fmla="*/ 8518552 w 9144000"/>
              <a:gd name="connsiteY50" fmla="*/ 6570487 h 6858000"/>
              <a:gd name="connsiteX51" fmla="*/ 8518552 w 9144000"/>
              <a:gd name="connsiteY51" fmla="*/ 6553486 h 6858000"/>
              <a:gd name="connsiteX52" fmla="*/ 8518167 w 9144000"/>
              <a:gd name="connsiteY52" fmla="*/ 6553486 h 6858000"/>
              <a:gd name="connsiteX53" fmla="*/ 8469892 w 9144000"/>
              <a:gd name="connsiteY53" fmla="*/ 6553486 h 6858000"/>
              <a:gd name="connsiteX54" fmla="*/ 8387913 w 9144000"/>
              <a:gd name="connsiteY54" fmla="*/ 6553453 h 6858000"/>
              <a:gd name="connsiteX55" fmla="*/ 8365286 w 9144000"/>
              <a:gd name="connsiteY55" fmla="*/ 6557679 h 6858000"/>
              <a:gd name="connsiteX56" fmla="*/ 8357150 w 9144000"/>
              <a:gd name="connsiteY56" fmla="*/ 6561806 h 6858000"/>
              <a:gd name="connsiteX57" fmla="*/ 8332784 w 9144000"/>
              <a:gd name="connsiteY57" fmla="*/ 6613372 h 6858000"/>
              <a:gd name="connsiteX58" fmla="*/ 8336389 w 9144000"/>
              <a:gd name="connsiteY58" fmla="*/ 6629852 h 6858000"/>
              <a:gd name="connsiteX59" fmla="*/ 8364431 w 9144000"/>
              <a:gd name="connsiteY59" fmla="*/ 6658585 h 6858000"/>
              <a:gd name="connsiteX60" fmla="*/ 8386916 w 9144000"/>
              <a:gd name="connsiteY60" fmla="*/ 6662811 h 6858000"/>
              <a:gd name="connsiteX61" fmla="*/ 8409486 w 9144000"/>
              <a:gd name="connsiteY61" fmla="*/ 6658585 h 6858000"/>
              <a:gd name="connsiteX62" fmla="*/ 8426926 w 9144000"/>
              <a:gd name="connsiteY62" fmla="*/ 6647106 h 6858000"/>
              <a:gd name="connsiteX63" fmla="*/ 8438240 w 9144000"/>
              <a:gd name="connsiteY63" fmla="*/ 6629852 h 6858000"/>
              <a:gd name="connsiteX64" fmla="*/ 8442258 w 9144000"/>
              <a:gd name="connsiteY64" fmla="*/ 6608203 h 6858000"/>
              <a:gd name="connsiteX65" fmla="*/ 8438397 w 9144000"/>
              <a:gd name="connsiteY65" fmla="*/ 6586469 h 6858000"/>
              <a:gd name="connsiteX66" fmla="*/ 8427439 w 9144000"/>
              <a:gd name="connsiteY66" fmla="*/ 6569158 h 6858000"/>
              <a:gd name="connsiteX67" fmla="*/ 8410341 w 9144000"/>
              <a:gd name="connsiteY67" fmla="*/ 6557679 h 6858000"/>
              <a:gd name="connsiteX68" fmla="*/ 8387913 w 9144000"/>
              <a:gd name="connsiteY68" fmla="*/ 6553453 h 6858000"/>
              <a:gd name="connsiteX69" fmla="*/ 8245203 w 9144000"/>
              <a:gd name="connsiteY69" fmla="*/ 6553106 h 6858000"/>
              <a:gd name="connsiteX70" fmla="*/ 8261546 w 9144000"/>
              <a:gd name="connsiteY70" fmla="*/ 6587178 h 6858000"/>
              <a:gd name="connsiteX71" fmla="*/ 8288505 w 9144000"/>
              <a:gd name="connsiteY71" fmla="*/ 6587178 h 6858000"/>
              <a:gd name="connsiteX72" fmla="*/ 8274156 w 9144000"/>
              <a:gd name="connsiteY72" fmla="*/ 6553106 h 6858000"/>
              <a:gd name="connsiteX73" fmla="*/ 8325053 w 9144000"/>
              <a:gd name="connsiteY73" fmla="*/ 6553092 h 6858000"/>
              <a:gd name="connsiteX74" fmla="*/ 8299363 w 9144000"/>
              <a:gd name="connsiteY74" fmla="*/ 6612222 h 6858000"/>
              <a:gd name="connsiteX75" fmla="*/ 8292395 w 9144000"/>
              <a:gd name="connsiteY75" fmla="*/ 6595883 h 6858000"/>
              <a:gd name="connsiteX76" fmla="*/ 8265650 w 9144000"/>
              <a:gd name="connsiteY76" fmla="*/ 6595883 h 6858000"/>
              <a:gd name="connsiteX77" fmla="*/ 8297582 w 9144000"/>
              <a:gd name="connsiteY77" fmla="*/ 6662548 h 6858000"/>
              <a:gd name="connsiteX78" fmla="*/ 8300545 w 9144000"/>
              <a:gd name="connsiteY78" fmla="*/ 6662548 h 6858000"/>
              <a:gd name="connsiteX79" fmla="*/ 8352283 w 9144000"/>
              <a:gd name="connsiteY79" fmla="*/ 6553092 h 6858000"/>
              <a:gd name="connsiteX80" fmla="*/ 8704282 w 9144000"/>
              <a:gd name="connsiteY80" fmla="*/ 6515554 h 6858000"/>
              <a:gd name="connsiteX81" fmla="*/ 8704282 w 9144000"/>
              <a:gd name="connsiteY81" fmla="*/ 6690482 h 6858000"/>
              <a:gd name="connsiteX82" fmla="*/ 8723671 w 9144000"/>
              <a:gd name="connsiteY82" fmla="*/ 6690482 h 6858000"/>
              <a:gd name="connsiteX83" fmla="*/ 8723671 w 9144000"/>
              <a:gd name="connsiteY83" fmla="*/ 6515554 h 6858000"/>
              <a:gd name="connsiteX84" fmla="*/ 0 w 9144000"/>
              <a:gd name="connsiteY84" fmla="*/ 0 h 6858000"/>
              <a:gd name="connsiteX85" fmla="*/ 9144000 w 9144000"/>
              <a:gd name="connsiteY85" fmla="*/ 0 h 6858000"/>
              <a:gd name="connsiteX86" fmla="*/ 9144000 w 9144000"/>
              <a:gd name="connsiteY86" fmla="*/ 6214681 h 6858000"/>
              <a:gd name="connsiteX87" fmla="*/ 9144000 w 9144000"/>
              <a:gd name="connsiteY87" fmla="*/ 6397151 h 6858000"/>
              <a:gd name="connsiteX88" fmla="*/ 9144000 w 9144000"/>
              <a:gd name="connsiteY88" fmla="*/ 6401792 h 6858000"/>
              <a:gd name="connsiteX89" fmla="*/ 9144000 w 9144000"/>
              <a:gd name="connsiteY89" fmla="*/ 6434962 h 6858000"/>
              <a:gd name="connsiteX90" fmla="*/ 9144000 w 9144000"/>
              <a:gd name="connsiteY90" fmla="*/ 6858000 h 6858000"/>
              <a:gd name="connsiteX91" fmla="*/ 8995529 w 9144000"/>
              <a:gd name="connsiteY91" fmla="*/ 6858000 h 6858000"/>
              <a:gd name="connsiteX92" fmla="*/ 7924718 w 9144000"/>
              <a:gd name="connsiteY92" fmla="*/ 6858000 h 6858000"/>
              <a:gd name="connsiteX93" fmla="*/ 0 w 9144000"/>
              <a:gd name="connsiteY93" fmla="*/ 6858000 h 6858000"/>
              <a:gd name="connsiteX94" fmla="*/ 0 w 9144000"/>
              <a:gd name="connsiteY94" fmla="*/ 6434962 h 6858000"/>
              <a:gd name="connsiteX95" fmla="*/ 0 w 9144000"/>
              <a:gd name="connsiteY95" fmla="*/ 6401792 h 6858000"/>
              <a:gd name="connsiteX96" fmla="*/ 0 w 9144000"/>
              <a:gd name="connsiteY96" fmla="*/ 6397151 h 6858000"/>
              <a:gd name="connsiteX97" fmla="*/ 0 w 9144000"/>
              <a:gd name="connsiteY97" fmla="*/ 62146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144000" h="6858000">
                <a:moveTo>
                  <a:pt x="8381735" y="6576022"/>
                </a:moveTo>
                <a:cubicBezTo>
                  <a:pt x="8387385" y="6574829"/>
                  <a:pt x="8393413" y="6575385"/>
                  <a:pt x="8398942" y="6577877"/>
                </a:cubicBezTo>
                <a:cubicBezTo>
                  <a:pt x="8402361" y="6579495"/>
                  <a:pt x="8405396" y="6581808"/>
                  <a:pt x="8407847" y="6584666"/>
                </a:cubicBezTo>
                <a:cubicBezTo>
                  <a:pt x="8410387" y="6587723"/>
                  <a:pt x="8412320" y="6591226"/>
                  <a:pt x="8413547" y="6594991"/>
                </a:cubicBezTo>
                <a:cubicBezTo>
                  <a:pt x="8414952" y="6599255"/>
                  <a:pt x="8415640" y="6603718"/>
                  <a:pt x="8415584" y="6608203"/>
                </a:cubicBezTo>
                <a:cubicBezTo>
                  <a:pt x="8415665" y="6612635"/>
                  <a:pt x="8415011" y="6617051"/>
                  <a:pt x="8413646" y="6621274"/>
                </a:cubicBezTo>
                <a:cubicBezTo>
                  <a:pt x="8412411" y="6625056"/>
                  <a:pt x="8410478" y="6628580"/>
                  <a:pt x="8407947" y="6631669"/>
                </a:cubicBezTo>
                <a:cubicBezTo>
                  <a:pt x="8399972" y="6640715"/>
                  <a:pt x="8386928" y="6643500"/>
                  <a:pt x="8375887" y="6638514"/>
                </a:cubicBezTo>
                <a:cubicBezTo>
                  <a:pt x="8372423" y="6636911"/>
                  <a:pt x="8369358" y="6634574"/>
                  <a:pt x="8366910" y="6631669"/>
                </a:cubicBezTo>
                <a:cubicBezTo>
                  <a:pt x="8364379" y="6628580"/>
                  <a:pt x="8362446" y="6625056"/>
                  <a:pt x="8361211" y="6621274"/>
                </a:cubicBezTo>
                <a:cubicBezTo>
                  <a:pt x="8359769" y="6617063"/>
                  <a:pt x="8359038" y="6612647"/>
                  <a:pt x="8359045" y="6608203"/>
                </a:cubicBezTo>
                <a:cubicBezTo>
                  <a:pt x="8358993" y="6603717"/>
                  <a:pt x="8359686" y="6599254"/>
                  <a:pt x="8361097" y="6594991"/>
                </a:cubicBezTo>
                <a:cubicBezTo>
                  <a:pt x="8362323" y="6591226"/>
                  <a:pt x="8364257" y="6587723"/>
                  <a:pt x="8366796" y="6584666"/>
                </a:cubicBezTo>
                <a:cubicBezTo>
                  <a:pt x="8370813" y="6580158"/>
                  <a:pt x="8376085" y="6577215"/>
                  <a:pt x="8381735" y="6576022"/>
                </a:cubicBezTo>
                <a:close/>
                <a:moveTo>
                  <a:pt x="8525633" y="6553486"/>
                </a:moveTo>
                <a:lnTo>
                  <a:pt x="8525633" y="6599432"/>
                </a:lnTo>
                <a:lnTo>
                  <a:pt x="8525633" y="6662773"/>
                </a:lnTo>
                <a:lnTo>
                  <a:pt x="8595623" y="6662773"/>
                </a:lnTo>
                <a:lnTo>
                  <a:pt x="8596022" y="6662773"/>
                </a:lnTo>
                <a:lnTo>
                  <a:pt x="8596022" y="6645772"/>
                </a:lnTo>
                <a:lnTo>
                  <a:pt x="8595623" y="6645772"/>
                </a:lnTo>
                <a:lnTo>
                  <a:pt x="8595623" y="6639674"/>
                </a:lnTo>
                <a:lnTo>
                  <a:pt x="8551295" y="6639674"/>
                </a:lnTo>
                <a:lnTo>
                  <a:pt x="8551295" y="6618349"/>
                </a:lnTo>
                <a:lnTo>
                  <a:pt x="8591705" y="6618349"/>
                </a:lnTo>
                <a:lnTo>
                  <a:pt x="8591705" y="6596277"/>
                </a:lnTo>
                <a:lnTo>
                  <a:pt x="8551295" y="6596277"/>
                </a:lnTo>
                <a:lnTo>
                  <a:pt x="8551295" y="6576755"/>
                </a:lnTo>
                <a:lnTo>
                  <a:pt x="8595623" y="6576755"/>
                </a:lnTo>
                <a:lnTo>
                  <a:pt x="8595623" y="6570487"/>
                </a:lnTo>
                <a:lnTo>
                  <a:pt x="8596022" y="6570487"/>
                </a:lnTo>
                <a:lnTo>
                  <a:pt x="8596022" y="6553486"/>
                </a:lnTo>
                <a:lnTo>
                  <a:pt x="8595623" y="6553486"/>
                </a:lnTo>
                <a:lnTo>
                  <a:pt x="8547362" y="6553486"/>
                </a:lnTo>
                <a:close/>
                <a:moveTo>
                  <a:pt x="8448177" y="6553486"/>
                </a:moveTo>
                <a:lnTo>
                  <a:pt x="8448177" y="6599432"/>
                </a:lnTo>
                <a:lnTo>
                  <a:pt x="8448177" y="6662773"/>
                </a:lnTo>
                <a:lnTo>
                  <a:pt x="8518167" y="6662773"/>
                </a:lnTo>
                <a:lnTo>
                  <a:pt x="8518552" y="6662773"/>
                </a:lnTo>
                <a:lnTo>
                  <a:pt x="8518552" y="6645772"/>
                </a:lnTo>
                <a:lnTo>
                  <a:pt x="8518167" y="6645772"/>
                </a:lnTo>
                <a:lnTo>
                  <a:pt x="8518167" y="6639674"/>
                </a:lnTo>
                <a:lnTo>
                  <a:pt x="8473825" y="6639674"/>
                </a:lnTo>
                <a:lnTo>
                  <a:pt x="8473825" y="6618349"/>
                </a:lnTo>
                <a:lnTo>
                  <a:pt x="8514235" y="6618349"/>
                </a:lnTo>
                <a:lnTo>
                  <a:pt x="8514235" y="6596277"/>
                </a:lnTo>
                <a:lnTo>
                  <a:pt x="8473825" y="6596277"/>
                </a:lnTo>
                <a:lnTo>
                  <a:pt x="8473825" y="6576755"/>
                </a:lnTo>
                <a:lnTo>
                  <a:pt x="8518167" y="6576755"/>
                </a:lnTo>
                <a:lnTo>
                  <a:pt x="8518167" y="6570487"/>
                </a:lnTo>
                <a:lnTo>
                  <a:pt x="8518552" y="6570487"/>
                </a:lnTo>
                <a:lnTo>
                  <a:pt x="8518552" y="6553486"/>
                </a:lnTo>
                <a:lnTo>
                  <a:pt x="8518167" y="6553486"/>
                </a:lnTo>
                <a:lnTo>
                  <a:pt x="8469892" y="6553486"/>
                </a:lnTo>
                <a:close/>
                <a:moveTo>
                  <a:pt x="8387913" y="6553453"/>
                </a:moveTo>
                <a:cubicBezTo>
                  <a:pt x="8380162" y="6553369"/>
                  <a:pt x="8372471" y="6554805"/>
                  <a:pt x="8365286" y="6557679"/>
                </a:cubicBezTo>
                <a:cubicBezTo>
                  <a:pt x="8362463" y="6558830"/>
                  <a:pt x="8359742" y="6560211"/>
                  <a:pt x="8357150" y="6561806"/>
                </a:cubicBezTo>
                <a:lnTo>
                  <a:pt x="8332784" y="6613372"/>
                </a:lnTo>
                <a:cubicBezTo>
                  <a:pt x="8333178" y="6619008"/>
                  <a:pt x="8334392" y="6624558"/>
                  <a:pt x="8336389" y="6629852"/>
                </a:cubicBezTo>
                <a:cubicBezTo>
                  <a:pt x="8341193" y="6642926"/>
                  <a:pt x="8351385" y="6653370"/>
                  <a:pt x="8364431" y="6658585"/>
                </a:cubicBezTo>
                <a:cubicBezTo>
                  <a:pt x="8371564" y="6661469"/>
                  <a:pt x="8379210" y="6662906"/>
                  <a:pt x="8386916" y="6662811"/>
                </a:cubicBezTo>
                <a:cubicBezTo>
                  <a:pt x="8394648" y="6662898"/>
                  <a:pt x="8402321" y="6661462"/>
                  <a:pt x="8409486" y="6658585"/>
                </a:cubicBezTo>
                <a:cubicBezTo>
                  <a:pt x="8416013" y="6655943"/>
                  <a:pt x="8421943" y="6652041"/>
                  <a:pt x="8426926" y="6647106"/>
                </a:cubicBezTo>
                <a:cubicBezTo>
                  <a:pt x="8431850" y="6642179"/>
                  <a:pt x="8435700" y="6636306"/>
                  <a:pt x="8438240" y="6629852"/>
                </a:cubicBezTo>
                <a:cubicBezTo>
                  <a:pt x="8440974" y="6622958"/>
                  <a:pt x="8442338" y="6615607"/>
                  <a:pt x="8442258" y="6608203"/>
                </a:cubicBezTo>
                <a:cubicBezTo>
                  <a:pt x="8442328" y="6600785"/>
                  <a:pt x="8441019" y="6593419"/>
                  <a:pt x="8438397" y="6586469"/>
                </a:cubicBezTo>
                <a:cubicBezTo>
                  <a:pt x="8435967" y="6580025"/>
                  <a:pt x="8432239" y="6574136"/>
                  <a:pt x="8427439" y="6569158"/>
                </a:cubicBezTo>
                <a:cubicBezTo>
                  <a:pt x="8422597" y="6564212"/>
                  <a:pt x="8416777" y="6560305"/>
                  <a:pt x="8410341" y="6557679"/>
                </a:cubicBezTo>
                <a:cubicBezTo>
                  <a:pt x="8403230" y="6554789"/>
                  <a:pt x="8395601" y="6553352"/>
                  <a:pt x="8387913" y="6553453"/>
                </a:cubicBezTo>
                <a:close/>
                <a:moveTo>
                  <a:pt x="8245203" y="6553106"/>
                </a:moveTo>
                <a:lnTo>
                  <a:pt x="8261546" y="6587178"/>
                </a:lnTo>
                <a:lnTo>
                  <a:pt x="8288505" y="6587178"/>
                </a:lnTo>
                <a:lnTo>
                  <a:pt x="8274156" y="6553106"/>
                </a:lnTo>
                <a:close/>
                <a:moveTo>
                  <a:pt x="8325053" y="6553092"/>
                </a:moveTo>
                <a:lnTo>
                  <a:pt x="8299363" y="6612222"/>
                </a:lnTo>
                <a:lnTo>
                  <a:pt x="8292395" y="6595883"/>
                </a:lnTo>
                <a:lnTo>
                  <a:pt x="8265650" y="6595883"/>
                </a:lnTo>
                <a:lnTo>
                  <a:pt x="8297582" y="6662548"/>
                </a:lnTo>
                <a:lnTo>
                  <a:pt x="8300545" y="6662548"/>
                </a:lnTo>
                <a:lnTo>
                  <a:pt x="8352283" y="6553092"/>
                </a:lnTo>
                <a:close/>
                <a:moveTo>
                  <a:pt x="8704282" y="6515554"/>
                </a:moveTo>
                <a:lnTo>
                  <a:pt x="8704282" y="6690482"/>
                </a:lnTo>
                <a:lnTo>
                  <a:pt x="8723671" y="6690482"/>
                </a:lnTo>
                <a:lnTo>
                  <a:pt x="8723671" y="6515554"/>
                </a:lnTo>
                <a:close/>
                <a:moveTo>
                  <a:pt x="0" y="0"/>
                </a:moveTo>
                <a:lnTo>
                  <a:pt x="9144000" y="0"/>
                </a:lnTo>
                <a:lnTo>
                  <a:pt x="9144000" y="6214681"/>
                </a:lnTo>
                <a:lnTo>
                  <a:pt x="9144000" y="6397151"/>
                </a:lnTo>
                <a:lnTo>
                  <a:pt x="9144000" y="6401792"/>
                </a:lnTo>
                <a:lnTo>
                  <a:pt x="9144000" y="6434962"/>
                </a:lnTo>
                <a:lnTo>
                  <a:pt x="9144000" y="6858000"/>
                </a:lnTo>
                <a:lnTo>
                  <a:pt x="8995529" y="6858000"/>
                </a:lnTo>
                <a:lnTo>
                  <a:pt x="7924718" y="6858000"/>
                </a:lnTo>
                <a:lnTo>
                  <a:pt x="0" y="6858000"/>
                </a:lnTo>
                <a:lnTo>
                  <a:pt x="0" y="6434962"/>
                </a:lnTo>
                <a:lnTo>
                  <a:pt x="0" y="6401792"/>
                </a:lnTo>
                <a:lnTo>
                  <a:pt x="0" y="6397151"/>
                </a:lnTo>
                <a:lnTo>
                  <a:pt x="0" y="6214681"/>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 Drag image onto slide to add photo </a:t>
            </a:r>
          </a:p>
        </p:txBody>
      </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1" y="0"/>
            <a:ext cx="4248743" cy="6858000"/>
          </a:xfrm>
          <a:gradFill>
            <a:gsLst>
              <a:gs pos="13000">
                <a:schemeClr val="accent1"/>
              </a:gs>
              <a:gs pos="97000">
                <a:schemeClr val="accent1">
                  <a:alpha val="8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2400"/>
              </a:spcBef>
              <a:spcAft>
                <a:spcPts val="300"/>
              </a:spcAft>
              <a:buClrTx/>
              <a:buSzTx/>
              <a:buFont typeface="Wingdings" pitchFamily="2" charset="2"/>
              <a:buNone/>
              <a:tabLst/>
              <a:defRPr sz="4400">
                <a:solidFill>
                  <a:schemeClr val="bg1"/>
                </a:solidFill>
              </a:defRPr>
            </a:lvl1pPr>
            <a:lvl2pPr>
              <a:defRPr sz="1600">
                <a:solidFill>
                  <a:schemeClr val="bg1"/>
                </a:solidFill>
              </a:defRPr>
            </a:lvl2pPr>
            <a:lvl3pPr marL="0" indent="0">
              <a:buFontTx/>
              <a:buNone/>
              <a:defRPr sz="1600">
                <a:solidFill>
                  <a:schemeClr val="bg1"/>
                </a:solidFill>
              </a:defRPr>
            </a:lvl3pPr>
            <a:lvl4pPr marL="0" indent="0">
              <a:buFontTx/>
              <a:buNone/>
              <a:defRPr sz="1600">
                <a:solidFill>
                  <a:schemeClr val="bg1"/>
                </a:solidFill>
              </a:defRPr>
            </a:lvl4pPr>
            <a:lvl5pPr marL="0" indent="0">
              <a:buFontTx/>
              <a:buNone/>
              <a:defRPr sz="1600">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575733" y="6200775"/>
            <a:ext cx="3081867"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dirty="0"/>
              <a:t> Click to add source and footnotes. (Level 1 formatting for source, and levels 2+ for footnote numbering.) If over 4 lines, move footnote text to “Footnotes Appendix” slide and write “See Appendix for footnotes #-#” with level 1 formatting. </a:t>
            </a:r>
          </a:p>
          <a:p>
            <a:pPr lvl="1"/>
            <a:r>
              <a:rPr lang="en-US" dirty="0"/>
              <a:t> Footnotes – Levels 2-9 </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7" name="Group 6">
            <a:extLst>
              <a:ext uri="{FF2B5EF4-FFF2-40B4-BE49-F238E27FC236}">
                <a16:creationId xmlns:a16="http://schemas.microsoft.com/office/drawing/2014/main" id="{77197522-BF99-8445-8C68-D6578288AD2D}"/>
              </a:ext>
            </a:extLst>
          </p:cNvPr>
          <p:cNvGrpSpPr/>
          <p:nvPr userDrawn="1"/>
        </p:nvGrpSpPr>
        <p:grpSpPr>
          <a:xfrm>
            <a:off x="12532244" y="-2"/>
            <a:ext cx="3948953" cy="9689553"/>
            <a:chOff x="9399182" y="-2"/>
            <a:chExt cx="2961715" cy="9689553"/>
          </a:xfrm>
        </p:grpSpPr>
        <p:sp>
          <p:nvSpPr>
            <p:cNvPr id="114" name="Rectangle 113">
              <a:extLst>
                <a:ext uri="{FF2B5EF4-FFF2-40B4-BE49-F238E27FC236}">
                  <a16:creationId xmlns:a16="http://schemas.microsoft.com/office/drawing/2014/main" id="{058DECCA-09EF-5C43-8453-6890A89614B0}"/>
                </a:ext>
              </a:extLst>
            </p:cNvPr>
            <p:cNvSpPr/>
            <p:nvPr userDrawn="1"/>
          </p:nvSpPr>
          <p:spPr>
            <a:xfrm>
              <a:off x="9399182" y="-2"/>
              <a:ext cx="2798651" cy="951547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162" name="Picture 161">
              <a:extLst>
                <a:ext uri="{FF2B5EF4-FFF2-40B4-BE49-F238E27FC236}">
                  <a16:creationId xmlns:a16="http://schemas.microsoft.com/office/drawing/2014/main" id="{512A7C54-DE21-4344-96B4-6CF162E7EF9F}"/>
                </a:ext>
              </a:extLst>
            </p:cNvPr>
            <p:cNvPicPr>
              <a:picLocks noChangeAspect="1"/>
            </p:cNvPicPr>
            <p:nvPr userDrawn="1"/>
          </p:nvPicPr>
          <p:blipFill rotWithShape="1">
            <a:blip r:embed="rId2"/>
            <a:srcRect t="18182" r="54279" b="28233"/>
            <a:stretch/>
          </p:blipFill>
          <p:spPr>
            <a:xfrm>
              <a:off x="9558506" y="1325046"/>
              <a:ext cx="2639326" cy="784740"/>
            </a:xfrm>
            <a:prstGeom prst="rect">
              <a:avLst/>
            </a:prstGeom>
          </p:spPr>
        </p:pic>
        <p:sp>
          <p:nvSpPr>
            <p:cNvPr id="154" name="Rectangle 153">
              <a:extLst>
                <a:ext uri="{FF2B5EF4-FFF2-40B4-BE49-F238E27FC236}">
                  <a16:creationId xmlns:a16="http://schemas.microsoft.com/office/drawing/2014/main" id="{21F4F9E6-E172-8440-B1C2-D5D4BD628238}"/>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55" name="TextBox 154">
              <a:extLst>
                <a:ext uri="{FF2B5EF4-FFF2-40B4-BE49-F238E27FC236}">
                  <a16:creationId xmlns:a16="http://schemas.microsoft.com/office/drawing/2014/main" id="{9C96D69A-1828-5C46-BC13-9C94FCBFE241}"/>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Access programmed text formats by using the ‘Indent More’ button to change the indent level. </a:t>
              </a:r>
            </a:p>
          </p:txBody>
        </p:sp>
        <p:pic>
          <p:nvPicPr>
            <p:cNvPr id="156" name="Picture 155">
              <a:extLst>
                <a:ext uri="{FF2B5EF4-FFF2-40B4-BE49-F238E27FC236}">
                  <a16:creationId xmlns:a16="http://schemas.microsoft.com/office/drawing/2014/main" id="{8103D77D-8415-7749-BCBB-4905B395A710}"/>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133" name="TextBox 132">
              <a:extLst>
                <a:ext uri="{FF2B5EF4-FFF2-40B4-BE49-F238E27FC236}">
                  <a16:creationId xmlns:a16="http://schemas.microsoft.com/office/drawing/2014/main" id="{A1DB698E-0CEF-AD45-8121-4CD4E026F6C2}"/>
                </a:ext>
              </a:extLst>
            </p:cNvPr>
            <p:cNvSpPr txBox="1"/>
            <p:nvPr userDrawn="1"/>
          </p:nvSpPr>
          <p:spPr>
            <a:xfrm>
              <a:off x="9558507" y="1119891"/>
              <a:ext cx="173485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 TEXT FORMATS IN THIS LAYOUT </a:t>
              </a:r>
            </a:p>
          </p:txBody>
        </p:sp>
        <p:cxnSp>
          <p:nvCxnSpPr>
            <p:cNvPr id="134" name="Straight Connector 133">
              <a:extLst>
                <a:ext uri="{FF2B5EF4-FFF2-40B4-BE49-F238E27FC236}">
                  <a16:creationId xmlns:a16="http://schemas.microsoft.com/office/drawing/2014/main" id="{E884F550-2205-3843-81FA-454481A85FD7}"/>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12E1247F-233F-F94C-98B1-C8EC05E1729D}"/>
                </a:ext>
              </a:extLst>
            </p:cNvPr>
            <p:cNvGrpSpPr/>
            <p:nvPr userDrawn="1"/>
          </p:nvGrpSpPr>
          <p:grpSpPr>
            <a:xfrm>
              <a:off x="9521833" y="2253495"/>
              <a:ext cx="2754815" cy="7436056"/>
              <a:chOff x="9521833" y="2531409"/>
              <a:chExt cx="2754815" cy="7436056"/>
            </a:xfrm>
          </p:grpSpPr>
          <p:sp>
            <p:nvSpPr>
              <p:cNvPr id="116" name="TextBox 115">
                <a:extLst>
                  <a:ext uri="{FF2B5EF4-FFF2-40B4-BE49-F238E27FC236}">
                    <a16:creationId xmlns:a16="http://schemas.microsoft.com/office/drawing/2014/main" id="{E8B2BC36-E252-F449-91B0-E44A4C6E88AC}"/>
                  </a:ext>
                </a:extLst>
              </p:cNvPr>
              <p:cNvSpPr txBox="1"/>
              <p:nvPr userDrawn="1"/>
            </p:nvSpPr>
            <p:spPr>
              <a:xfrm>
                <a:off x="9558507" y="3953640"/>
                <a:ext cx="1291219"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 HOW TO ADD AN IMAGE </a:t>
                </a:r>
              </a:p>
            </p:txBody>
          </p:sp>
          <p:cxnSp>
            <p:nvCxnSpPr>
              <p:cNvPr id="117" name="Straight Connector 116">
                <a:extLst>
                  <a:ext uri="{FF2B5EF4-FFF2-40B4-BE49-F238E27FC236}">
                    <a16:creationId xmlns:a16="http://schemas.microsoft.com/office/drawing/2014/main" id="{828801CA-93C8-9E4C-AB3C-451F07B6D7FB}"/>
                  </a:ext>
                </a:extLst>
              </p:cNvPr>
              <p:cNvCxnSpPr>
                <a:cxnSpLocks/>
              </p:cNvCxnSpPr>
              <p:nvPr userDrawn="1"/>
            </p:nvCxnSpPr>
            <p:spPr>
              <a:xfrm>
                <a:off x="9558507" y="415625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5B9A3BF-AC32-DA42-A161-4BB2E2281D4D}"/>
                  </a:ext>
                </a:extLst>
              </p:cNvPr>
              <p:cNvSpPr txBox="1"/>
              <p:nvPr userDrawn="1"/>
            </p:nvSpPr>
            <p:spPr>
              <a:xfrm>
                <a:off x="9686426" y="5014567"/>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 Method 1: </a:t>
                </a:r>
                <a:r>
                  <a:rPr lang="en-US" sz="600" b="0" dirty="0"/>
                  <a:t> from file browser </a:t>
                </a:r>
              </a:p>
              <a:p>
                <a:pPr lvl="1">
                  <a:buNone/>
                </a:pPr>
                <a:r>
                  <a:rPr lang="en-US" sz="1050" dirty="0"/>
                  <a:t> Drag the image onto the slide. </a:t>
                </a:r>
              </a:p>
            </p:txBody>
          </p:sp>
          <p:sp>
            <p:nvSpPr>
              <p:cNvPr id="148" name="Rectangle 147">
                <a:extLst>
                  <a:ext uri="{FF2B5EF4-FFF2-40B4-BE49-F238E27FC236}">
                    <a16:creationId xmlns:a16="http://schemas.microsoft.com/office/drawing/2014/main" id="{924F2A4D-5E0A-1240-8BED-C913FAAFD6F2}"/>
                  </a:ext>
                </a:extLst>
              </p:cNvPr>
              <p:cNvSpPr/>
              <p:nvPr userDrawn="1"/>
            </p:nvSpPr>
            <p:spPr>
              <a:xfrm>
                <a:off x="9541497" y="8556150"/>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49" name="TextBox 148">
                <a:extLst>
                  <a:ext uri="{FF2B5EF4-FFF2-40B4-BE49-F238E27FC236}">
                    <a16:creationId xmlns:a16="http://schemas.microsoft.com/office/drawing/2014/main" id="{8A3C99CB-E95A-B74E-BE7F-0792FAF9671D}"/>
                  </a:ext>
                </a:extLst>
              </p:cNvPr>
              <p:cNvSpPr txBox="1"/>
              <p:nvPr userDrawn="1"/>
            </p:nvSpPr>
            <p:spPr>
              <a:xfrm>
                <a:off x="9907688" y="8684950"/>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TIP: Change Image </a:t>
                </a:r>
              </a:p>
            </p:txBody>
          </p:sp>
          <p:pic>
            <p:nvPicPr>
              <p:cNvPr id="150" name="Graphic 149">
                <a:extLst>
                  <a:ext uri="{FF2B5EF4-FFF2-40B4-BE49-F238E27FC236}">
                    <a16:creationId xmlns:a16="http://schemas.microsoft.com/office/drawing/2014/main" id="{9D2838B6-04DF-EB45-9DD9-3C36BB13157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8695233"/>
                <a:ext cx="155227" cy="155227"/>
              </a:xfrm>
              <a:prstGeom prst="rect">
                <a:avLst/>
              </a:prstGeom>
            </p:spPr>
          </p:pic>
          <p:sp>
            <p:nvSpPr>
              <p:cNvPr id="151" name="TextBox 150">
                <a:extLst>
                  <a:ext uri="{FF2B5EF4-FFF2-40B4-BE49-F238E27FC236}">
                    <a16:creationId xmlns:a16="http://schemas.microsoft.com/office/drawing/2014/main" id="{C2A77126-7E90-1843-AE86-D347F2D075EE}"/>
                  </a:ext>
                </a:extLst>
              </p:cNvPr>
              <p:cNvSpPr txBox="1"/>
              <p:nvPr userDrawn="1"/>
            </p:nvSpPr>
            <p:spPr>
              <a:xfrm>
                <a:off x="9716735" y="9264933"/>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 Deleting the image may bring the image placeholder to the top layer. Right-click on the placeholder and choose “Send to Back”. </a:t>
                </a:r>
              </a:p>
            </p:txBody>
          </p:sp>
          <p:sp>
            <p:nvSpPr>
              <p:cNvPr id="152" name="TextBox 151">
                <a:extLst>
                  <a:ext uri="{FF2B5EF4-FFF2-40B4-BE49-F238E27FC236}">
                    <a16:creationId xmlns:a16="http://schemas.microsoft.com/office/drawing/2014/main" id="{0FAD37BE-7E80-0046-A61C-0B15F860162C}"/>
                  </a:ext>
                </a:extLst>
              </p:cNvPr>
              <p:cNvSpPr txBox="1"/>
              <p:nvPr userDrawn="1"/>
            </p:nvSpPr>
            <p:spPr>
              <a:xfrm>
                <a:off x="9716735" y="8946089"/>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 First, delete the existing image to reset the photo placeholder functionality. </a:t>
                </a:r>
              </a:p>
            </p:txBody>
          </p:sp>
          <p:sp>
            <p:nvSpPr>
              <p:cNvPr id="153" name="TextBox 152">
                <a:extLst>
                  <a:ext uri="{FF2B5EF4-FFF2-40B4-BE49-F238E27FC236}">
                    <a16:creationId xmlns:a16="http://schemas.microsoft.com/office/drawing/2014/main" id="{5B98A223-2512-6C4D-87C9-B2267FF7CCD9}"/>
                  </a:ext>
                </a:extLst>
              </p:cNvPr>
              <p:cNvSpPr txBox="1"/>
              <p:nvPr userDrawn="1"/>
            </p:nvSpPr>
            <p:spPr>
              <a:xfrm>
                <a:off x="9716735" y="9714610"/>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 You can now add a new image as normal. </a:t>
                </a:r>
              </a:p>
            </p:txBody>
          </p:sp>
          <p:sp>
            <p:nvSpPr>
              <p:cNvPr id="138" name="Rectangle 137">
                <a:extLst>
                  <a:ext uri="{FF2B5EF4-FFF2-40B4-BE49-F238E27FC236}">
                    <a16:creationId xmlns:a16="http://schemas.microsoft.com/office/drawing/2014/main" id="{330B2B4B-905D-9A46-A3F8-DF5095A8A808}"/>
                  </a:ext>
                </a:extLst>
              </p:cNvPr>
              <p:cNvSpPr/>
              <p:nvPr userDrawn="1"/>
            </p:nvSpPr>
            <p:spPr>
              <a:xfrm>
                <a:off x="9541497" y="7199494"/>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44" name="TextBox 143">
                <a:extLst>
                  <a:ext uri="{FF2B5EF4-FFF2-40B4-BE49-F238E27FC236}">
                    <a16:creationId xmlns:a16="http://schemas.microsoft.com/office/drawing/2014/main" id="{2150B26E-162C-6547-A215-96C9E1F3D965}"/>
                  </a:ext>
                </a:extLst>
              </p:cNvPr>
              <p:cNvSpPr txBox="1"/>
              <p:nvPr userDrawn="1"/>
            </p:nvSpPr>
            <p:spPr>
              <a:xfrm>
                <a:off x="9907688" y="732829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TIP: Crop Image </a:t>
                </a:r>
              </a:p>
            </p:txBody>
          </p:sp>
          <p:pic>
            <p:nvPicPr>
              <p:cNvPr id="145" name="Graphic 144">
                <a:extLst>
                  <a:ext uri="{FF2B5EF4-FFF2-40B4-BE49-F238E27FC236}">
                    <a16:creationId xmlns:a16="http://schemas.microsoft.com/office/drawing/2014/main" id="{B7C5CED2-A0E3-BC4E-91D6-56BB03F90E1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338576"/>
                <a:ext cx="155227" cy="155227"/>
              </a:xfrm>
              <a:prstGeom prst="rect">
                <a:avLst/>
              </a:prstGeom>
            </p:spPr>
          </p:pic>
          <p:sp>
            <p:nvSpPr>
              <p:cNvPr id="146" name="TextBox 145">
                <a:extLst>
                  <a:ext uri="{FF2B5EF4-FFF2-40B4-BE49-F238E27FC236}">
                    <a16:creationId xmlns:a16="http://schemas.microsoft.com/office/drawing/2014/main" id="{BF216341-3721-3F4D-8307-92E095EF4A01}"/>
                  </a:ext>
                </a:extLst>
              </p:cNvPr>
              <p:cNvSpPr txBox="1"/>
              <p:nvPr userDrawn="1"/>
            </p:nvSpPr>
            <p:spPr>
              <a:xfrm>
                <a:off x="9701720" y="7592477"/>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 Right-click on the image. </a:t>
                </a:r>
              </a:p>
              <a:p>
                <a:pPr lvl="1">
                  <a:defRPr/>
                </a:pPr>
                <a:r>
                  <a:rPr lang="en-US" sz="900" kern="1200" dirty="0">
                    <a:solidFill>
                      <a:schemeClr val="tx1">
                        <a:lumMod val="50000"/>
                        <a:lumOff val="50000"/>
                      </a:schemeClr>
                    </a:solidFill>
                    <a:latin typeface="Arial" charset="0"/>
                    <a:cs typeface="Arial" charset="0"/>
                  </a:rPr>
                  <a:t> Choose “Crop” from the menu. ( ) </a:t>
                </a:r>
              </a:p>
              <a:p>
                <a:pPr lvl="1">
                  <a:defRPr/>
                </a:pPr>
                <a:r>
                  <a:rPr lang="en-US" sz="900" kern="1200" dirty="0">
                    <a:solidFill>
                      <a:schemeClr val="tx1">
                        <a:lumMod val="50000"/>
                        <a:lumOff val="50000"/>
                      </a:schemeClr>
                    </a:solidFill>
                    <a:latin typeface="Arial" charset="0"/>
                    <a:cs typeface="Arial" charset="0"/>
                  </a:rPr>
                  <a:t> Adjust the size and position of the image. </a:t>
                </a:r>
              </a:p>
              <a:p>
                <a:pPr lvl="1">
                  <a:defRPr/>
                </a:pPr>
                <a:r>
                  <a:rPr lang="en-US" sz="900" kern="1200" dirty="0">
                    <a:solidFill>
                      <a:schemeClr val="tx1">
                        <a:lumMod val="50000"/>
                        <a:lumOff val="50000"/>
                      </a:schemeClr>
                    </a:solidFill>
                    <a:latin typeface="Arial" charset="0"/>
                    <a:cs typeface="Arial" charset="0"/>
                  </a:rPr>
                  <a:t> Press Esc or click outside the image area to exit the cropping mode. </a:t>
                </a:r>
              </a:p>
            </p:txBody>
          </p:sp>
          <p:pic>
            <p:nvPicPr>
              <p:cNvPr id="147" name="Picture 146">
                <a:extLst>
                  <a:ext uri="{FF2B5EF4-FFF2-40B4-BE49-F238E27FC236}">
                    <a16:creationId xmlns:a16="http://schemas.microsoft.com/office/drawing/2014/main" id="{06858368-B053-6843-9D5C-3B4B3F349159}"/>
                  </a:ext>
                </a:extLst>
              </p:cNvPr>
              <p:cNvPicPr>
                <a:picLocks noChangeAspect="1"/>
              </p:cNvPicPr>
              <p:nvPr userDrawn="1"/>
            </p:nvPicPr>
            <p:blipFill rotWithShape="1">
              <a:blip r:embed="rId6"/>
              <a:srcRect l="33684" t="12097" r="43371" b="20368"/>
              <a:stretch/>
            </p:blipFill>
            <p:spPr>
              <a:xfrm>
                <a:off x="11498723" y="7676910"/>
                <a:ext cx="136897" cy="213643"/>
              </a:xfrm>
              <a:prstGeom prst="rect">
                <a:avLst/>
              </a:prstGeom>
              <a:ln w="19050">
                <a:solidFill>
                  <a:schemeClr val="accent3">
                    <a:lumMod val="60000"/>
                    <a:lumOff val="40000"/>
                  </a:schemeClr>
                </a:solidFill>
              </a:ln>
            </p:spPr>
          </p:pic>
          <p:sp>
            <p:nvSpPr>
              <p:cNvPr id="135" name="TextBox 134">
                <a:extLst>
                  <a:ext uri="{FF2B5EF4-FFF2-40B4-BE49-F238E27FC236}">
                    <a16:creationId xmlns:a16="http://schemas.microsoft.com/office/drawing/2014/main" id="{E31E6EE2-4F47-504B-B3F7-9B15B3C8AF25}"/>
                  </a:ext>
                </a:extLst>
              </p:cNvPr>
              <p:cNvSpPr txBox="1">
                <a:spLocks noChangeAspect="1"/>
              </p:cNvSpPr>
              <p:nvPr/>
            </p:nvSpPr>
            <p:spPr>
              <a:xfrm>
                <a:off x="9521833" y="430378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 1 </a:t>
                </a:r>
              </a:p>
            </p:txBody>
          </p:sp>
          <p:sp>
            <p:nvSpPr>
              <p:cNvPr id="136" name="TextBox 135">
                <a:extLst>
                  <a:ext uri="{FF2B5EF4-FFF2-40B4-BE49-F238E27FC236}">
                    <a16:creationId xmlns:a16="http://schemas.microsoft.com/office/drawing/2014/main" id="{349068D4-361C-5C46-A532-3801C2F1365D}"/>
                  </a:ext>
                </a:extLst>
              </p:cNvPr>
              <p:cNvSpPr txBox="1">
                <a:spLocks noChangeAspect="1"/>
              </p:cNvSpPr>
              <p:nvPr/>
            </p:nvSpPr>
            <p:spPr>
              <a:xfrm>
                <a:off x="9521833" y="4799341"/>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 2 </a:t>
                </a:r>
              </a:p>
            </p:txBody>
          </p:sp>
          <p:sp>
            <p:nvSpPr>
              <p:cNvPr id="137" name="TextBox 136">
                <a:extLst>
                  <a:ext uri="{FF2B5EF4-FFF2-40B4-BE49-F238E27FC236}">
                    <a16:creationId xmlns:a16="http://schemas.microsoft.com/office/drawing/2014/main" id="{F2DCEAA6-A668-EA47-BC03-B82CE31AF08C}"/>
                  </a:ext>
                </a:extLst>
              </p:cNvPr>
              <p:cNvSpPr txBox="1"/>
              <p:nvPr userDrawn="1"/>
            </p:nvSpPr>
            <p:spPr>
              <a:xfrm>
                <a:off x="9686426" y="4278760"/>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 Select and download images from the Marketing Resource Database. </a:t>
                </a:r>
              </a:p>
              <a:p>
                <a:pPr lvl="0"/>
                <a:r>
                  <a:rPr lang="en-US" sz="1050" dirty="0"/>
                  <a:t> Add the image to the placeholder. </a:t>
                </a:r>
              </a:p>
            </p:txBody>
          </p:sp>
          <p:sp>
            <p:nvSpPr>
              <p:cNvPr id="122" name="TextBox 121">
                <a:extLst>
                  <a:ext uri="{FF2B5EF4-FFF2-40B4-BE49-F238E27FC236}">
                    <a16:creationId xmlns:a16="http://schemas.microsoft.com/office/drawing/2014/main" id="{488662D1-77FE-D34D-BFA8-B58A59DB47EA}"/>
                  </a:ext>
                </a:extLst>
              </p:cNvPr>
              <p:cNvSpPr txBox="1"/>
              <p:nvPr userDrawn="1"/>
            </p:nvSpPr>
            <p:spPr>
              <a:xfrm>
                <a:off x="9674267" y="5297872"/>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 Note: If there are multiple image placeholders on the slide, select the intended placeholder before dragging in the image to let PowerPoint know where you want it. </a:t>
                </a:r>
              </a:p>
            </p:txBody>
          </p:sp>
          <p:sp>
            <p:nvSpPr>
              <p:cNvPr id="123" name="TextBox 122">
                <a:extLst>
                  <a:ext uri="{FF2B5EF4-FFF2-40B4-BE49-F238E27FC236}">
                    <a16:creationId xmlns:a16="http://schemas.microsoft.com/office/drawing/2014/main" id="{10E9AA29-096E-D54C-95D4-EFDFFD7CC612}"/>
                  </a:ext>
                </a:extLst>
              </p:cNvPr>
              <p:cNvSpPr txBox="1"/>
              <p:nvPr userDrawn="1"/>
            </p:nvSpPr>
            <p:spPr>
              <a:xfrm>
                <a:off x="9686426" y="5713129"/>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 Method 2: </a:t>
                </a:r>
                <a:r>
                  <a:rPr lang="en-US" sz="600" b="0" dirty="0"/>
                  <a:t> Paste from clipboard </a:t>
                </a:r>
              </a:p>
              <a:p>
                <a:pPr lvl="1">
                  <a:buNone/>
                </a:pPr>
                <a:r>
                  <a:rPr lang="en-US" sz="1050" dirty="0"/>
                  <a:t> Select the image placeholder. </a:t>
                </a:r>
              </a:p>
              <a:p>
                <a:pPr lvl="1">
                  <a:buNone/>
                </a:pPr>
                <a:r>
                  <a:rPr lang="en-US" sz="1050" dirty="0"/>
                  <a:t> Right-click or use keyboard shortcuts to paste the image. </a:t>
                </a:r>
              </a:p>
            </p:txBody>
          </p:sp>
          <p:sp>
            <p:nvSpPr>
              <p:cNvPr id="124" name="TextBox 123">
                <a:extLst>
                  <a:ext uri="{FF2B5EF4-FFF2-40B4-BE49-F238E27FC236}">
                    <a16:creationId xmlns:a16="http://schemas.microsoft.com/office/drawing/2014/main" id="{0B4A71BF-5B38-0644-8E4F-605A80E979B2}"/>
                  </a:ext>
                </a:extLst>
              </p:cNvPr>
              <p:cNvSpPr txBox="1"/>
              <p:nvPr userDrawn="1"/>
            </p:nvSpPr>
            <p:spPr>
              <a:xfrm>
                <a:off x="9686426" y="6433219"/>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 Method 3: </a:t>
                </a:r>
                <a:r>
                  <a:rPr lang="en-US" sz="600" b="0" dirty="0"/>
                  <a:t> Placeholder icon </a:t>
                </a:r>
              </a:p>
              <a:p>
                <a:pPr lvl="1">
                  <a:buNone/>
                </a:pPr>
                <a:r>
                  <a:rPr lang="en-US" sz="1050" dirty="0"/>
                  <a:t> Click the image icon inside the placeholder to browse for an image. </a:t>
                </a:r>
              </a:p>
            </p:txBody>
          </p:sp>
          <p:sp>
            <p:nvSpPr>
              <p:cNvPr id="125" name="TextBox 124">
                <a:extLst>
                  <a:ext uri="{FF2B5EF4-FFF2-40B4-BE49-F238E27FC236}">
                    <a16:creationId xmlns:a16="http://schemas.microsoft.com/office/drawing/2014/main" id="{2A674F33-12AC-0340-BFB9-C1CA46F83893}"/>
                  </a:ext>
                </a:extLst>
              </p:cNvPr>
              <p:cNvSpPr txBox="1"/>
              <p:nvPr userDrawn="1"/>
            </p:nvSpPr>
            <p:spPr>
              <a:xfrm>
                <a:off x="9674267" y="6863782"/>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 Note: This icon may be covered by another element. </a:t>
                </a:r>
                <a:br>
                  <a:rPr lang="en-US" sz="700" dirty="0"/>
                </a:br>
                <a:r>
                  <a:rPr lang="en-US" sz="700" dirty="0"/>
                  <a:t> In this case use one of the other methods. </a:t>
                </a:r>
              </a:p>
            </p:txBody>
          </p:sp>
          <p:sp>
            <p:nvSpPr>
              <p:cNvPr id="129" name="Rectangle 128">
                <a:extLst>
                  <a:ext uri="{FF2B5EF4-FFF2-40B4-BE49-F238E27FC236}">
                    <a16:creationId xmlns:a16="http://schemas.microsoft.com/office/drawing/2014/main" id="{318F2069-729F-9B4A-8445-081E2247CBB1}"/>
                  </a:ext>
                </a:extLst>
              </p:cNvPr>
              <p:cNvSpPr/>
              <p:nvPr userDrawn="1"/>
            </p:nvSpPr>
            <p:spPr>
              <a:xfrm>
                <a:off x="9541497" y="2531409"/>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0" name="TextBox 129">
                <a:extLst>
                  <a:ext uri="{FF2B5EF4-FFF2-40B4-BE49-F238E27FC236}">
                    <a16:creationId xmlns:a16="http://schemas.microsoft.com/office/drawing/2014/main" id="{905C9F4A-8864-BA4C-B90C-28BC8E5E724C}"/>
                  </a:ext>
                </a:extLst>
              </p:cNvPr>
              <p:cNvSpPr txBox="1"/>
              <p:nvPr userDrawn="1"/>
            </p:nvSpPr>
            <p:spPr>
              <a:xfrm>
                <a:off x="9907688" y="26602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 TIP: Adjust overlay text box size </a:t>
                </a:r>
              </a:p>
            </p:txBody>
          </p:sp>
          <p:pic>
            <p:nvPicPr>
              <p:cNvPr id="131" name="Graphic 130">
                <a:extLst>
                  <a:ext uri="{FF2B5EF4-FFF2-40B4-BE49-F238E27FC236}">
                    <a16:creationId xmlns:a16="http://schemas.microsoft.com/office/drawing/2014/main" id="{F23C5373-D4CD-5047-843F-B92DB290985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670492"/>
                <a:ext cx="155227" cy="155227"/>
              </a:xfrm>
              <a:prstGeom prst="rect">
                <a:avLst/>
              </a:prstGeom>
            </p:spPr>
          </p:pic>
          <p:sp>
            <p:nvSpPr>
              <p:cNvPr id="132" name="TextBox 131">
                <a:extLst>
                  <a:ext uri="{FF2B5EF4-FFF2-40B4-BE49-F238E27FC236}">
                    <a16:creationId xmlns:a16="http://schemas.microsoft.com/office/drawing/2014/main" id="{C0F58EBC-DF0A-A441-813C-62553D74D316}"/>
                  </a:ext>
                </a:extLst>
              </p:cNvPr>
              <p:cNvSpPr txBox="1"/>
              <p:nvPr userDrawn="1"/>
            </p:nvSpPr>
            <p:spPr>
              <a:xfrm>
                <a:off x="9701720" y="2924393"/>
                <a:ext cx="2214055" cy="53707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 If extra space is required for content, use the size handle on this shape to extend the right edge of the shape to the “2/3rds” slide ruler mark. </a:t>
                </a:r>
              </a:p>
              <a:p>
                <a:pPr lvl="1">
                  <a:defRPr/>
                </a:pPr>
                <a:r>
                  <a:rPr lang="en-US" sz="900" kern="1200" dirty="0">
                    <a:solidFill>
                      <a:schemeClr val="tx1">
                        <a:lumMod val="50000"/>
                        <a:lumOff val="50000"/>
                      </a:schemeClr>
                    </a:solidFill>
                    <a:latin typeface="Arial" charset="0"/>
                    <a:cs typeface="Arial" charset="0"/>
                  </a:rPr>
                  <a:t> Turn on guides (View &gt; Guides) to enable snapping. </a:t>
                </a:r>
              </a:p>
            </p:txBody>
          </p:sp>
        </p:grpSp>
      </p:grpSp>
      <p:sp>
        <p:nvSpPr>
          <p:cNvPr id="500" name="Caption">
            <a:extLst>
              <a:ext uri="{FF2B5EF4-FFF2-40B4-BE49-F238E27FC236}">
                <a16:creationId xmlns:a16="http://schemas.microsoft.com/office/drawing/2014/main" id="{C8FA2963-29D5-4B4C-9DB5-0731074098A4}"/>
              </a:ext>
            </a:extLst>
          </p:cNvPr>
          <p:cNvSpPr>
            <a:spLocks noGrp="1"/>
          </p:cNvSpPr>
          <p:nvPr>
            <p:ph type="body" sz="quarter" idx="500" hasCustomPrompt="1"/>
          </p:nvPr>
        </p:nvSpPr>
        <p:spPr>
          <a:xfrm>
            <a:off x="7947046" y="6200776"/>
            <a:ext cx="3657167"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94" name="Picture Placeholder 93">
            <a:extLst>
              <a:ext uri="{FF2B5EF4-FFF2-40B4-BE49-F238E27FC236}">
                <a16:creationId xmlns:a16="http://schemas.microsoft.com/office/drawing/2014/main" id="{DA0098CE-047E-4549-A7AF-9A9E80574A8A}"/>
              </a:ext>
            </a:extLst>
          </p:cNvPr>
          <p:cNvSpPr>
            <a:spLocks noGrp="1"/>
          </p:cNvSpPr>
          <p:nvPr>
            <p:ph type="pic" sz="quarter" idx="1001" hasCustomPrompt="1"/>
          </p:nvPr>
        </p:nvSpPr>
        <p:spPr>
          <a:xfrm>
            <a:off x="-40615" y="13211784"/>
            <a:ext cx="12192000" cy="643319"/>
          </a:xfrm>
          <a:custGeom>
            <a:avLst/>
            <a:gdLst>
              <a:gd name="connsiteX0" fmla="*/ 8381735 w 9144000"/>
              <a:gd name="connsiteY0" fmla="*/ 361341 h 643319"/>
              <a:gd name="connsiteX1" fmla="*/ 8398942 w 9144000"/>
              <a:gd name="connsiteY1" fmla="*/ 363196 h 643319"/>
              <a:gd name="connsiteX2" fmla="*/ 8407847 w 9144000"/>
              <a:gd name="connsiteY2" fmla="*/ 369985 h 643319"/>
              <a:gd name="connsiteX3" fmla="*/ 8413547 w 9144000"/>
              <a:gd name="connsiteY3" fmla="*/ 380310 h 643319"/>
              <a:gd name="connsiteX4" fmla="*/ 8415584 w 9144000"/>
              <a:gd name="connsiteY4" fmla="*/ 393522 h 643319"/>
              <a:gd name="connsiteX5" fmla="*/ 8413646 w 9144000"/>
              <a:gd name="connsiteY5" fmla="*/ 406593 h 643319"/>
              <a:gd name="connsiteX6" fmla="*/ 8407947 w 9144000"/>
              <a:gd name="connsiteY6" fmla="*/ 416988 h 643319"/>
              <a:gd name="connsiteX7" fmla="*/ 8375887 w 9144000"/>
              <a:gd name="connsiteY7" fmla="*/ 423833 h 643319"/>
              <a:gd name="connsiteX8" fmla="*/ 8366910 w 9144000"/>
              <a:gd name="connsiteY8" fmla="*/ 416988 h 643319"/>
              <a:gd name="connsiteX9" fmla="*/ 8361211 w 9144000"/>
              <a:gd name="connsiteY9" fmla="*/ 406593 h 643319"/>
              <a:gd name="connsiteX10" fmla="*/ 8359045 w 9144000"/>
              <a:gd name="connsiteY10" fmla="*/ 393522 h 643319"/>
              <a:gd name="connsiteX11" fmla="*/ 8361097 w 9144000"/>
              <a:gd name="connsiteY11" fmla="*/ 380310 h 643319"/>
              <a:gd name="connsiteX12" fmla="*/ 8366796 w 9144000"/>
              <a:gd name="connsiteY12" fmla="*/ 369985 h 643319"/>
              <a:gd name="connsiteX13" fmla="*/ 8381735 w 9144000"/>
              <a:gd name="connsiteY13" fmla="*/ 361341 h 643319"/>
              <a:gd name="connsiteX14" fmla="*/ 8525633 w 9144000"/>
              <a:gd name="connsiteY14" fmla="*/ 338805 h 643319"/>
              <a:gd name="connsiteX15" fmla="*/ 8525633 w 9144000"/>
              <a:gd name="connsiteY15" fmla="*/ 384751 h 643319"/>
              <a:gd name="connsiteX16" fmla="*/ 8525633 w 9144000"/>
              <a:gd name="connsiteY16" fmla="*/ 448092 h 643319"/>
              <a:gd name="connsiteX17" fmla="*/ 8595623 w 9144000"/>
              <a:gd name="connsiteY17" fmla="*/ 448092 h 643319"/>
              <a:gd name="connsiteX18" fmla="*/ 8596022 w 9144000"/>
              <a:gd name="connsiteY18" fmla="*/ 448092 h 643319"/>
              <a:gd name="connsiteX19" fmla="*/ 8596022 w 9144000"/>
              <a:gd name="connsiteY19" fmla="*/ 431091 h 643319"/>
              <a:gd name="connsiteX20" fmla="*/ 8595623 w 9144000"/>
              <a:gd name="connsiteY20" fmla="*/ 431091 h 643319"/>
              <a:gd name="connsiteX21" fmla="*/ 8595623 w 9144000"/>
              <a:gd name="connsiteY21" fmla="*/ 424993 h 643319"/>
              <a:gd name="connsiteX22" fmla="*/ 8551295 w 9144000"/>
              <a:gd name="connsiteY22" fmla="*/ 424993 h 643319"/>
              <a:gd name="connsiteX23" fmla="*/ 8551295 w 9144000"/>
              <a:gd name="connsiteY23" fmla="*/ 403668 h 643319"/>
              <a:gd name="connsiteX24" fmla="*/ 8591705 w 9144000"/>
              <a:gd name="connsiteY24" fmla="*/ 403668 h 643319"/>
              <a:gd name="connsiteX25" fmla="*/ 8591705 w 9144000"/>
              <a:gd name="connsiteY25" fmla="*/ 381596 h 643319"/>
              <a:gd name="connsiteX26" fmla="*/ 8551295 w 9144000"/>
              <a:gd name="connsiteY26" fmla="*/ 381596 h 643319"/>
              <a:gd name="connsiteX27" fmla="*/ 8551295 w 9144000"/>
              <a:gd name="connsiteY27" fmla="*/ 362074 h 643319"/>
              <a:gd name="connsiteX28" fmla="*/ 8595623 w 9144000"/>
              <a:gd name="connsiteY28" fmla="*/ 362074 h 643319"/>
              <a:gd name="connsiteX29" fmla="*/ 8595623 w 9144000"/>
              <a:gd name="connsiteY29" fmla="*/ 355806 h 643319"/>
              <a:gd name="connsiteX30" fmla="*/ 8596022 w 9144000"/>
              <a:gd name="connsiteY30" fmla="*/ 355806 h 643319"/>
              <a:gd name="connsiteX31" fmla="*/ 8596022 w 9144000"/>
              <a:gd name="connsiteY31" fmla="*/ 338805 h 643319"/>
              <a:gd name="connsiteX32" fmla="*/ 8595623 w 9144000"/>
              <a:gd name="connsiteY32" fmla="*/ 338805 h 643319"/>
              <a:gd name="connsiteX33" fmla="*/ 8547362 w 9144000"/>
              <a:gd name="connsiteY33" fmla="*/ 338805 h 643319"/>
              <a:gd name="connsiteX34" fmla="*/ 8448177 w 9144000"/>
              <a:gd name="connsiteY34" fmla="*/ 338805 h 643319"/>
              <a:gd name="connsiteX35" fmla="*/ 8448177 w 9144000"/>
              <a:gd name="connsiteY35" fmla="*/ 384751 h 643319"/>
              <a:gd name="connsiteX36" fmla="*/ 8448177 w 9144000"/>
              <a:gd name="connsiteY36" fmla="*/ 448092 h 643319"/>
              <a:gd name="connsiteX37" fmla="*/ 8518167 w 9144000"/>
              <a:gd name="connsiteY37" fmla="*/ 448092 h 643319"/>
              <a:gd name="connsiteX38" fmla="*/ 8518552 w 9144000"/>
              <a:gd name="connsiteY38" fmla="*/ 448092 h 643319"/>
              <a:gd name="connsiteX39" fmla="*/ 8518552 w 9144000"/>
              <a:gd name="connsiteY39" fmla="*/ 431091 h 643319"/>
              <a:gd name="connsiteX40" fmla="*/ 8518167 w 9144000"/>
              <a:gd name="connsiteY40" fmla="*/ 431091 h 643319"/>
              <a:gd name="connsiteX41" fmla="*/ 8518167 w 9144000"/>
              <a:gd name="connsiteY41" fmla="*/ 424993 h 643319"/>
              <a:gd name="connsiteX42" fmla="*/ 8473825 w 9144000"/>
              <a:gd name="connsiteY42" fmla="*/ 424993 h 643319"/>
              <a:gd name="connsiteX43" fmla="*/ 8473825 w 9144000"/>
              <a:gd name="connsiteY43" fmla="*/ 403668 h 643319"/>
              <a:gd name="connsiteX44" fmla="*/ 8514235 w 9144000"/>
              <a:gd name="connsiteY44" fmla="*/ 403668 h 643319"/>
              <a:gd name="connsiteX45" fmla="*/ 8514235 w 9144000"/>
              <a:gd name="connsiteY45" fmla="*/ 381596 h 643319"/>
              <a:gd name="connsiteX46" fmla="*/ 8473825 w 9144000"/>
              <a:gd name="connsiteY46" fmla="*/ 381596 h 643319"/>
              <a:gd name="connsiteX47" fmla="*/ 8473825 w 9144000"/>
              <a:gd name="connsiteY47" fmla="*/ 362074 h 643319"/>
              <a:gd name="connsiteX48" fmla="*/ 8518167 w 9144000"/>
              <a:gd name="connsiteY48" fmla="*/ 362074 h 643319"/>
              <a:gd name="connsiteX49" fmla="*/ 8518167 w 9144000"/>
              <a:gd name="connsiteY49" fmla="*/ 355806 h 643319"/>
              <a:gd name="connsiteX50" fmla="*/ 8518552 w 9144000"/>
              <a:gd name="connsiteY50" fmla="*/ 355806 h 643319"/>
              <a:gd name="connsiteX51" fmla="*/ 8518552 w 9144000"/>
              <a:gd name="connsiteY51" fmla="*/ 338805 h 643319"/>
              <a:gd name="connsiteX52" fmla="*/ 8518167 w 9144000"/>
              <a:gd name="connsiteY52" fmla="*/ 338805 h 643319"/>
              <a:gd name="connsiteX53" fmla="*/ 8469892 w 9144000"/>
              <a:gd name="connsiteY53" fmla="*/ 338805 h 643319"/>
              <a:gd name="connsiteX54" fmla="*/ 8387913 w 9144000"/>
              <a:gd name="connsiteY54" fmla="*/ 338772 h 643319"/>
              <a:gd name="connsiteX55" fmla="*/ 8365286 w 9144000"/>
              <a:gd name="connsiteY55" fmla="*/ 342998 h 643319"/>
              <a:gd name="connsiteX56" fmla="*/ 8357150 w 9144000"/>
              <a:gd name="connsiteY56" fmla="*/ 347125 h 643319"/>
              <a:gd name="connsiteX57" fmla="*/ 8332784 w 9144000"/>
              <a:gd name="connsiteY57" fmla="*/ 398691 h 643319"/>
              <a:gd name="connsiteX58" fmla="*/ 8336389 w 9144000"/>
              <a:gd name="connsiteY58" fmla="*/ 415171 h 643319"/>
              <a:gd name="connsiteX59" fmla="*/ 8364431 w 9144000"/>
              <a:gd name="connsiteY59" fmla="*/ 443904 h 643319"/>
              <a:gd name="connsiteX60" fmla="*/ 8386916 w 9144000"/>
              <a:gd name="connsiteY60" fmla="*/ 448130 h 643319"/>
              <a:gd name="connsiteX61" fmla="*/ 8409486 w 9144000"/>
              <a:gd name="connsiteY61" fmla="*/ 443904 h 643319"/>
              <a:gd name="connsiteX62" fmla="*/ 8426926 w 9144000"/>
              <a:gd name="connsiteY62" fmla="*/ 432425 h 643319"/>
              <a:gd name="connsiteX63" fmla="*/ 8438240 w 9144000"/>
              <a:gd name="connsiteY63" fmla="*/ 415171 h 643319"/>
              <a:gd name="connsiteX64" fmla="*/ 8442258 w 9144000"/>
              <a:gd name="connsiteY64" fmla="*/ 393522 h 643319"/>
              <a:gd name="connsiteX65" fmla="*/ 8438397 w 9144000"/>
              <a:gd name="connsiteY65" fmla="*/ 371788 h 643319"/>
              <a:gd name="connsiteX66" fmla="*/ 8427439 w 9144000"/>
              <a:gd name="connsiteY66" fmla="*/ 354477 h 643319"/>
              <a:gd name="connsiteX67" fmla="*/ 8410341 w 9144000"/>
              <a:gd name="connsiteY67" fmla="*/ 342998 h 643319"/>
              <a:gd name="connsiteX68" fmla="*/ 8387913 w 9144000"/>
              <a:gd name="connsiteY68" fmla="*/ 338772 h 643319"/>
              <a:gd name="connsiteX69" fmla="*/ 8245203 w 9144000"/>
              <a:gd name="connsiteY69" fmla="*/ 338425 h 643319"/>
              <a:gd name="connsiteX70" fmla="*/ 8261546 w 9144000"/>
              <a:gd name="connsiteY70" fmla="*/ 372497 h 643319"/>
              <a:gd name="connsiteX71" fmla="*/ 8288505 w 9144000"/>
              <a:gd name="connsiteY71" fmla="*/ 372497 h 643319"/>
              <a:gd name="connsiteX72" fmla="*/ 8274156 w 9144000"/>
              <a:gd name="connsiteY72" fmla="*/ 338425 h 643319"/>
              <a:gd name="connsiteX73" fmla="*/ 8325053 w 9144000"/>
              <a:gd name="connsiteY73" fmla="*/ 338411 h 643319"/>
              <a:gd name="connsiteX74" fmla="*/ 8299363 w 9144000"/>
              <a:gd name="connsiteY74" fmla="*/ 397541 h 643319"/>
              <a:gd name="connsiteX75" fmla="*/ 8292395 w 9144000"/>
              <a:gd name="connsiteY75" fmla="*/ 381202 h 643319"/>
              <a:gd name="connsiteX76" fmla="*/ 8265650 w 9144000"/>
              <a:gd name="connsiteY76" fmla="*/ 381202 h 643319"/>
              <a:gd name="connsiteX77" fmla="*/ 8297582 w 9144000"/>
              <a:gd name="connsiteY77" fmla="*/ 447867 h 643319"/>
              <a:gd name="connsiteX78" fmla="*/ 8300545 w 9144000"/>
              <a:gd name="connsiteY78" fmla="*/ 447867 h 643319"/>
              <a:gd name="connsiteX79" fmla="*/ 8352283 w 9144000"/>
              <a:gd name="connsiteY79" fmla="*/ 338411 h 643319"/>
              <a:gd name="connsiteX80" fmla="*/ 8704282 w 9144000"/>
              <a:gd name="connsiteY80" fmla="*/ 300873 h 643319"/>
              <a:gd name="connsiteX81" fmla="*/ 8704282 w 9144000"/>
              <a:gd name="connsiteY81" fmla="*/ 475801 h 643319"/>
              <a:gd name="connsiteX82" fmla="*/ 8723671 w 9144000"/>
              <a:gd name="connsiteY82" fmla="*/ 475801 h 643319"/>
              <a:gd name="connsiteX83" fmla="*/ 8723671 w 9144000"/>
              <a:gd name="connsiteY83" fmla="*/ 300873 h 643319"/>
              <a:gd name="connsiteX84" fmla="*/ 0 w 9144000"/>
              <a:gd name="connsiteY84" fmla="*/ 0 h 643319"/>
              <a:gd name="connsiteX85" fmla="*/ 9144000 w 9144000"/>
              <a:gd name="connsiteY85" fmla="*/ 0 h 643319"/>
              <a:gd name="connsiteX86" fmla="*/ 9144000 w 9144000"/>
              <a:gd name="connsiteY86" fmla="*/ 182470 h 643319"/>
              <a:gd name="connsiteX87" fmla="*/ 9144000 w 9144000"/>
              <a:gd name="connsiteY87" fmla="*/ 220281 h 643319"/>
              <a:gd name="connsiteX88" fmla="*/ 9144000 w 9144000"/>
              <a:gd name="connsiteY88" fmla="*/ 643319 h 643319"/>
              <a:gd name="connsiteX89" fmla="*/ 8995529 w 9144000"/>
              <a:gd name="connsiteY89" fmla="*/ 643319 h 643319"/>
              <a:gd name="connsiteX90" fmla="*/ 7924718 w 9144000"/>
              <a:gd name="connsiteY90" fmla="*/ 643319 h 643319"/>
              <a:gd name="connsiteX91" fmla="*/ 0 w 9144000"/>
              <a:gd name="connsiteY91" fmla="*/ 643319 h 643319"/>
              <a:gd name="connsiteX92" fmla="*/ 0 w 9144000"/>
              <a:gd name="connsiteY92" fmla="*/ 220281 h 643319"/>
              <a:gd name="connsiteX93" fmla="*/ 0 w 9144000"/>
              <a:gd name="connsiteY93" fmla="*/ 182470 h 643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9144000" h="643319">
                <a:moveTo>
                  <a:pt x="8381735" y="361341"/>
                </a:moveTo>
                <a:cubicBezTo>
                  <a:pt x="8387385" y="360148"/>
                  <a:pt x="8393413" y="360704"/>
                  <a:pt x="8398942" y="363196"/>
                </a:cubicBezTo>
                <a:cubicBezTo>
                  <a:pt x="8402361" y="364814"/>
                  <a:pt x="8405396" y="367127"/>
                  <a:pt x="8407847" y="369985"/>
                </a:cubicBezTo>
                <a:cubicBezTo>
                  <a:pt x="8410387" y="373042"/>
                  <a:pt x="8412320" y="376545"/>
                  <a:pt x="8413547" y="380310"/>
                </a:cubicBezTo>
                <a:cubicBezTo>
                  <a:pt x="8414952" y="384574"/>
                  <a:pt x="8415640" y="389037"/>
                  <a:pt x="8415584" y="393522"/>
                </a:cubicBezTo>
                <a:cubicBezTo>
                  <a:pt x="8415665" y="397954"/>
                  <a:pt x="8415011" y="402370"/>
                  <a:pt x="8413646" y="406593"/>
                </a:cubicBezTo>
                <a:cubicBezTo>
                  <a:pt x="8412411" y="410375"/>
                  <a:pt x="8410478" y="413899"/>
                  <a:pt x="8407947" y="416988"/>
                </a:cubicBezTo>
                <a:cubicBezTo>
                  <a:pt x="8399972" y="426034"/>
                  <a:pt x="8386928" y="428819"/>
                  <a:pt x="8375887" y="423833"/>
                </a:cubicBezTo>
                <a:cubicBezTo>
                  <a:pt x="8372423" y="422230"/>
                  <a:pt x="8369358" y="419893"/>
                  <a:pt x="8366910" y="416988"/>
                </a:cubicBezTo>
                <a:cubicBezTo>
                  <a:pt x="8364379" y="413899"/>
                  <a:pt x="8362446" y="410375"/>
                  <a:pt x="8361211" y="406593"/>
                </a:cubicBezTo>
                <a:cubicBezTo>
                  <a:pt x="8359769" y="402382"/>
                  <a:pt x="8359038" y="397966"/>
                  <a:pt x="8359045" y="393522"/>
                </a:cubicBezTo>
                <a:cubicBezTo>
                  <a:pt x="8358993" y="389036"/>
                  <a:pt x="8359686" y="384573"/>
                  <a:pt x="8361097" y="380310"/>
                </a:cubicBezTo>
                <a:cubicBezTo>
                  <a:pt x="8362323" y="376545"/>
                  <a:pt x="8364257" y="373042"/>
                  <a:pt x="8366796" y="369985"/>
                </a:cubicBezTo>
                <a:cubicBezTo>
                  <a:pt x="8370813" y="365477"/>
                  <a:pt x="8376085" y="362534"/>
                  <a:pt x="8381735" y="361341"/>
                </a:cubicBezTo>
                <a:close/>
                <a:moveTo>
                  <a:pt x="8525633" y="338805"/>
                </a:moveTo>
                <a:lnTo>
                  <a:pt x="8525633" y="384751"/>
                </a:lnTo>
                <a:lnTo>
                  <a:pt x="8525633" y="448092"/>
                </a:lnTo>
                <a:lnTo>
                  <a:pt x="8595623" y="448092"/>
                </a:lnTo>
                <a:lnTo>
                  <a:pt x="8596022" y="448092"/>
                </a:lnTo>
                <a:lnTo>
                  <a:pt x="8596022" y="431091"/>
                </a:lnTo>
                <a:lnTo>
                  <a:pt x="8595623" y="431091"/>
                </a:lnTo>
                <a:lnTo>
                  <a:pt x="8595623" y="424993"/>
                </a:lnTo>
                <a:lnTo>
                  <a:pt x="8551295" y="424993"/>
                </a:lnTo>
                <a:lnTo>
                  <a:pt x="8551295" y="403668"/>
                </a:lnTo>
                <a:lnTo>
                  <a:pt x="8591705" y="403668"/>
                </a:lnTo>
                <a:lnTo>
                  <a:pt x="8591705" y="381596"/>
                </a:lnTo>
                <a:lnTo>
                  <a:pt x="8551295" y="381596"/>
                </a:lnTo>
                <a:lnTo>
                  <a:pt x="8551295" y="362074"/>
                </a:lnTo>
                <a:lnTo>
                  <a:pt x="8595623" y="362074"/>
                </a:lnTo>
                <a:lnTo>
                  <a:pt x="8595623" y="355806"/>
                </a:lnTo>
                <a:lnTo>
                  <a:pt x="8596022" y="355806"/>
                </a:lnTo>
                <a:lnTo>
                  <a:pt x="8596022" y="338805"/>
                </a:lnTo>
                <a:lnTo>
                  <a:pt x="8595623" y="338805"/>
                </a:lnTo>
                <a:lnTo>
                  <a:pt x="8547362" y="338805"/>
                </a:lnTo>
                <a:close/>
                <a:moveTo>
                  <a:pt x="8448177" y="338805"/>
                </a:moveTo>
                <a:lnTo>
                  <a:pt x="8448177" y="384751"/>
                </a:lnTo>
                <a:lnTo>
                  <a:pt x="8448177" y="448092"/>
                </a:lnTo>
                <a:lnTo>
                  <a:pt x="8518167" y="448092"/>
                </a:lnTo>
                <a:lnTo>
                  <a:pt x="8518552" y="448092"/>
                </a:lnTo>
                <a:lnTo>
                  <a:pt x="8518552" y="431091"/>
                </a:lnTo>
                <a:lnTo>
                  <a:pt x="8518167" y="431091"/>
                </a:lnTo>
                <a:lnTo>
                  <a:pt x="8518167" y="424993"/>
                </a:lnTo>
                <a:lnTo>
                  <a:pt x="8473825" y="424993"/>
                </a:lnTo>
                <a:lnTo>
                  <a:pt x="8473825" y="403668"/>
                </a:lnTo>
                <a:lnTo>
                  <a:pt x="8514235" y="403668"/>
                </a:lnTo>
                <a:lnTo>
                  <a:pt x="8514235" y="381596"/>
                </a:lnTo>
                <a:lnTo>
                  <a:pt x="8473825" y="381596"/>
                </a:lnTo>
                <a:lnTo>
                  <a:pt x="8473825" y="362074"/>
                </a:lnTo>
                <a:lnTo>
                  <a:pt x="8518167" y="362074"/>
                </a:lnTo>
                <a:lnTo>
                  <a:pt x="8518167" y="355806"/>
                </a:lnTo>
                <a:lnTo>
                  <a:pt x="8518552" y="355806"/>
                </a:lnTo>
                <a:lnTo>
                  <a:pt x="8518552" y="338805"/>
                </a:lnTo>
                <a:lnTo>
                  <a:pt x="8518167" y="338805"/>
                </a:lnTo>
                <a:lnTo>
                  <a:pt x="8469892" y="338805"/>
                </a:lnTo>
                <a:close/>
                <a:moveTo>
                  <a:pt x="8387913" y="338772"/>
                </a:moveTo>
                <a:cubicBezTo>
                  <a:pt x="8380162" y="338688"/>
                  <a:pt x="8372471" y="340124"/>
                  <a:pt x="8365286" y="342998"/>
                </a:cubicBezTo>
                <a:cubicBezTo>
                  <a:pt x="8362463" y="344149"/>
                  <a:pt x="8359742" y="345530"/>
                  <a:pt x="8357150" y="347125"/>
                </a:cubicBezTo>
                <a:lnTo>
                  <a:pt x="8332784" y="398691"/>
                </a:lnTo>
                <a:cubicBezTo>
                  <a:pt x="8333178" y="404327"/>
                  <a:pt x="8334392" y="409877"/>
                  <a:pt x="8336389" y="415171"/>
                </a:cubicBezTo>
                <a:cubicBezTo>
                  <a:pt x="8341193" y="428245"/>
                  <a:pt x="8351385" y="438689"/>
                  <a:pt x="8364431" y="443904"/>
                </a:cubicBezTo>
                <a:cubicBezTo>
                  <a:pt x="8371564" y="446788"/>
                  <a:pt x="8379210" y="448225"/>
                  <a:pt x="8386916" y="448130"/>
                </a:cubicBezTo>
                <a:cubicBezTo>
                  <a:pt x="8394648" y="448217"/>
                  <a:pt x="8402321" y="446781"/>
                  <a:pt x="8409486" y="443904"/>
                </a:cubicBezTo>
                <a:cubicBezTo>
                  <a:pt x="8416013" y="441262"/>
                  <a:pt x="8421943" y="437360"/>
                  <a:pt x="8426926" y="432425"/>
                </a:cubicBezTo>
                <a:cubicBezTo>
                  <a:pt x="8431850" y="427498"/>
                  <a:pt x="8435700" y="421625"/>
                  <a:pt x="8438240" y="415171"/>
                </a:cubicBezTo>
                <a:cubicBezTo>
                  <a:pt x="8440974" y="408277"/>
                  <a:pt x="8442338" y="400926"/>
                  <a:pt x="8442258" y="393522"/>
                </a:cubicBezTo>
                <a:cubicBezTo>
                  <a:pt x="8442328" y="386104"/>
                  <a:pt x="8441019" y="378738"/>
                  <a:pt x="8438397" y="371788"/>
                </a:cubicBezTo>
                <a:cubicBezTo>
                  <a:pt x="8435967" y="365344"/>
                  <a:pt x="8432239" y="359455"/>
                  <a:pt x="8427439" y="354477"/>
                </a:cubicBezTo>
                <a:cubicBezTo>
                  <a:pt x="8422597" y="349531"/>
                  <a:pt x="8416777" y="345624"/>
                  <a:pt x="8410341" y="342998"/>
                </a:cubicBezTo>
                <a:cubicBezTo>
                  <a:pt x="8403230" y="340108"/>
                  <a:pt x="8395601" y="338671"/>
                  <a:pt x="8387913" y="338772"/>
                </a:cubicBezTo>
                <a:close/>
                <a:moveTo>
                  <a:pt x="8245203" y="338425"/>
                </a:moveTo>
                <a:lnTo>
                  <a:pt x="8261546" y="372497"/>
                </a:lnTo>
                <a:lnTo>
                  <a:pt x="8288505" y="372497"/>
                </a:lnTo>
                <a:lnTo>
                  <a:pt x="8274156" y="338425"/>
                </a:lnTo>
                <a:close/>
                <a:moveTo>
                  <a:pt x="8325053" y="338411"/>
                </a:moveTo>
                <a:lnTo>
                  <a:pt x="8299363" y="397541"/>
                </a:lnTo>
                <a:lnTo>
                  <a:pt x="8292395" y="381202"/>
                </a:lnTo>
                <a:lnTo>
                  <a:pt x="8265650" y="381202"/>
                </a:lnTo>
                <a:lnTo>
                  <a:pt x="8297582" y="447867"/>
                </a:lnTo>
                <a:lnTo>
                  <a:pt x="8300545" y="447867"/>
                </a:lnTo>
                <a:lnTo>
                  <a:pt x="8352283" y="338411"/>
                </a:lnTo>
                <a:close/>
                <a:moveTo>
                  <a:pt x="8704282" y="300873"/>
                </a:moveTo>
                <a:lnTo>
                  <a:pt x="8704282" y="475801"/>
                </a:lnTo>
                <a:lnTo>
                  <a:pt x="8723671" y="475801"/>
                </a:lnTo>
                <a:lnTo>
                  <a:pt x="8723671" y="300873"/>
                </a:lnTo>
                <a:close/>
                <a:moveTo>
                  <a:pt x="0" y="0"/>
                </a:moveTo>
                <a:lnTo>
                  <a:pt x="9144000" y="0"/>
                </a:lnTo>
                <a:lnTo>
                  <a:pt x="9144000" y="182470"/>
                </a:lnTo>
                <a:lnTo>
                  <a:pt x="9144000" y="220281"/>
                </a:lnTo>
                <a:lnTo>
                  <a:pt x="9144000" y="643319"/>
                </a:lnTo>
                <a:lnTo>
                  <a:pt x="8995529" y="643319"/>
                </a:lnTo>
                <a:lnTo>
                  <a:pt x="7924718" y="643319"/>
                </a:lnTo>
                <a:lnTo>
                  <a:pt x="0" y="643319"/>
                </a:lnTo>
                <a:lnTo>
                  <a:pt x="0" y="220281"/>
                </a:lnTo>
                <a:lnTo>
                  <a:pt x="0" y="182470"/>
                </a:lnTo>
                <a:close/>
              </a:path>
            </a:pathLst>
          </a:custGeom>
          <a:solidFill>
            <a:schemeClr val="accent2"/>
          </a:solidFill>
        </p:spPr>
        <p:txBody>
          <a:bodyPr wrap="square" anchor="ctr">
            <a:noAutofit/>
          </a:bodyPr>
          <a:lstStyle>
            <a:lvl1pPr algn="ctr">
              <a:defRPr b="0">
                <a:solidFill>
                  <a:schemeClr val="bg1"/>
                </a:solidFill>
              </a:defRPr>
            </a:lvl1pPr>
          </a:lstStyle>
          <a:p>
            <a:r>
              <a:rPr lang="en-US" dirty="0"/>
              <a:t>Click icon to add a pre-designed graphic</a:t>
            </a:r>
            <a:br>
              <a:rPr lang="en-US" dirty="0"/>
            </a:br>
            <a:r>
              <a:rPr lang="en-US" dirty="0"/>
              <a:t>(e.g. ranking, quote, or map)</a:t>
            </a:r>
          </a:p>
        </p:txBody>
      </p:sp>
    </p:spTree>
    <p:extLst>
      <p:ext uri="{BB962C8B-B14F-4D97-AF65-F5344CB8AC3E}">
        <p14:creationId xmlns:p14="http://schemas.microsoft.com/office/powerpoint/2010/main" val="3930270987"/>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Statistics Text Over Graphic (Full)">
    <p:spTree>
      <p:nvGrpSpPr>
        <p:cNvPr id="1" name=""/>
        <p:cNvGrpSpPr/>
        <p:nvPr/>
      </p:nvGrpSpPr>
      <p:grpSpPr>
        <a:xfrm>
          <a:off x="0" y="0"/>
          <a:ext cx="0" cy="0"/>
          <a:chOff x="0" y="0"/>
          <a:chExt cx="0" cy="0"/>
        </a:xfrm>
      </p:grpSpPr>
      <p:sp>
        <p:nvSpPr>
          <p:cNvPr id="94" name="Picture Placeholder 93">
            <a:extLst>
              <a:ext uri="{FF2B5EF4-FFF2-40B4-BE49-F238E27FC236}">
                <a16:creationId xmlns:a16="http://schemas.microsoft.com/office/drawing/2014/main" id="{D0B63B12-6712-DC43-A793-17F39F816731}"/>
              </a:ext>
            </a:extLst>
          </p:cNvPr>
          <p:cNvSpPr>
            <a:spLocks noGrp="1"/>
          </p:cNvSpPr>
          <p:nvPr>
            <p:ph type="pic" sz="quarter" idx="1004" hasCustomPrompt="1"/>
          </p:nvPr>
        </p:nvSpPr>
        <p:spPr>
          <a:xfrm>
            <a:off x="0" y="2"/>
            <a:ext cx="12192000" cy="6857999"/>
          </a:xfrm>
          <a:custGeom>
            <a:avLst/>
            <a:gdLst>
              <a:gd name="connsiteX0" fmla="*/ 8381735 w 9144000"/>
              <a:gd name="connsiteY0" fmla="*/ 6576021 h 6857999"/>
              <a:gd name="connsiteX1" fmla="*/ 8398942 w 9144000"/>
              <a:gd name="connsiteY1" fmla="*/ 6577876 h 6857999"/>
              <a:gd name="connsiteX2" fmla="*/ 8407847 w 9144000"/>
              <a:gd name="connsiteY2" fmla="*/ 6584665 h 6857999"/>
              <a:gd name="connsiteX3" fmla="*/ 8413547 w 9144000"/>
              <a:gd name="connsiteY3" fmla="*/ 6594990 h 6857999"/>
              <a:gd name="connsiteX4" fmla="*/ 8415584 w 9144000"/>
              <a:gd name="connsiteY4" fmla="*/ 6608202 h 6857999"/>
              <a:gd name="connsiteX5" fmla="*/ 8413646 w 9144000"/>
              <a:gd name="connsiteY5" fmla="*/ 6621273 h 6857999"/>
              <a:gd name="connsiteX6" fmla="*/ 8407947 w 9144000"/>
              <a:gd name="connsiteY6" fmla="*/ 6631668 h 6857999"/>
              <a:gd name="connsiteX7" fmla="*/ 8375887 w 9144000"/>
              <a:gd name="connsiteY7" fmla="*/ 6638513 h 6857999"/>
              <a:gd name="connsiteX8" fmla="*/ 8366910 w 9144000"/>
              <a:gd name="connsiteY8" fmla="*/ 6631668 h 6857999"/>
              <a:gd name="connsiteX9" fmla="*/ 8361211 w 9144000"/>
              <a:gd name="connsiteY9" fmla="*/ 6621273 h 6857999"/>
              <a:gd name="connsiteX10" fmla="*/ 8359045 w 9144000"/>
              <a:gd name="connsiteY10" fmla="*/ 6608202 h 6857999"/>
              <a:gd name="connsiteX11" fmla="*/ 8361097 w 9144000"/>
              <a:gd name="connsiteY11" fmla="*/ 6594990 h 6857999"/>
              <a:gd name="connsiteX12" fmla="*/ 8366796 w 9144000"/>
              <a:gd name="connsiteY12" fmla="*/ 6584665 h 6857999"/>
              <a:gd name="connsiteX13" fmla="*/ 8381735 w 9144000"/>
              <a:gd name="connsiteY13" fmla="*/ 6576021 h 6857999"/>
              <a:gd name="connsiteX14" fmla="*/ 8525633 w 9144000"/>
              <a:gd name="connsiteY14" fmla="*/ 6553485 h 6857999"/>
              <a:gd name="connsiteX15" fmla="*/ 8525633 w 9144000"/>
              <a:gd name="connsiteY15" fmla="*/ 6599431 h 6857999"/>
              <a:gd name="connsiteX16" fmla="*/ 8525633 w 9144000"/>
              <a:gd name="connsiteY16" fmla="*/ 6662772 h 6857999"/>
              <a:gd name="connsiteX17" fmla="*/ 8595623 w 9144000"/>
              <a:gd name="connsiteY17" fmla="*/ 6662772 h 6857999"/>
              <a:gd name="connsiteX18" fmla="*/ 8596022 w 9144000"/>
              <a:gd name="connsiteY18" fmla="*/ 6662772 h 6857999"/>
              <a:gd name="connsiteX19" fmla="*/ 8596022 w 9144000"/>
              <a:gd name="connsiteY19" fmla="*/ 6645771 h 6857999"/>
              <a:gd name="connsiteX20" fmla="*/ 8595623 w 9144000"/>
              <a:gd name="connsiteY20" fmla="*/ 6645771 h 6857999"/>
              <a:gd name="connsiteX21" fmla="*/ 8595623 w 9144000"/>
              <a:gd name="connsiteY21" fmla="*/ 6639673 h 6857999"/>
              <a:gd name="connsiteX22" fmla="*/ 8551295 w 9144000"/>
              <a:gd name="connsiteY22" fmla="*/ 6639673 h 6857999"/>
              <a:gd name="connsiteX23" fmla="*/ 8551295 w 9144000"/>
              <a:gd name="connsiteY23" fmla="*/ 6618348 h 6857999"/>
              <a:gd name="connsiteX24" fmla="*/ 8591705 w 9144000"/>
              <a:gd name="connsiteY24" fmla="*/ 6618348 h 6857999"/>
              <a:gd name="connsiteX25" fmla="*/ 8591705 w 9144000"/>
              <a:gd name="connsiteY25" fmla="*/ 6596276 h 6857999"/>
              <a:gd name="connsiteX26" fmla="*/ 8551295 w 9144000"/>
              <a:gd name="connsiteY26" fmla="*/ 6596276 h 6857999"/>
              <a:gd name="connsiteX27" fmla="*/ 8551295 w 9144000"/>
              <a:gd name="connsiteY27" fmla="*/ 6576754 h 6857999"/>
              <a:gd name="connsiteX28" fmla="*/ 8595623 w 9144000"/>
              <a:gd name="connsiteY28" fmla="*/ 6576754 h 6857999"/>
              <a:gd name="connsiteX29" fmla="*/ 8595623 w 9144000"/>
              <a:gd name="connsiteY29" fmla="*/ 6570486 h 6857999"/>
              <a:gd name="connsiteX30" fmla="*/ 8596022 w 9144000"/>
              <a:gd name="connsiteY30" fmla="*/ 6570486 h 6857999"/>
              <a:gd name="connsiteX31" fmla="*/ 8596022 w 9144000"/>
              <a:gd name="connsiteY31" fmla="*/ 6553485 h 6857999"/>
              <a:gd name="connsiteX32" fmla="*/ 8595623 w 9144000"/>
              <a:gd name="connsiteY32" fmla="*/ 6553485 h 6857999"/>
              <a:gd name="connsiteX33" fmla="*/ 8547362 w 9144000"/>
              <a:gd name="connsiteY33" fmla="*/ 6553485 h 6857999"/>
              <a:gd name="connsiteX34" fmla="*/ 8448177 w 9144000"/>
              <a:gd name="connsiteY34" fmla="*/ 6553485 h 6857999"/>
              <a:gd name="connsiteX35" fmla="*/ 8448177 w 9144000"/>
              <a:gd name="connsiteY35" fmla="*/ 6599431 h 6857999"/>
              <a:gd name="connsiteX36" fmla="*/ 8448177 w 9144000"/>
              <a:gd name="connsiteY36" fmla="*/ 6662772 h 6857999"/>
              <a:gd name="connsiteX37" fmla="*/ 8518167 w 9144000"/>
              <a:gd name="connsiteY37" fmla="*/ 6662772 h 6857999"/>
              <a:gd name="connsiteX38" fmla="*/ 8518552 w 9144000"/>
              <a:gd name="connsiteY38" fmla="*/ 6662772 h 6857999"/>
              <a:gd name="connsiteX39" fmla="*/ 8518552 w 9144000"/>
              <a:gd name="connsiteY39" fmla="*/ 6645771 h 6857999"/>
              <a:gd name="connsiteX40" fmla="*/ 8518167 w 9144000"/>
              <a:gd name="connsiteY40" fmla="*/ 6645771 h 6857999"/>
              <a:gd name="connsiteX41" fmla="*/ 8518167 w 9144000"/>
              <a:gd name="connsiteY41" fmla="*/ 6639673 h 6857999"/>
              <a:gd name="connsiteX42" fmla="*/ 8473825 w 9144000"/>
              <a:gd name="connsiteY42" fmla="*/ 6639673 h 6857999"/>
              <a:gd name="connsiteX43" fmla="*/ 8473825 w 9144000"/>
              <a:gd name="connsiteY43" fmla="*/ 6618348 h 6857999"/>
              <a:gd name="connsiteX44" fmla="*/ 8514235 w 9144000"/>
              <a:gd name="connsiteY44" fmla="*/ 6618348 h 6857999"/>
              <a:gd name="connsiteX45" fmla="*/ 8514235 w 9144000"/>
              <a:gd name="connsiteY45" fmla="*/ 6596276 h 6857999"/>
              <a:gd name="connsiteX46" fmla="*/ 8473825 w 9144000"/>
              <a:gd name="connsiteY46" fmla="*/ 6596276 h 6857999"/>
              <a:gd name="connsiteX47" fmla="*/ 8473825 w 9144000"/>
              <a:gd name="connsiteY47" fmla="*/ 6576754 h 6857999"/>
              <a:gd name="connsiteX48" fmla="*/ 8518167 w 9144000"/>
              <a:gd name="connsiteY48" fmla="*/ 6576754 h 6857999"/>
              <a:gd name="connsiteX49" fmla="*/ 8518167 w 9144000"/>
              <a:gd name="connsiteY49" fmla="*/ 6570486 h 6857999"/>
              <a:gd name="connsiteX50" fmla="*/ 8518552 w 9144000"/>
              <a:gd name="connsiteY50" fmla="*/ 6570486 h 6857999"/>
              <a:gd name="connsiteX51" fmla="*/ 8518552 w 9144000"/>
              <a:gd name="connsiteY51" fmla="*/ 6553485 h 6857999"/>
              <a:gd name="connsiteX52" fmla="*/ 8518167 w 9144000"/>
              <a:gd name="connsiteY52" fmla="*/ 6553485 h 6857999"/>
              <a:gd name="connsiteX53" fmla="*/ 8469892 w 9144000"/>
              <a:gd name="connsiteY53" fmla="*/ 6553485 h 6857999"/>
              <a:gd name="connsiteX54" fmla="*/ 8387913 w 9144000"/>
              <a:gd name="connsiteY54" fmla="*/ 6553452 h 6857999"/>
              <a:gd name="connsiteX55" fmla="*/ 8365286 w 9144000"/>
              <a:gd name="connsiteY55" fmla="*/ 6557678 h 6857999"/>
              <a:gd name="connsiteX56" fmla="*/ 8357150 w 9144000"/>
              <a:gd name="connsiteY56" fmla="*/ 6561805 h 6857999"/>
              <a:gd name="connsiteX57" fmla="*/ 8332784 w 9144000"/>
              <a:gd name="connsiteY57" fmla="*/ 6613371 h 6857999"/>
              <a:gd name="connsiteX58" fmla="*/ 8336389 w 9144000"/>
              <a:gd name="connsiteY58" fmla="*/ 6629851 h 6857999"/>
              <a:gd name="connsiteX59" fmla="*/ 8364431 w 9144000"/>
              <a:gd name="connsiteY59" fmla="*/ 6658584 h 6857999"/>
              <a:gd name="connsiteX60" fmla="*/ 8386916 w 9144000"/>
              <a:gd name="connsiteY60" fmla="*/ 6662810 h 6857999"/>
              <a:gd name="connsiteX61" fmla="*/ 8409486 w 9144000"/>
              <a:gd name="connsiteY61" fmla="*/ 6658584 h 6857999"/>
              <a:gd name="connsiteX62" fmla="*/ 8426926 w 9144000"/>
              <a:gd name="connsiteY62" fmla="*/ 6647105 h 6857999"/>
              <a:gd name="connsiteX63" fmla="*/ 8438240 w 9144000"/>
              <a:gd name="connsiteY63" fmla="*/ 6629851 h 6857999"/>
              <a:gd name="connsiteX64" fmla="*/ 8442258 w 9144000"/>
              <a:gd name="connsiteY64" fmla="*/ 6608202 h 6857999"/>
              <a:gd name="connsiteX65" fmla="*/ 8438397 w 9144000"/>
              <a:gd name="connsiteY65" fmla="*/ 6586468 h 6857999"/>
              <a:gd name="connsiteX66" fmla="*/ 8427439 w 9144000"/>
              <a:gd name="connsiteY66" fmla="*/ 6569157 h 6857999"/>
              <a:gd name="connsiteX67" fmla="*/ 8410341 w 9144000"/>
              <a:gd name="connsiteY67" fmla="*/ 6557678 h 6857999"/>
              <a:gd name="connsiteX68" fmla="*/ 8387913 w 9144000"/>
              <a:gd name="connsiteY68" fmla="*/ 6553452 h 6857999"/>
              <a:gd name="connsiteX69" fmla="*/ 8245203 w 9144000"/>
              <a:gd name="connsiteY69" fmla="*/ 6553105 h 6857999"/>
              <a:gd name="connsiteX70" fmla="*/ 8261546 w 9144000"/>
              <a:gd name="connsiteY70" fmla="*/ 6587177 h 6857999"/>
              <a:gd name="connsiteX71" fmla="*/ 8288505 w 9144000"/>
              <a:gd name="connsiteY71" fmla="*/ 6587177 h 6857999"/>
              <a:gd name="connsiteX72" fmla="*/ 8274156 w 9144000"/>
              <a:gd name="connsiteY72" fmla="*/ 6553105 h 6857999"/>
              <a:gd name="connsiteX73" fmla="*/ 8325053 w 9144000"/>
              <a:gd name="connsiteY73" fmla="*/ 6553091 h 6857999"/>
              <a:gd name="connsiteX74" fmla="*/ 8299363 w 9144000"/>
              <a:gd name="connsiteY74" fmla="*/ 6612221 h 6857999"/>
              <a:gd name="connsiteX75" fmla="*/ 8292395 w 9144000"/>
              <a:gd name="connsiteY75" fmla="*/ 6595882 h 6857999"/>
              <a:gd name="connsiteX76" fmla="*/ 8265650 w 9144000"/>
              <a:gd name="connsiteY76" fmla="*/ 6595882 h 6857999"/>
              <a:gd name="connsiteX77" fmla="*/ 8297582 w 9144000"/>
              <a:gd name="connsiteY77" fmla="*/ 6662547 h 6857999"/>
              <a:gd name="connsiteX78" fmla="*/ 8300545 w 9144000"/>
              <a:gd name="connsiteY78" fmla="*/ 6662547 h 6857999"/>
              <a:gd name="connsiteX79" fmla="*/ 8352283 w 9144000"/>
              <a:gd name="connsiteY79" fmla="*/ 6553091 h 6857999"/>
              <a:gd name="connsiteX80" fmla="*/ 8704282 w 9144000"/>
              <a:gd name="connsiteY80" fmla="*/ 6515553 h 6857999"/>
              <a:gd name="connsiteX81" fmla="*/ 8704282 w 9144000"/>
              <a:gd name="connsiteY81" fmla="*/ 6690481 h 6857999"/>
              <a:gd name="connsiteX82" fmla="*/ 8723671 w 9144000"/>
              <a:gd name="connsiteY82" fmla="*/ 6690481 h 6857999"/>
              <a:gd name="connsiteX83" fmla="*/ 8723671 w 9144000"/>
              <a:gd name="connsiteY83" fmla="*/ 6515553 h 6857999"/>
              <a:gd name="connsiteX84" fmla="*/ 0 w 9144000"/>
              <a:gd name="connsiteY84" fmla="*/ 0 h 6857999"/>
              <a:gd name="connsiteX85" fmla="*/ 9144000 w 9144000"/>
              <a:gd name="connsiteY85" fmla="*/ 0 h 6857999"/>
              <a:gd name="connsiteX86" fmla="*/ 9144000 w 9144000"/>
              <a:gd name="connsiteY86" fmla="*/ 6199631 h 6857999"/>
              <a:gd name="connsiteX87" fmla="*/ 9144000 w 9144000"/>
              <a:gd name="connsiteY87" fmla="*/ 6293057 h 6857999"/>
              <a:gd name="connsiteX88" fmla="*/ 9144000 w 9144000"/>
              <a:gd name="connsiteY88" fmla="*/ 6857999 h 6857999"/>
              <a:gd name="connsiteX89" fmla="*/ 8995529 w 9144000"/>
              <a:gd name="connsiteY89" fmla="*/ 6857999 h 6857999"/>
              <a:gd name="connsiteX90" fmla="*/ 7924718 w 9144000"/>
              <a:gd name="connsiteY90" fmla="*/ 6857999 h 6857999"/>
              <a:gd name="connsiteX91" fmla="*/ 0 w 9144000"/>
              <a:gd name="connsiteY91" fmla="*/ 6857999 h 6857999"/>
              <a:gd name="connsiteX92" fmla="*/ 0 w 9144000"/>
              <a:gd name="connsiteY92" fmla="*/ 6293057 h 6857999"/>
              <a:gd name="connsiteX93" fmla="*/ 0 w 9144000"/>
              <a:gd name="connsiteY93" fmla="*/ 619963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9144000" h="6857999">
                <a:moveTo>
                  <a:pt x="8381735" y="6576021"/>
                </a:moveTo>
                <a:cubicBezTo>
                  <a:pt x="8387385" y="6574828"/>
                  <a:pt x="8393413" y="6575384"/>
                  <a:pt x="8398942" y="6577876"/>
                </a:cubicBezTo>
                <a:cubicBezTo>
                  <a:pt x="8402361" y="6579494"/>
                  <a:pt x="8405396" y="6581807"/>
                  <a:pt x="8407847" y="6584665"/>
                </a:cubicBezTo>
                <a:cubicBezTo>
                  <a:pt x="8410387" y="6587722"/>
                  <a:pt x="8412320" y="6591225"/>
                  <a:pt x="8413547" y="6594990"/>
                </a:cubicBezTo>
                <a:cubicBezTo>
                  <a:pt x="8414952" y="6599254"/>
                  <a:pt x="8415640" y="6603717"/>
                  <a:pt x="8415584" y="6608202"/>
                </a:cubicBezTo>
                <a:cubicBezTo>
                  <a:pt x="8415665" y="6612634"/>
                  <a:pt x="8415011" y="6617050"/>
                  <a:pt x="8413646" y="6621273"/>
                </a:cubicBezTo>
                <a:cubicBezTo>
                  <a:pt x="8412411" y="6625055"/>
                  <a:pt x="8410478" y="6628579"/>
                  <a:pt x="8407947" y="6631668"/>
                </a:cubicBezTo>
                <a:cubicBezTo>
                  <a:pt x="8399972" y="6640714"/>
                  <a:pt x="8386928" y="6643499"/>
                  <a:pt x="8375887" y="6638513"/>
                </a:cubicBezTo>
                <a:cubicBezTo>
                  <a:pt x="8372423" y="6636910"/>
                  <a:pt x="8369358" y="6634573"/>
                  <a:pt x="8366910" y="6631668"/>
                </a:cubicBezTo>
                <a:cubicBezTo>
                  <a:pt x="8364379" y="6628579"/>
                  <a:pt x="8362446" y="6625055"/>
                  <a:pt x="8361211" y="6621273"/>
                </a:cubicBezTo>
                <a:cubicBezTo>
                  <a:pt x="8359769" y="6617062"/>
                  <a:pt x="8359038" y="6612646"/>
                  <a:pt x="8359045" y="6608202"/>
                </a:cubicBezTo>
                <a:cubicBezTo>
                  <a:pt x="8358993" y="6603716"/>
                  <a:pt x="8359686" y="6599253"/>
                  <a:pt x="8361097" y="6594990"/>
                </a:cubicBezTo>
                <a:cubicBezTo>
                  <a:pt x="8362323" y="6591225"/>
                  <a:pt x="8364257" y="6587722"/>
                  <a:pt x="8366796" y="6584665"/>
                </a:cubicBezTo>
                <a:cubicBezTo>
                  <a:pt x="8370813" y="6580157"/>
                  <a:pt x="8376085" y="6577214"/>
                  <a:pt x="8381735" y="6576021"/>
                </a:cubicBezTo>
                <a:close/>
                <a:moveTo>
                  <a:pt x="8525633" y="6553485"/>
                </a:moveTo>
                <a:lnTo>
                  <a:pt x="8525633" y="6599431"/>
                </a:lnTo>
                <a:lnTo>
                  <a:pt x="8525633" y="6662772"/>
                </a:lnTo>
                <a:lnTo>
                  <a:pt x="8595623" y="6662772"/>
                </a:lnTo>
                <a:lnTo>
                  <a:pt x="8596022" y="6662772"/>
                </a:lnTo>
                <a:lnTo>
                  <a:pt x="8596022" y="6645771"/>
                </a:lnTo>
                <a:lnTo>
                  <a:pt x="8595623" y="6645771"/>
                </a:lnTo>
                <a:lnTo>
                  <a:pt x="8595623" y="6639673"/>
                </a:lnTo>
                <a:lnTo>
                  <a:pt x="8551295" y="6639673"/>
                </a:lnTo>
                <a:lnTo>
                  <a:pt x="8551295" y="6618348"/>
                </a:lnTo>
                <a:lnTo>
                  <a:pt x="8591705" y="6618348"/>
                </a:lnTo>
                <a:lnTo>
                  <a:pt x="8591705" y="6596276"/>
                </a:lnTo>
                <a:lnTo>
                  <a:pt x="8551295" y="6596276"/>
                </a:lnTo>
                <a:lnTo>
                  <a:pt x="8551295" y="6576754"/>
                </a:lnTo>
                <a:lnTo>
                  <a:pt x="8595623" y="6576754"/>
                </a:lnTo>
                <a:lnTo>
                  <a:pt x="8595623" y="6570486"/>
                </a:lnTo>
                <a:lnTo>
                  <a:pt x="8596022" y="6570486"/>
                </a:lnTo>
                <a:lnTo>
                  <a:pt x="8596022" y="6553485"/>
                </a:lnTo>
                <a:lnTo>
                  <a:pt x="8595623" y="6553485"/>
                </a:lnTo>
                <a:lnTo>
                  <a:pt x="8547362" y="6553485"/>
                </a:lnTo>
                <a:close/>
                <a:moveTo>
                  <a:pt x="8448177" y="6553485"/>
                </a:moveTo>
                <a:lnTo>
                  <a:pt x="8448177" y="6599431"/>
                </a:lnTo>
                <a:lnTo>
                  <a:pt x="8448177" y="6662772"/>
                </a:lnTo>
                <a:lnTo>
                  <a:pt x="8518167" y="6662772"/>
                </a:lnTo>
                <a:lnTo>
                  <a:pt x="8518552" y="6662772"/>
                </a:lnTo>
                <a:lnTo>
                  <a:pt x="8518552" y="6645771"/>
                </a:lnTo>
                <a:lnTo>
                  <a:pt x="8518167" y="6645771"/>
                </a:lnTo>
                <a:lnTo>
                  <a:pt x="8518167" y="6639673"/>
                </a:lnTo>
                <a:lnTo>
                  <a:pt x="8473825" y="6639673"/>
                </a:lnTo>
                <a:lnTo>
                  <a:pt x="8473825" y="6618348"/>
                </a:lnTo>
                <a:lnTo>
                  <a:pt x="8514235" y="6618348"/>
                </a:lnTo>
                <a:lnTo>
                  <a:pt x="8514235" y="6596276"/>
                </a:lnTo>
                <a:lnTo>
                  <a:pt x="8473825" y="6596276"/>
                </a:lnTo>
                <a:lnTo>
                  <a:pt x="8473825" y="6576754"/>
                </a:lnTo>
                <a:lnTo>
                  <a:pt x="8518167" y="6576754"/>
                </a:lnTo>
                <a:lnTo>
                  <a:pt x="8518167" y="6570486"/>
                </a:lnTo>
                <a:lnTo>
                  <a:pt x="8518552" y="6570486"/>
                </a:lnTo>
                <a:lnTo>
                  <a:pt x="8518552" y="6553485"/>
                </a:lnTo>
                <a:lnTo>
                  <a:pt x="8518167" y="6553485"/>
                </a:lnTo>
                <a:lnTo>
                  <a:pt x="8469892" y="6553485"/>
                </a:lnTo>
                <a:close/>
                <a:moveTo>
                  <a:pt x="8387913" y="6553452"/>
                </a:moveTo>
                <a:cubicBezTo>
                  <a:pt x="8380162" y="6553368"/>
                  <a:pt x="8372471" y="6554804"/>
                  <a:pt x="8365286" y="6557678"/>
                </a:cubicBezTo>
                <a:cubicBezTo>
                  <a:pt x="8362463" y="6558829"/>
                  <a:pt x="8359742" y="6560210"/>
                  <a:pt x="8357150" y="6561805"/>
                </a:cubicBezTo>
                <a:lnTo>
                  <a:pt x="8332784" y="6613371"/>
                </a:lnTo>
                <a:cubicBezTo>
                  <a:pt x="8333178" y="6619007"/>
                  <a:pt x="8334392" y="6624557"/>
                  <a:pt x="8336389" y="6629851"/>
                </a:cubicBezTo>
                <a:cubicBezTo>
                  <a:pt x="8341193" y="6642925"/>
                  <a:pt x="8351385" y="6653369"/>
                  <a:pt x="8364431" y="6658584"/>
                </a:cubicBezTo>
                <a:cubicBezTo>
                  <a:pt x="8371564" y="6661468"/>
                  <a:pt x="8379210" y="6662905"/>
                  <a:pt x="8386916" y="6662810"/>
                </a:cubicBezTo>
                <a:cubicBezTo>
                  <a:pt x="8394648" y="6662897"/>
                  <a:pt x="8402321" y="6661461"/>
                  <a:pt x="8409486" y="6658584"/>
                </a:cubicBezTo>
                <a:cubicBezTo>
                  <a:pt x="8416013" y="6655942"/>
                  <a:pt x="8421943" y="6652040"/>
                  <a:pt x="8426926" y="6647105"/>
                </a:cubicBezTo>
                <a:cubicBezTo>
                  <a:pt x="8431850" y="6642178"/>
                  <a:pt x="8435700" y="6636305"/>
                  <a:pt x="8438240" y="6629851"/>
                </a:cubicBezTo>
                <a:cubicBezTo>
                  <a:pt x="8440974" y="6622957"/>
                  <a:pt x="8442338" y="6615606"/>
                  <a:pt x="8442258" y="6608202"/>
                </a:cubicBezTo>
                <a:cubicBezTo>
                  <a:pt x="8442328" y="6600784"/>
                  <a:pt x="8441019" y="6593418"/>
                  <a:pt x="8438397" y="6586468"/>
                </a:cubicBezTo>
                <a:cubicBezTo>
                  <a:pt x="8435967" y="6580024"/>
                  <a:pt x="8432239" y="6574135"/>
                  <a:pt x="8427439" y="6569157"/>
                </a:cubicBezTo>
                <a:cubicBezTo>
                  <a:pt x="8422597" y="6564211"/>
                  <a:pt x="8416777" y="6560304"/>
                  <a:pt x="8410341" y="6557678"/>
                </a:cubicBezTo>
                <a:cubicBezTo>
                  <a:pt x="8403230" y="6554788"/>
                  <a:pt x="8395601" y="6553351"/>
                  <a:pt x="8387913" y="6553452"/>
                </a:cubicBezTo>
                <a:close/>
                <a:moveTo>
                  <a:pt x="8245203" y="6553105"/>
                </a:moveTo>
                <a:lnTo>
                  <a:pt x="8261546" y="6587177"/>
                </a:lnTo>
                <a:lnTo>
                  <a:pt x="8288505" y="6587177"/>
                </a:lnTo>
                <a:lnTo>
                  <a:pt x="8274156" y="6553105"/>
                </a:lnTo>
                <a:close/>
                <a:moveTo>
                  <a:pt x="8325053" y="6553091"/>
                </a:moveTo>
                <a:lnTo>
                  <a:pt x="8299363" y="6612221"/>
                </a:lnTo>
                <a:lnTo>
                  <a:pt x="8292395" y="6595882"/>
                </a:lnTo>
                <a:lnTo>
                  <a:pt x="8265650" y="6595882"/>
                </a:lnTo>
                <a:lnTo>
                  <a:pt x="8297582" y="6662547"/>
                </a:lnTo>
                <a:lnTo>
                  <a:pt x="8300545" y="6662547"/>
                </a:lnTo>
                <a:lnTo>
                  <a:pt x="8352283" y="6553091"/>
                </a:lnTo>
                <a:close/>
                <a:moveTo>
                  <a:pt x="8704282" y="6515553"/>
                </a:moveTo>
                <a:lnTo>
                  <a:pt x="8704282" y="6690481"/>
                </a:lnTo>
                <a:lnTo>
                  <a:pt x="8723671" y="6690481"/>
                </a:lnTo>
                <a:lnTo>
                  <a:pt x="8723671" y="6515553"/>
                </a:lnTo>
                <a:close/>
                <a:moveTo>
                  <a:pt x="0" y="0"/>
                </a:moveTo>
                <a:lnTo>
                  <a:pt x="9144000" y="0"/>
                </a:lnTo>
                <a:lnTo>
                  <a:pt x="9144000" y="6199631"/>
                </a:lnTo>
                <a:lnTo>
                  <a:pt x="9144000" y="6293057"/>
                </a:lnTo>
                <a:lnTo>
                  <a:pt x="9144000" y="6857999"/>
                </a:lnTo>
                <a:lnTo>
                  <a:pt x="8995529" y="6857999"/>
                </a:lnTo>
                <a:lnTo>
                  <a:pt x="7924718" y="6857999"/>
                </a:lnTo>
                <a:lnTo>
                  <a:pt x="0" y="6857999"/>
                </a:lnTo>
                <a:lnTo>
                  <a:pt x="0" y="6293057"/>
                </a:lnTo>
                <a:lnTo>
                  <a:pt x="0" y="6199631"/>
                </a:lnTo>
                <a:close/>
              </a:path>
            </a:pathLst>
          </a:custGeom>
          <a:solidFill>
            <a:srgbClr val="E8F3FD"/>
          </a:solidFill>
        </p:spPr>
        <p:txBody>
          <a:bodyPr wrap="square" anchor="ctr">
            <a:noAutofit/>
          </a:bodyPr>
          <a:lstStyle>
            <a:lvl1pPr algn="ctr">
              <a:defRPr b="0">
                <a:solidFill>
                  <a:schemeClr val="tx1">
                    <a:lumMod val="50000"/>
                    <a:lumOff val="50000"/>
                  </a:schemeClr>
                </a:solidFill>
              </a:defRPr>
            </a:lvl1pPr>
          </a:lstStyle>
          <a:p>
            <a:r>
              <a:rPr lang="en-US" dirty="0"/>
              <a:t>Click icon to add a pre-designed graphic</a:t>
            </a:r>
            <a:br>
              <a:rPr lang="en-US" dirty="0"/>
            </a:br>
            <a:r>
              <a:rPr lang="en-US" dirty="0"/>
              <a:t>(e.g. ranking, quote, or map)</a:t>
            </a:r>
          </a:p>
        </p:txBody>
      </p:sp>
      <p:grpSp>
        <p:nvGrpSpPr>
          <p:cNvPr id="7" name="Group 6">
            <a:extLst>
              <a:ext uri="{FF2B5EF4-FFF2-40B4-BE49-F238E27FC236}">
                <a16:creationId xmlns:a16="http://schemas.microsoft.com/office/drawing/2014/main" id="{26ACA9DB-4044-6F42-96B1-45EBCD182B84}"/>
              </a:ext>
            </a:extLst>
          </p:cNvPr>
          <p:cNvGrpSpPr/>
          <p:nvPr userDrawn="1"/>
        </p:nvGrpSpPr>
        <p:grpSpPr>
          <a:xfrm>
            <a:off x="-339919" y="-244225"/>
            <a:ext cx="12877237" cy="7348688"/>
            <a:chOff x="-254939" y="-244225"/>
            <a:chExt cx="9657928" cy="7348688"/>
          </a:xfrm>
        </p:grpSpPr>
        <p:grpSp>
          <p:nvGrpSpPr>
            <p:cNvPr id="56" name="Group 55">
              <a:extLst>
                <a:ext uri="{FF2B5EF4-FFF2-40B4-BE49-F238E27FC236}">
                  <a16:creationId xmlns:a16="http://schemas.microsoft.com/office/drawing/2014/main" id="{85C25219-E915-0247-86A1-22585D6E3093}"/>
                </a:ext>
              </a:extLst>
            </p:cNvPr>
            <p:cNvGrpSpPr/>
            <p:nvPr userDrawn="1"/>
          </p:nvGrpSpPr>
          <p:grpSpPr>
            <a:xfrm>
              <a:off x="433266" y="6867287"/>
              <a:ext cx="8280398" cy="235792"/>
              <a:chOff x="431801" y="-235792"/>
              <a:chExt cx="4400550" cy="235792"/>
            </a:xfrm>
          </p:grpSpPr>
          <p:cxnSp>
            <p:nvCxnSpPr>
              <p:cNvPr id="57" name="Straight Connector 56">
                <a:extLst>
                  <a:ext uri="{FF2B5EF4-FFF2-40B4-BE49-F238E27FC236}">
                    <a16:creationId xmlns:a16="http://schemas.microsoft.com/office/drawing/2014/main" id="{E473508A-53E9-294C-8A55-AA67E2E362E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AEE1771F-109C-B54D-8B81-A3B0F5D0C42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9" name="Group 58">
              <a:extLst>
                <a:ext uri="{FF2B5EF4-FFF2-40B4-BE49-F238E27FC236}">
                  <a16:creationId xmlns:a16="http://schemas.microsoft.com/office/drawing/2014/main" id="{31062115-5946-2E4B-8C29-C85175435B4D}"/>
                </a:ext>
              </a:extLst>
            </p:cNvPr>
            <p:cNvGrpSpPr/>
            <p:nvPr userDrawn="1"/>
          </p:nvGrpSpPr>
          <p:grpSpPr>
            <a:xfrm>
              <a:off x="-254939" y="6202098"/>
              <a:ext cx="251461" cy="505509"/>
              <a:chOff x="-256403" y="6200775"/>
              <a:chExt cx="251461" cy="505509"/>
            </a:xfrm>
          </p:grpSpPr>
          <p:grpSp>
            <p:nvGrpSpPr>
              <p:cNvPr id="60" name="Group 59">
                <a:extLst>
                  <a:ext uri="{FF2B5EF4-FFF2-40B4-BE49-F238E27FC236}">
                    <a16:creationId xmlns:a16="http://schemas.microsoft.com/office/drawing/2014/main" id="{47C326A5-BE4B-1442-AC13-B44C5D4792CF}"/>
                  </a:ext>
                </a:extLst>
              </p:cNvPr>
              <p:cNvGrpSpPr/>
              <p:nvPr userDrawn="1"/>
            </p:nvGrpSpPr>
            <p:grpSpPr>
              <a:xfrm rot="16200000">
                <a:off x="-383427" y="6327799"/>
                <a:ext cx="505509" cy="251461"/>
                <a:chOff x="431800" y="-235792"/>
                <a:chExt cx="4400551" cy="235792"/>
              </a:xfrm>
            </p:grpSpPr>
            <p:cxnSp>
              <p:nvCxnSpPr>
                <p:cNvPr id="62" name="Straight Connector 61">
                  <a:extLst>
                    <a:ext uri="{FF2B5EF4-FFF2-40B4-BE49-F238E27FC236}">
                      <a16:creationId xmlns:a16="http://schemas.microsoft.com/office/drawing/2014/main" id="{DBB5637D-AB15-E04F-A1B6-3A283BA1C6F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A1D7E4D6-88A2-7E4B-9284-DCED9F79105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4" name="Rectangle 63">
                  <a:extLst>
                    <a:ext uri="{FF2B5EF4-FFF2-40B4-BE49-F238E27FC236}">
                      <a16:creationId xmlns:a16="http://schemas.microsoft.com/office/drawing/2014/main" id="{F393F5F7-24EF-2745-BC86-DF4C9F389FCB}"/>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61" name="TextBox 60">
                <a:extLst>
                  <a:ext uri="{FF2B5EF4-FFF2-40B4-BE49-F238E27FC236}">
                    <a16:creationId xmlns:a16="http://schemas.microsoft.com/office/drawing/2014/main" id="{F75E910D-9604-9D4F-90E2-EF81D37C867B}"/>
                  </a:ext>
                </a:extLst>
              </p:cNvPr>
              <p:cNvSpPr txBox="1"/>
              <p:nvPr userDrawn="1"/>
            </p:nvSpPr>
            <p:spPr>
              <a:xfrm rot="16200000">
                <a:off x="-284561" y="6399801"/>
                <a:ext cx="307777" cy="129266"/>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65" name="Group 64">
              <a:extLst>
                <a:ext uri="{FF2B5EF4-FFF2-40B4-BE49-F238E27FC236}">
                  <a16:creationId xmlns:a16="http://schemas.microsoft.com/office/drawing/2014/main" id="{292BBFA4-5FEF-524D-AD01-F867D593722F}"/>
                </a:ext>
              </a:extLst>
            </p:cNvPr>
            <p:cNvGrpSpPr/>
            <p:nvPr userDrawn="1"/>
          </p:nvGrpSpPr>
          <p:grpSpPr>
            <a:xfrm>
              <a:off x="433264" y="-244225"/>
              <a:ext cx="8280400" cy="235792"/>
              <a:chOff x="431800" y="-240735"/>
              <a:chExt cx="8280400" cy="235792"/>
            </a:xfrm>
          </p:grpSpPr>
          <p:grpSp>
            <p:nvGrpSpPr>
              <p:cNvPr id="66" name="Group 65">
                <a:extLst>
                  <a:ext uri="{FF2B5EF4-FFF2-40B4-BE49-F238E27FC236}">
                    <a16:creationId xmlns:a16="http://schemas.microsoft.com/office/drawing/2014/main" id="{5A2E8C57-7A20-F840-9308-5611AA6C77E3}"/>
                  </a:ext>
                </a:extLst>
              </p:cNvPr>
              <p:cNvGrpSpPr/>
              <p:nvPr userDrawn="1"/>
            </p:nvGrpSpPr>
            <p:grpSpPr>
              <a:xfrm>
                <a:off x="431800" y="-240735"/>
                <a:ext cx="8280400" cy="235792"/>
                <a:chOff x="431800" y="-235792"/>
                <a:chExt cx="4400551" cy="235792"/>
              </a:xfrm>
            </p:grpSpPr>
            <p:cxnSp>
              <p:nvCxnSpPr>
                <p:cNvPr id="70" name="Straight Connector 69">
                  <a:extLst>
                    <a:ext uri="{FF2B5EF4-FFF2-40B4-BE49-F238E27FC236}">
                      <a16:creationId xmlns:a16="http://schemas.microsoft.com/office/drawing/2014/main" id="{35EF9DEA-530C-4B42-B0F7-9C7D4C25A0A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71C38FE-1DD7-7B4D-B6D4-CEB6C6D31A2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B274FA2B-3A29-0F4D-A4D3-1E12B5D4CE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67" name="TextBox 66">
                <a:extLst>
                  <a:ext uri="{FF2B5EF4-FFF2-40B4-BE49-F238E27FC236}">
                    <a16:creationId xmlns:a16="http://schemas.microsoft.com/office/drawing/2014/main" id="{AF99FA91-ECED-4D43-BCE4-7FAD08FA3B04}"/>
                  </a:ext>
                </a:extLst>
              </p:cNvPr>
              <p:cNvSpPr txBox="1"/>
              <p:nvPr userDrawn="1"/>
            </p:nvSpPr>
            <p:spPr>
              <a:xfrm>
                <a:off x="3914337" y="-176700"/>
                <a:ext cx="1315340"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8" name="Straight Arrow Connector 67">
                <a:extLst>
                  <a:ext uri="{FF2B5EF4-FFF2-40B4-BE49-F238E27FC236}">
                    <a16:creationId xmlns:a16="http://schemas.microsoft.com/office/drawing/2014/main" id="{B34B6B73-1081-0E44-AF98-571C7E0BD066}"/>
                  </a:ext>
                </a:extLst>
              </p:cNvPr>
              <p:cNvCxnSpPr>
                <a:cxnSpLocks/>
                <a:stCxn id="67" idx="1"/>
                <a:endCxn id="72" idx="2"/>
              </p:cNvCxnSpPr>
              <p:nvPr userDrawn="1"/>
            </p:nvCxnSpPr>
            <p:spPr>
              <a:xfrm flipH="1">
                <a:off x="431800" y="-122839"/>
                <a:ext cx="3482537"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9" name="Straight Arrow Connector 68">
                <a:extLst>
                  <a:ext uri="{FF2B5EF4-FFF2-40B4-BE49-F238E27FC236}">
                    <a16:creationId xmlns:a16="http://schemas.microsoft.com/office/drawing/2014/main" id="{3CF09107-5C11-FD44-BFDC-AE93DE20F6F2}"/>
                  </a:ext>
                </a:extLst>
              </p:cNvPr>
              <p:cNvCxnSpPr>
                <a:cxnSpLocks/>
                <a:stCxn id="67" idx="3"/>
                <a:endCxn id="72" idx="0"/>
              </p:cNvCxnSpPr>
              <p:nvPr userDrawn="1"/>
            </p:nvCxnSpPr>
            <p:spPr>
              <a:xfrm>
                <a:off x="5229677" y="-122839"/>
                <a:ext cx="3482523"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89" name="Group 88">
              <a:extLst>
                <a:ext uri="{FF2B5EF4-FFF2-40B4-BE49-F238E27FC236}">
                  <a16:creationId xmlns:a16="http://schemas.microsoft.com/office/drawing/2014/main" id="{D62B5D38-D820-3845-8687-4B3E3C84C708}"/>
                </a:ext>
              </a:extLst>
            </p:cNvPr>
            <p:cNvGrpSpPr/>
            <p:nvPr userDrawn="1"/>
          </p:nvGrpSpPr>
          <p:grpSpPr>
            <a:xfrm rot="16200000">
              <a:off x="9024504" y="6329122"/>
              <a:ext cx="505509" cy="251461"/>
              <a:chOff x="431801" y="-235792"/>
              <a:chExt cx="4400550" cy="235792"/>
            </a:xfrm>
          </p:grpSpPr>
          <p:cxnSp>
            <p:nvCxnSpPr>
              <p:cNvPr id="90" name="Straight Connector 89">
                <a:extLst>
                  <a:ext uri="{FF2B5EF4-FFF2-40B4-BE49-F238E27FC236}">
                    <a16:creationId xmlns:a16="http://schemas.microsoft.com/office/drawing/2014/main" id="{4872C320-D6C1-DA4E-9AD7-B7A0A8B4D5B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EAF17C3F-BCF7-E84D-B2B3-0197BB3DE5F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B6482D8A-4DDA-CF4B-9EFA-753740F85D70}"/>
                </a:ext>
              </a:extLst>
            </p:cNvPr>
            <p:cNvGrpSpPr/>
            <p:nvPr userDrawn="1"/>
          </p:nvGrpSpPr>
          <p:grpSpPr>
            <a:xfrm>
              <a:off x="-254939" y="420689"/>
              <a:ext cx="9657928" cy="5746484"/>
              <a:chOff x="-254939" y="1236195"/>
              <a:chExt cx="9657928" cy="4930977"/>
            </a:xfrm>
          </p:grpSpPr>
          <p:grpSp>
            <p:nvGrpSpPr>
              <p:cNvPr id="73" name="Group 72">
                <a:extLst>
                  <a:ext uri="{FF2B5EF4-FFF2-40B4-BE49-F238E27FC236}">
                    <a16:creationId xmlns:a16="http://schemas.microsoft.com/office/drawing/2014/main" id="{BA0B2552-2063-B94B-8753-4FFD2EFDAEFA}"/>
                  </a:ext>
                </a:extLst>
              </p:cNvPr>
              <p:cNvGrpSpPr/>
              <p:nvPr userDrawn="1"/>
            </p:nvGrpSpPr>
            <p:grpSpPr>
              <a:xfrm>
                <a:off x="-254939" y="1236195"/>
                <a:ext cx="251461" cy="4930977"/>
                <a:chOff x="-256403" y="1304924"/>
                <a:chExt cx="251461" cy="4843215"/>
              </a:xfrm>
            </p:grpSpPr>
            <p:grpSp>
              <p:nvGrpSpPr>
                <p:cNvPr id="74" name="Group 73">
                  <a:extLst>
                    <a:ext uri="{FF2B5EF4-FFF2-40B4-BE49-F238E27FC236}">
                      <a16:creationId xmlns:a16="http://schemas.microsoft.com/office/drawing/2014/main" id="{3E908781-EB9C-7F43-9C77-51D6DF0D08FB}"/>
                    </a:ext>
                  </a:extLst>
                </p:cNvPr>
                <p:cNvGrpSpPr/>
                <p:nvPr userDrawn="1"/>
              </p:nvGrpSpPr>
              <p:grpSpPr>
                <a:xfrm rot="16200000">
                  <a:off x="-2552280" y="3600801"/>
                  <a:ext cx="4843215" cy="251461"/>
                  <a:chOff x="431800" y="-235792"/>
                  <a:chExt cx="4400551" cy="235792"/>
                </a:xfrm>
              </p:grpSpPr>
              <p:cxnSp>
                <p:nvCxnSpPr>
                  <p:cNvPr id="80" name="Straight Connector 79">
                    <a:extLst>
                      <a:ext uri="{FF2B5EF4-FFF2-40B4-BE49-F238E27FC236}">
                        <a16:creationId xmlns:a16="http://schemas.microsoft.com/office/drawing/2014/main" id="{6348B6E7-397E-7443-A5B3-B13B784EE03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DCC8C989-AEB2-1342-A4F6-C0CE5593C32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2" name="Rectangle 81">
                    <a:extLst>
                      <a:ext uri="{FF2B5EF4-FFF2-40B4-BE49-F238E27FC236}">
                        <a16:creationId xmlns:a16="http://schemas.microsoft.com/office/drawing/2014/main" id="{E694B1DC-BFA9-8E48-96CE-C60F1DE2D2C4}"/>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75" name="TextBox 74">
                  <a:extLst>
                    <a:ext uri="{FF2B5EF4-FFF2-40B4-BE49-F238E27FC236}">
                      <a16:creationId xmlns:a16="http://schemas.microsoft.com/office/drawing/2014/main" id="{FC816E2B-0C94-D948-9F64-0CD5F0050148}"/>
                    </a:ext>
                  </a:extLst>
                </p:cNvPr>
                <p:cNvSpPr txBox="1"/>
                <p:nvPr userDrawn="1"/>
              </p:nvSpPr>
              <p:spPr>
                <a:xfrm rot="16200000">
                  <a:off x="-869729" y="3686135"/>
                  <a:ext cx="1478115" cy="8079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76" name="Straight Arrow Connector 75">
                  <a:extLst>
                    <a:ext uri="{FF2B5EF4-FFF2-40B4-BE49-F238E27FC236}">
                      <a16:creationId xmlns:a16="http://schemas.microsoft.com/office/drawing/2014/main" id="{9C4CC1A9-A535-1144-8940-768AF7ABE4E6}"/>
                    </a:ext>
                  </a:extLst>
                </p:cNvPr>
                <p:cNvCxnSpPr>
                  <a:cxnSpLocks/>
                  <a:stCxn id="75" idx="1"/>
                </p:cNvCxnSpPr>
                <p:nvPr userDrawn="1"/>
              </p:nvCxnSpPr>
              <p:spPr>
                <a:xfrm flipH="1">
                  <a:off x="-130672" y="4465589"/>
                  <a:ext cx="2" cy="1682549"/>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77" name="Straight Arrow Connector 76">
                  <a:extLst>
                    <a:ext uri="{FF2B5EF4-FFF2-40B4-BE49-F238E27FC236}">
                      <a16:creationId xmlns:a16="http://schemas.microsoft.com/office/drawing/2014/main" id="{019F48B9-23E2-DA45-B7FC-8F11E3B079C4}"/>
                    </a:ext>
                  </a:extLst>
                </p:cNvPr>
                <p:cNvCxnSpPr>
                  <a:cxnSpLocks/>
                  <a:stCxn id="75" idx="3"/>
                </p:cNvCxnSpPr>
                <p:nvPr userDrawn="1"/>
              </p:nvCxnSpPr>
              <p:spPr>
                <a:xfrm flipH="1" flipV="1">
                  <a:off x="-130673" y="1304928"/>
                  <a:ext cx="2" cy="1682546"/>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95" name="Group 94">
                <a:extLst>
                  <a:ext uri="{FF2B5EF4-FFF2-40B4-BE49-F238E27FC236}">
                    <a16:creationId xmlns:a16="http://schemas.microsoft.com/office/drawing/2014/main" id="{D55D1E59-56A3-A24A-8DE5-328F3950FCC9}"/>
                  </a:ext>
                </a:extLst>
              </p:cNvPr>
              <p:cNvGrpSpPr/>
              <p:nvPr userDrawn="1"/>
            </p:nvGrpSpPr>
            <p:grpSpPr>
              <a:xfrm rot="16200000">
                <a:off x="6812666" y="3576847"/>
                <a:ext cx="4929186" cy="251461"/>
                <a:chOff x="431801" y="-235792"/>
                <a:chExt cx="4462347" cy="235792"/>
              </a:xfrm>
            </p:grpSpPr>
            <p:cxnSp>
              <p:nvCxnSpPr>
                <p:cNvPr id="96" name="Straight Connector 95">
                  <a:extLst>
                    <a:ext uri="{FF2B5EF4-FFF2-40B4-BE49-F238E27FC236}">
                      <a16:creationId xmlns:a16="http://schemas.microsoft.com/office/drawing/2014/main" id="{E20DEBD3-0096-5648-87C1-52DA194811CD}"/>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id="{FBF68087-6890-E04C-840F-0B5D5B30DC9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98" name="Group 97">
              <a:extLst>
                <a:ext uri="{FF2B5EF4-FFF2-40B4-BE49-F238E27FC236}">
                  <a16:creationId xmlns:a16="http://schemas.microsoft.com/office/drawing/2014/main" id="{5BB4E0DB-92A2-CE4B-A4D4-C21071C96CD3}"/>
                </a:ext>
              </a:extLst>
            </p:cNvPr>
            <p:cNvGrpSpPr/>
            <p:nvPr userDrawn="1"/>
          </p:nvGrpSpPr>
          <p:grpSpPr>
            <a:xfrm>
              <a:off x="3123421" y="6868673"/>
              <a:ext cx="2930114" cy="235790"/>
              <a:chOff x="3121388" y="6869197"/>
              <a:chExt cx="2930114" cy="235790"/>
            </a:xfrm>
          </p:grpSpPr>
          <p:grpSp>
            <p:nvGrpSpPr>
              <p:cNvPr id="99" name="Group 98">
                <a:extLst>
                  <a:ext uri="{FF2B5EF4-FFF2-40B4-BE49-F238E27FC236}">
                    <a16:creationId xmlns:a16="http://schemas.microsoft.com/office/drawing/2014/main" id="{57650860-F98A-2D48-91EC-A5A2807BDC6C}"/>
                  </a:ext>
                </a:extLst>
              </p:cNvPr>
              <p:cNvGrpSpPr/>
              <p:nvPr userDrawn="1"/>
            </p:nvGrpSpPr>
            <p:grpSpPr>
              <a:xfrm>
                <a:off x="3184525" y="6869197"/>
                <a:ext cx="2774950" cy="60992"/>
                <a:chOff x="3184525" y="6869196"/>
                <a:chExt cx="2774950" cy="235791"/>
              </a:xfrm>
            </p:grpSpPr>
            <p:cxnSp>
              <p:nvCxnSpPr>
                <p:cNvPr id="110" name="Straight Connector 109">
                  <a:extLst>
                    <a:ext uri="{FF2B5EF4-FFF2-40B4-BE49-F238E27FC236}">
                      <a16:creationId xmlns:a16="http://schemas.microsoft.com/office/drawing/2014/main" id="{C0D7E8B1-DE64-BA4B-916D-7BA67CF2D79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1" name="Straight Connector 110">
                  <a:extLst>
                    <a:ext uri="{FF2B5EF4-FFF2-40B4-BE49-F238E27FC236}">
                      <a16:creationId xmlns:a16="http://schemas.microsoft.com/office/drawing/2014/main" id="{347BA98E-93B4-5545-9E4E-912B913A534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12" name="Straight Connector 111">
                  <a:extLst>
                    <a:ext uri="{FF2B5EF4-FFF2-40B4-BE49-F238E27FC236}">
                      <a16:creationId xmlns:a16="http://schemas.microsoft.com/office/drawing/2014/main" id="{E53E46C5-BA51-D94B-A108-538A6E5925D0}"/>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00" name="TextBox 99">
                <a:extLst>
                  <a:ext uri="{FF2B5EF4-FFF2-40B4-BE49-F238E27FC236}">
                    <a16:creationId xmlns:a16="http://schemas.microsoft.com/office/drawing/2014/main" id="{18481EF9-B9B8-5944-A70D-4FBD6F01668A}"/>
                  </a:ext>
                </a:extLst>
              </p:cNvPr>
              <p:cNvSpPr txBox="1"/>
              <p:nvPr userDrawn="1"/>
            </p:nvSpPr>
            <p:spPr>
              <a:xfrm>
                <a:off x="3121388" y="6954537"/>
                <a:ext cx="153888"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101" name="TextBox 100">
                <a:extLst>
                  <a:ext uri="{FF2B5EF4-FFF2-40B4-BE49-F238E27FC236}">
                    <a16:creationId xmlns:a16="http://schemas.microsoft.com/office/drawing/2014/main" id="{9B8FEDA2-CA5E-DB41-B9C8-5477A54FB095}"/>
                  </a:ext>
                </a:extLst>
              </p:cNvPr>
              <p:cNvSpPr txBox="1"/>
              <p:nvPr userDrawn="1"/>
            </p:nvSpPr>
            <p:spPr>
              <a:xfrm>
                <a:off x="4487991" y="6954537"/>
                <a:ext cx="170720"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104" name="TextBox 103">
                <a:extLst>
                  <a:ext uri="{FF2B5EF4-FFF2-40B4-BE49-F238E27FC236}">
                    <a16:creationId xmlns:a16="http://schemas.microsoft.com/office/drawing/2014/main" id="{95AD9D7F-B960-1248-B6F7-12B9FEDAAF39}"/>
                  </a:ext>
                </a:extLst>
              </p:cNvPr>
              <p:cNvSpPr txBox="1"/>
              <p:nvPr userDrawn="1"/>
            </p:nvSpPr>
            <p:spPr>
              <a:xfrm>
                <a:off x="5869961" y="6954537"/>
                <a:ext cx="181541"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106" name="Group 105">
                <a:extLst>
                  <a:ext uri="{FF2B5EF4-FFF2-40B4-BE49-F238E27FC236}">
                    <a16:creationId xmlns:a16="http://schemas.microsoft.com/office/drawing/2014/main" id="{F018DC65-22A5-C346-8BF0-7E16A1FC62E9}"/>
                  </a:ext>
                </a:extLst>
              </p:cNvPr>
              <p:cNvGrpSpPr/>
              <p:nvPr userDrawn="1"/>
            </p:nvGrpSpPr>
            <p:grpSpPr>
              <a:xfrm>
                <a:off x="3184525" y="7040714"/>
                <a:ext cx="2774950" cy="64273"/>
                <a:chOff x="3184525" y="6869196"/>
                <a:chExt cx="2774950" cy="235791"/>
              </a:xfrm>
            </p:grpSpPr>
            <p:cxnSp>
              <p:nvCxnSpPr>
                <p:cNvPr id="107" name="Straight Connector 106">
                  <a:extLst>
                    <a:ext uri="{FF2B5EF4-FFF2-40B4-BE49-F238E27FC236}">
                      <a16:creationId xmlns:a16="http://schemas.microsoft.com/office/drawing/2014/main" id="{E67C92E6-78A9-F947-92B0-F6468A7334E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8" name="Straight Connector 107">
                  <a:extLst>
                    <a:ext uri="{FF2B5EF4-FFF2-40B4-BE49-F238E27FC236}">
                      <a16:creationId xmlns:a16="http://schemas.microsoft.com/office/drawing/2014/main" id="{D27020A8-1DFE-AD41-98F4-8C87CFF0EEDB}"/>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9" name="Straight Connector 108">
                  <a:extLst>
                    <a:ext uri="{FF2B5EF4-FFF2-40B4-BE49-F238E27FC236}">
                      <a16:creationId xmlns:a16="http://schemas.microsoft.com/office/drawing/2014/main" id="{FADC7F65-2D38-BF45-951F-C8F488F9763F}"/>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200" name="First Content Placeholder">
            <a:extLst>
              <a:ext uri="{FF2B5EF4-FFF2-40B4-BE49-F238E27FC236}">
                <a16:creationId xmlns:a16="http://schemas.microsoft.com/office/drawing/2014/main" id="{DC9253A4-356A-9740-9187-428DE58AB885}"/>
              </a:ext>
            </a:extLst>
          </p:cNvPr>
          <p:cNvSpPr>
            <a:spLocks noGrp="1"/>
          </p:cNvSpPr>
          <p:nvPr>
            <p:ph type="body" sz="quarter" idx="200"/>
          </p:nvPr>
        </p:nvSpPr>
        <p:spPr>
          <a:xfrm>
            <a:off x="0" y="0"/>
            <a:ext cx="6096000" cy="6858000"/>
          </a:xfrm>
          <a:gradFill>
            <a:gsLst>
              <a:gs pos="13000">
                <a:schemeClr val="accent1"/>
              </a:gs>
              <a:gs pos="97000">
                <a:schemeClr val="accent1">
                  <a:alpha val="90000"/>
                </a:schemeClr>
              </a:gs>
            </a:gsLst>
            <a:lin ang="5400000" scaled="0"/>
          </a:gradFill>
        </p:spPr>
        <p:txBody>
          <a:bodyPr lIns="432000" rIns="360000" bIns="360000" anchor="ctr"/>
          <a:lstStyle>
            <a:lvl1pPr marL="0" marR="0" indent="0" algn="l" defTabSz="914400" rtl="0" eaLnBrk="1" fontAlgn="auto" latinLnBrk="0" hangingPunct="1">
              <a:lnSpc>
                <a:spcPct val="90000"/>
              </a:lnSpc>
              <a:spcBef>
                <a:spcPts val="1800"/>
              </a:spcBef>
              <a:spcAft>
                <a:spcPts val="300"/>
              </a:spcAft>
              <a:buClrTx/>
              <a:buSzTx/>
              <a:buFont typeface="Wingdings" pitchFamily="2" charset="2"/>
              <a:buNone/>
              <a:tabLst/>
              <a:defRPr sz="2800">
                <a:solidFill>
                  <a:schemeClr val="bg1"/>
                </a:solidFill>
              </a:defRPr>
            </a:lvl1pPr>
            <a:lvl2pPr>
              <a:defRPr>
                <a:solidFill>
                  <a:schemeClr val="bg1"/>
                </a:solidFill>
              </a:defRPr>
            </a:lvl2pPr>
            <a:lvl3pPr marL="0" indent="0">
              <a:buFontTx/>
              <a:buNone/>
              <a:defRPr>
                <a:solidFill>
                  <a:schemeClr val="bg1"/>
                </a:solidFill>
              </a:defRPr>
            </a:lvl3pPr>
            <a:lvl4pPr marL="0" indent="0">
              <a:buFontTx/>
              <a:buNone/>
              <a:defRPr>
                <a:solidFill>
                  <a:schemeClr val="bg1"/>
                </a:solidFill>
              </a:defRPr>
            </a:lvl4pPr>
            <a:lvl5pPr marL="0" indent="0">
              <a:buFontTx/>
              <a:buNone/>
              <a:defRPr>
                <a:solidFill>
                  <a:schemeClr val="bg1"/>
                </a:solidFill>
              </a:defRPr>
            </a:lvl5pPr>
            <a:lvl6pPr marL="0" indent="0">
              <a:buFontTx/>
              <a:buNone/>
              <a:defRPr>
                <a:solidFill>
                  <a:schemeClr val="bg1"/>
                </a:solidFill>
              </a:defRPr>
            </a:lvl6pPr>
            <a:lvl7pPr marL="0" indent="0">
              <a:buFontTx/>
              <a:buNone/>
              <a:defRPr>
                <a:solidFill>
                  <a:schemeClr val="bg1"/>
                </a:solidFill>
              </a:defRPr>
            </a:lvl7pPr>
            <a:lvl8pPr marL="0" indent="0">
              <a:buFontTx/>
              <a:buNone/>
              <a:defRPr>
                <a:solidFill>
                  <a:schemeClr val="bg1"/>
                </a:solidFill>
              </a:defRPr>
            </a:lvl8pPr>
            <a:lvl9pPr marL="0" indent="0">
              <a:buFontTx/>
              <a:buNone/>
              <a:defRPr>
                <a:solidFill>
                  <a:schemeClr val="bg1"/>
                </a:solidFill>
              </a:defRPr>
            </a:lvl9pPr>
          </a:lstStyle>
          <a:p>
            <a:pPr lvl="0"/>
            <a:r>
              <a:rPr lang="en-US"/>
              <a:t>Click to edit Master text styles</a:t>
            </a:r>
          </a:p>
          <a:p>
            <a:pPr lvl="1"/>
            <a:r>
              <a:rPr lang="en-US"/>
              <a:t>Second level</a:t>
            </a:r>
          </a:p>
        </p:txBody>
      </p:sp>
      <p:sp>
        <p:nvSpPr>
          <p:cNvPr id="1000" name="Footnotes Placeholder">
            <a:extLst>
              <a:ext uri="{FF2B5EF4-FFF2-40B4-BE49-F238E27FC236}">
                <a16:creationId xmlns:a16="http://schemas.microsoft.com/office/drawing/2014/main" id="{1518A119-6232-A242-B4A2-83D06D216BA9}"/>
              </a:ext>
            </a:extLst>
          </p:cNvPr>
          <p:cNvSpPr>
            <a:spLocks noGrp="1"/>
          </p:cNvSpPr>
          <p:nvPr>
            <p:ph type="subTitle" sz="quarter" idx="1000" hasCustomPrompt="1"/>
          </p:nvPr>
        </p:nvSpPr>
        <p:spPr>
          <a:xfrm>
            <a:off x="575733" y="6200775"/>
            <a:ext cx="4934115"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2" name="Date Placeholder 1">
            <a:extLst>
              <a:ext uri="{FF2B5EF4-FFF2-40B4-BE49-F238E27FC236}">
                <a16:creationId xmlns:a16="http://schemas.microsoft.com/office/drawing/2014/main" id="{0FE84BD5-7F9D-AE47-BCAB-D3922B3DA1BC}"/>
              </a:ext>
            </a:extLst>
          </p:cNvPr>
          <p:cNvSpPr>
            <a:spLocks noGrp="1"/>
          </p:cNvSpPr>
          <p:nvPr>
            <p:ph type="dt" sz="half" idx="110"/>
          </p:nvPr>
        </p:nvSpPr>
        <p:spPr/>
        <p:txBody>
          <a:bodyPr/>
          <a:lstStyle/>
          <a:p>
            <a:endParaRPr lang="en-US" dirty="0"/>
          </a:p>
        </p:txBody>
      </p:sp>
      <p:sp>
        <p:nvSpPr>
          <p:cNvPr id="3" name="Footer Placeholder 2">
            <a:extLst>
              <a:ext uri="{FF2B5EF4-FFF2-40B4-BE49-F238E27FC236}">
                <a16:creationId xmlns:a16="http://schemas.microsoft.com/office/drawing/2014/main" id="{D3FF406A-59D4-BB4E-A45D-EEB4EEBCE329}"/>
              </a:ext>
            </a:extLst>
          </p:cNvPr>
          <p:cNvSpPr>
            <a:spLocks noGrp="1"/>
          </p:cNvSpPr>
          <p:nvPr>
            <p:ph type="ftr" sz="quarter" idx="111"/>
          </p:nvPr>
        </p:nvSpPr>
        <p:spPr/>
        <p:txBody>
          <a:bodyPr/>
          <a:lstStyle/>
          <a:p>
            <a:endParaRPr lang="en-US" dirty="0"/>
          </a:p>
        </p:txBody>
      </p:sp>
      <p:sp>
        <p:nvSpPr>
          <p:cNvPr id="4" name="Slide Number Placeholder 3">
            <a:extLst>
              <a:ext uri="{FF2B5EF4-FFF2-40B4-BE49-F238E27FC236}">
                <a16:creationId xmlns:a16="http://schemas.microsoft.com/office/drawing/2014/main" id="{0C9E870A-0204-114F-9189-EE4D27C77AFE}"/>
              </a:ext>
            </a:extLst>
          </p:cNvPr>
          <p:cNvSpPr>
            <a:spLocks noGrp="1"/>
          </p:cNvSpPr>
          <p:nvPr>
            <p:ph type="sldNum" sz="quarter" idx="112"/>
          </p:nvPr>
        </p:nvSpPr>
        <p:spPr>
          <a:noFill/>
        </p:spPr>
        <p:txBody>
          <a:bodyPr/>
          <a:lstStyle>
            <a:lvl1pPr>
              <a:defRPr lang="en-US" smtClean="0"/>
            </a:lvl1pPr>
          </a:lstStyle>
          <a:p>
            <a:pPr marL="12700">
              <a:buFont typeface="Arial" panose="020B0604020202020204" pitchFamily="34" charset="0"/>
              <a:buNone/>
            </a:pPr>
            <a:fld id="{078C017C-E1B9-8443-B047-B08AAA027B45}" type="slidenum">
              <a:rPr lang="en-CA" smtClean="0"/>
              <a:pPr marL="12700">
                <a:buFont typeface="Arial" panose="020B0604020202020204" pitchFamily="34" charset="0"/>
                <a:buNone/>
              </a:pPr>
              <a:t>‹#›</a:t>
            </a:fld>
            <a:endParaRPr lang="en-CA" dirty="0"/>
          </a:p>
        </p:txBody>
      </p:sp>
      <p:grpSp>
        <p:nvGrpSpPr>
          <p:cNvPr id="6" name="Group 5">
            <a:extLst>
              <a:ext uri="{FF2B5EF4-FFF2-40B4-BE49-F238E27FC236}">
                <a16:creationId xmlns:a16="http://schemas.microsoft.com/office/drawing/2014/main" id="{384FC32F-D780-2C41-B31E-1F1C7720CD48}"/>
              </a:ext>
            </a:extLst>
          </p:cNvPr>
          <p:cNvGrpSpPr/>
          <p:nvPr userDrawn="1"/>
        </p:nvGrpSpPr>
        <p:grpSpPr>
          <a:xfrm>
            <a:off x="12532244" y="-1"/>
            <a:ext cx="3948953" cy="9658589"/>
            <a:chOff x="9399182" y="-1"/>
            <a:chExt cx="2961715" cy="9658589"/>
          </a:xfrm>
        </p:grpSpPr>
        <p:sp>
          <p:nvSpPr>
            <p:cNvPr id="114" name="Rectangle 113">
              <a:extLst>
                <a:ext uri="{FF2B5EF4-FFF2-40B4-BE49-F238E27FC236}">
                  <a16:creationId xmlns:a16="http://schemas.microsoft.com/office/drawing/2014/main" id="{1F6701BF-092D-2F4F-9D3D-CB526578FD23}"/>
                </a:ext>
              </a:extLst>
            </p:cNvPr>
            <p:cNvSpPr/>
            <p:nvPr userDrawn="1"/>
          </p:nvSpPr>
          <p:spPr>
            <a:xfrm>
              <a:off x="9399182" y="-1"/>
              <a:ext cx="2798651" cy="94869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163" name="Picture 162">
              <a:extLst>
                <a:ext uri="{FF2B5EF4-FFF2-40B4-BE49-F238E27FC236}">
                  <a16:creationId xmlns:a16="http://schemas.microsoft.com/office/drawing/2014/main" id="{2D12CE45-289D-6B47-8827-232211E4A4E4}"/>
                </a:ext>
              </a:extLst>
            </p:cNvPr>
            <p:cNvPicPr>
              <a:picLocks noChangeAspect="1"/>
            </p:cNvPicPr>
            <p:nvPr userDrawn="1"/>
          </p:nvPicPr>
          <p:blipFill rotWithShape="1">
            <a:blip r:embed="rId2"/>
            <a:srcRect t="11482" r="50733" b="17784"/>
            <a:stretch/>
          </p:blipFill>
          <p:spPr>
            <a:xfrm>
              <a:off x="9558506" y="1332920"/>
              <a:ext cx="2639326" cy="746975"/>
            </a:xfrm>
            <a:prstGeom prst="rect">
              <a:avLst/>
            </a:prstGeom>
          </p:spPr>
        </p:pic>
        <p:grpSp>
          <p:nvGrpSpPr>
            <p:cNvPr id="115" name="Group 114">
              <a:extLst>
                <a:ext uri="{FF2B5EF4-FFF2-40B4-BE49-F238E27FC236}">
                  <a16:creationId xmlns:a16="http://schemas.microsoft.com/office/drawing/2014/main" id="{E06DB9A1-FD76-8C4E-AA60-A3215A54B22B}"/>
                </a:ext>
              </a:extLst>
            </p:cNvPr>
            <p:cNvGrpSpPr/>
            <p:nvPr userDrawn="1"/>
          </p:nvGrpSpPr>
          <p:grpSpPr>
            <a:xfrm>
              <a:off x="9541497" y="162442"/>
              <a:ext cx="2819400" cy="814510"/>
              <a:chOff x="-3644733" y="165205"/>
              <a:chExt cx="2819400" cy="814510"/>
            </a:xfrm>
          </p:grpSpPr>
          <p:sp>
            <p:nvSpPr>
              <p:cNvPr id="154" name="Rectangle 153">
                <a:extLst>
                  <a:ext uri="{FF2B5EF4-FFF2-40B4-BE49-F238E27FC236}">
                    <a16:creationId xmlns:a16="http://schemas.microsoft.com/office/drawing/2014/main" id="{9B6A22A1-5D5B-4A45-9873-94CDE4AF5389}"/>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55" name="TextBox 154">
                <a:extLst>
                  <a:ext uri="{FF2B5EF4-FFF2-40B4-BE49-F238E27FC236}">
                    <a16:creationId xmlns:a16="http://schemas.microsoft.com/office/drawing/2014/main" id="{7ABB8F1D-E85A-ED44-9693-9F13743BAED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56" name="Picture 155">
                <a:extLst>
                  <a:ext uri="{FF2B5EF4-FFF2-40B4-BE49-F238E27FC236}">
                    <a16:creationId xmlns:a16="http://schemas.microsoft.com/office/drawing/2014/main" id="{20DBD003-BD74-534F-B6C9-503C1716230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116" name="TextBox 115">
              <a:extLst>
                <a:ext uri="{FF2B5EF4-FFF2-40B4-BE49-F238E27FC236}">
                  <a16:creationId xmlns:a16="http://schemas.microsoft.com/office/drawing/2014/main" id="{00987C7D-6B58-624B-A8C2-E1C8B5B41655}"/>
                </a:ext>
              </a:extLst>
            </p:cNvPr>
            <p:cNvSpPr txBox="1"/>
            <p:nvPr userDrawn="1"/>
          </p:nvSpPr>
          <p:spPr>
            <a:xfrm>
              <a:off x="9558507" y="3644763"/>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117" name="Straight Connector 116">
              <a:extLst>
                <a:ext uri="{FF2B5EF4-FFF2-40B4-BE49-F238E27FC236}">
                  <a16:creationId xmlns:a16="http://schemas.microsoft.com/office/drawing/2014/main" id="{76A5E172-F2DB-AB47-BF8B-E04905D4DF34}"/>
                </a:ext>
              </a:extLst>
            </p:cNvPr>
            <p:cNvCxnSpPr>
              <a:cxnSpLocks/>
            </p:cNvCxnSpPr>
            <p:nvPr userDrawn="1"/>
          </p:nvCxnSpPr>
          <p:spPr>
            <a:xfrm>
              <a:off x="9558507" y="384738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118" name="TextBox 117">
              <a:extLst>
                <a:ext uri="{FF2B5EF4-FFF2-40B4-BE49-F238E27FC236}">
                  <a16:creationId xmlns:a16="http://schemas.microsoft.com/office/drawing/2014/main" id="{73686235-423F-604C-911D-620F011D49F8}"/>
                </a:ext>
              </a:extLst>
            </p:cNvPr>
            <p:cNvSpPr txBox="1"/>
            <p:nvPr userDrawn="1"/>
          </p:nvSpPr>
          <p:spPr>
            <a:xfrm>
              <a:off x="9686426" y="470569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119" name="Group 118">
              <a:extLst>
                <a:ext uri="{FF2B5EF4-FFF2-40B4-BE49-F238E27FC236}">
                  <a16:creationId xmlns:a16="http://schemas.microsoft.com/office/drawing/2014/main" id="{74431D0C-E5D7-5C4B-B34D-ED622DCEC90B}"/>
                </a:ext>
              </a:extLst>
            </p:cNvPr>
            <p:cNvGrpSpPr/>
            <p:nvPr userDrawn="1"/>
          </p:nvGrpSpPr>
          <p:grpSpPr>
            <a:xfrm>
              <a:off x="9541497" y="8247273"/>
              <a:ext cx="2735151" cy="1411315"/>
              <a:chOff x="9296567" y="4910411"/>
              <a:chExt cx="2735151" cy="1411315"/>
            </a:xfrm>
          </p:grpSpPr>
          <p:sp>
            <p:nvSpPr>
              <p:cNvPr id="148" name="Rectangle 147">
                <a:extLst>
                  <a:ext uri="{FF2B5EF4-FFF2-40B4-BE49-F238E27FC236}">
                    <a16:creationId xmlns:a16="http://schemas.microsoft.com/office/drawing/2014/main" id="{3EE33C6F-C414-704B-930C-49B6415FB0D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49" name="TextBox 148">
                <a:extLst>
                  <a:ext uri="{FF2B5EF4-FFF2-40B4-BE49-F238E27FC236}">
                    <a16:creationId xmlns:a16="http://schemas.microsoft.com/office/drawing/2014/main" id="{C7770F39-017B-9A4E-B2C7-C48397F86E0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50" name="Graphic 149">
                <a:extLst>
                  <a:ext uri="{FF2B5EF4-FFF2-40B4-BE49-F238E27FC236}">
                    <a16:creationId xmlns:a16="http://schemas.microsoft.com/office/drawing/2014/main" id="{2B06D124-E28F-144C-A1A8-A9F9DCEDD39D}"/>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51" name="TextBox 150">
                <a:extLst>
                  <a:ext uri="{FF2B5EF4-FFF2-40B4-BE49-F238E27FC236}">
                    <a16:creationId xmlns:a16="http://schemas.microsoft.com/office/drawing/2014/main" id="{217354F4-3327-F641-8A6E-7CF3A11F0418}"/>
                  </a:ext>
                </a:extLst>
              </p:cNvPr>
              <p:cNvSpPr txBox="1"/>
              <p:nvPr userDrawn="1"/>
            </p:nvSpPr>
            <p:spPr>
              <a:xfrm>
                <a:off x="9471805" y="5619194"/>
                <a:ext cx="2413353"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52" name="TextBox 151">
                <a:extLst>
                  <a:ext uri="{FF2B5EF4-FFF2-40B4-BE49-F238E27FC236}">
                    <a16:creationId xmlns:a16="http://schemas.microsoft.com/office/drawing/2014/main" id="{C21E8267-10D6-A74C-9247-CF15A2756B51}"/>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53" name="TextBox 152">
                <a:extLst>
                  <a:ext uri="{FF2B5EF4-FFF2-40B4-BE49-F238E27FC236}">
                    <a16:creationId xmlns:a16="http://schemas.microsoft.com/office/drawing/2014/main" id="{33236540-7695-CC4F-8B5C-2A70FAD9ED3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120" name="Group 119">
              <a:extLst>
                <a:ext uri="{FF2B5EF4-FFF2-40B4-BE49-F238E27FC236}">
                  <a16:creationId xmlns:a16="http://schemas.microsoft.com/office/drawing/2014/main" id="{1CC75D71-084C-2841-A6C3-E4B52088D324}"/>
                </a:ext>
              </a:extLst>
            </p:cNvPr>
            <p:cNvGrpSpPr/>
            <p:nvPr userDrawn="1"/>
          </p:nvGrpSpPr>
          <p:grpSpPr>
            <a:xfrm>
              <a:off x="9541497" y="6890617"/>
              <a:ext cx="2735151" cy="1280928"/>
              <a:chOff x="9286315" y="6976989"/>
              <a:chExt cx="2735151" cy="1280928"/>
            </a:xfrm>
          </p:grpSpPr>
          <p:sp>
            <p:nvSpPr>
              <p:cNvPr id="138" name="Rectangle 137">
                <a:extLst>
                  <a:ext uri="{FF2B5EF4-FFF2-40B4-BE49-F238E27FC236}">
                    <a16:creationId xmlns:a16="http://schemas.microsoft.com/office/drawing/2014/main" id="{80A4814C-F3C9-8E4D-A7A3-91D0BBB9B2D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44" name="TextBox 143">
                <a:extLst>
                  <a:ext uri="{FF2B5EF4-FFF2-40B4-BE49-F238E27FC236}">
                    <a16:creationId xmlns:a16="http://schemas.microsoft.com/office/drawing/2014/main" id="{9E22E78A-6530-6E49-B5B6-FE675F4954F7}"/>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45" name="Graphic 144">
                <a:extLst>
                  <a:ext uri="{FF2B5EF4-FFF2-40B4-BE49-F238E27FC236}">
                    <a16:creationId xmlns:a16="http://schemas.microsoft.com/office/drawing/2014/main" id="{DABEDA03-6252-DA49-BF04-D4C0068F703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46" name="TextBox 145">
                <a:extLst>
                  <a:ext uri="{FF2B5EF4-FFF2-40B4-BE49-F238E27FC236}">
                    <a16:creationId xmlns:a16="http://schemas.microsoft.com/office/drawing/2014/main" id="{8636DC60-0BA4-B64F-91F4-B8555CA43CB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47" name="Picture 146">
                <a:extLst>
                  <a:ext uri="{FF2B5EF4-FFF2-40B4-BE49-F238E27FC236}">
                    <a16:creationId xmlns:a16="http://schemas.microsoft.com/office/drawing/2014/main" id="{9C06CF34-F5E9-FF43-92FC-A8A12A5E7514}"/>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121" name="Group 120">
              <a:extLst>
                <a:ext uri="{FF2B5EF4-FFF2-40B4-BE49-F238E27FC236}">
                  <a16:creationId xmlns:a16="http://schemas.microsoft.com/office/drawing/2014/main" id="{38052344-BDD9-5C4C-BCF9-CDD928F9ABEF}"/>
                </a:ext>
              </a:extLst>
            </p:cNvPr>
            <p:cNvGrpSpPr/>
            <p:nvPr userDrawn="1"/>
          </p:nvGrpSpPr>
          <p:grpSpPr>
            <a:xfrm>
              <a:off x="9521833" y="3969883"/>
              <a:ext cx="2617883" cy="651460"/>
              <a:chOff x="12352022" y="513115"/>
              <a:chExt cx="2617883" cy="651460"/>
            </a:xfrm>
          </p:grpSpPr>
          <p:sp>
            <p:nvSpPr>
              <p:cNvPr id="135" name="TextBox 134">
                <a:extLst>
                  <a:ext uri="{FF2B5EF4-FFF2-40B4-BE49-F238E27FC236}">
                    <a16:creationId xmlns:a16="http://schemas.microsoft.com/office/drawing/2014/main" id="{EA326582-6206-9448-AC3D-D39568717478}"/>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36" name="TextBox 135">
                <a:extLst>
                  <a:ext uri="{FF2B5EF4-FFF2-40B4-BE49-F238E27FC236}">
                    <a16:creationId xmlns:a16="http://schemas.microsoft.com/office/drawing/2014/main" id="{4064E1A2-6908-7D4E-AED8-AABD4AFAA4D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37" name="TextBox 136">
                <a:extLst>
                  <a:ext uri="{FF2B5EF4-FFF2-40B4-BE49-F238E27FC236}">
                    <a16:creationId xmlns:a16="http://schemas.microsoft.com/office/drawing/2014/main" id="{26F5F72F-54E6-6444-AD2C-1C7049E062D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122" name="TextBox 121">
              <a:extLst>
                <a:ext uri="{FF2B5EF4-FFF2-40B4-BE49-F238E27FC236}">
                  <a16:creationId xmlns:a16="http://schemas.microsoft.com/office/drawing/2014/main" id="{6ADF7B1D-21B9-4A43-9883-156AF8A7FE24}"/>
                </a:ext>
              </a:extLst>
            </p:cNvPr>
            <p:cNvSpPr txBox="1"/>
            <p:nvPr userDrawn="1"/>
          </p:nvSpPr>
          <p:spPr>
            <a:xfrm>
              <a:off x="9674267" y="4988995"/>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123" name="TextBox 122">
              <a:extLst>
                <a:ext uri="{FF2B5EF4-FFF2-40B4-BE49-F238E27FC236}">
                  <a16:creationId xmlns:a16="http://schemas.microsoft.com/office/drawing/2014/main" id="{FD008BFE-F284-7448-B84A-6DC42232D3A9}"/>
                </a:ext>
              </a:extLst>
            </p:cNvPr>
            <p:cNvSpPr txBox="1"/>
            <p:nvPr userDrawn="1"/>
          </p:nvSpPr>
          <p:spPr>
            <a:xfrm>
              <a:off x="9686426" y="540425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124" name="TextBox 123">
              <a:extLst>
                <a:ext uri="{FF2B5EF4-FFF2-40B4-BE49-F238E27FC236}">
                  <a16:creationId xmlns:a16="http://schemas.microsoft.com/office/drawing/2014/main" id="{3BA44DCB-A3AF-9546-85AA-0C8080A538B5}"/>
                </a:ext>
              </a:extLst>
            </p:cNvPr>
            <p:cNvSpPr txBox="1"/>
            <p:nvPr userDrawn="1"/>
          </p:nvSpPr>
          <p:spPr>
            <a:xfrm>
              <a:off x="9686426" y="612434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25" name="TextBox 124">
              <a:extLst>
                <a:ext uri="{FF2B5EF4-FFF2-40B4-BE49-F238E27FC236}">
                  <a16:creationId xmlns:a16="http://schemas.microsoft.com/office/drawing/2014/main" id="{495F74B5-1BAA-CF4B-B826-677D9A1B2C48}"/>
                </a:ext>
              </a:extLst>
            </p:cNvPr>
            <p:cNvSpPr txBox="1"/>
            <p:nvPr userDrawn="1"/>
          </p:nvSpPr>
          <p:spPr>
            <a:xfrm>
              <a:off x="9674267" y="6554905"/>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133" name="TextBox 132">
              <a:extLst>
                <a:ext uri="{FF2B5EF4-FFF2-40B4-BE49-F238E27FC236}">
                  <a16:creationId xmlns:a16="http://schemas.microsoft.com/office/drawing/2014/main" id="{3F7CB717-E705-2840-9197-C78C7B64E71A}"/>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134" name="Straight Connector 133">
              <a:extLst>
                <a:ext uri="{FF2B5EF4-FFF2-40B4-BE49-F238E27FC236}">
                  <a16:creationId xmlns:a16="http://schemas.microsoft.com/office/drawing/2014/main" id="{C57B530B-447D-4A4B-9F77-9EBFE3288785}"/>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28" name="Group 127">
              <a:extLst>
                <a:ext uri="{FF2B5EF4-FFF2-40B4-BE49-F238E27FC236}">
                  <a16:creationId xmlns:a16="http://schemas.microsoft.com/office/drawing/2014/main" id="{62FAFE70-D4B2-8F4F-9523-F66BEB76844C}"/>
                </a:ext>
              </a:extLst>
            </p:cNvPr>
            <p:cNvGrpSpPr/>
            <p:nvPr userDrawn="1"/>
          </p:nvGrpSpPr>
          <p:grpSpPr>
            <a:xfrm>
              <a:off x="9541497" y="2222532"/>
              <a:ext cx="2735151" cy="1326215"/>
              <a:chOff x="9286315" y="6976988"/>
              <a:chExt cx="2735151" cy="1326215"/>
            </a:xfrm>
          </p:grpSpPr>
          <p:sp>
            <p:nvSpPr>
              <p:cNvPr id="129" name="Rectangle 128">
                <a:extLst>
                  <a:ext uri="{FF2B5EF4-FFF2-40B4-BE49-F238E27FC236}">
                    <a16:creationId xmlns:a16="http://schemas.microsoft.com/office/drawing/2014/main" id="{E47B8ADC-2456-1243-95C8-E860AAB723D4}"/>
                  </a:ext>
                </a:extLst>
              </p:cNvPr>
              <p:cNvSpPr/>
              <p:nvPr userDrawn="1"/>
            </p:nvSpPr>
            <p:spPr>
              <a:xfrm>
                <a:off x="9286315" y="6976988"/>
                <a:ext cx="2735151" cy="13262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0" name="TextBox 129">
                <a:extLst>
                  <a:ext uri="{FF2B5EF4-FFF2-40B4-BE49-F238E27FC236}">
                    <a16:creationId xmlns:a16="http://schemas.microsoft.com/office/drawing/2014/main" id="{EDAA5B06-10D3-584A-BD73-861E5B9ACB56}"/>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djust overlay text box size</a:t>
                </a:r>
              </a:p>
            </p:txBody>
          </p:sp>
          <p:pic>
            <p:nvPicPr>
              <p:cNvPr id="131" name="Graphic 130">
                <a:extLst>
                  <a:ext uri="{FF2B5EF4-FFF2-40B4-BE49-F238E27FC236}">
                    <a16:creationId xmlns:a16="http://schemas.microsoft.com/office/drawing/2014/main" id="{161E4833-BB86-994F-833D-93E67F55990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132" name="TextBox 131">
                <a:extLst>
                  <a:ext uri="{FF2B5EF4-FFF2-40B4-BE49-F238E27FC236}">
                    <a16:creationId xmlns:a16="http://schemas.microsoft.com/office/drawing/2014/main" id="{8DAA1AE3-7284-B649-9EEF-97FFE151F8C8}"/>
                  </a:ext>
                </a:extLst>
              </p:cNvPr>
              <p:cNvSpPr txBox="1"/>
              <p:nvPr userDrawn="1"/>
            </p:nvSpPr>
            <p:spPr>
              <a:xfrm>
                <a:off x="9446538" y="7369972"/>
                <a:ext cx="2214055" cy="53707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If extra space is required for content, use the size handle on this shape to extend the right edge of the shape to the “2/3rds” slide ruler mark.</a:t>
                </a:r>
              </a:p>
              <a:p>
                <a:pPr lvl="1">
                  <a:defRPr/>
                </a:pPr>
                <a:r>
                  <a:rPr lang="en-US" sz="900" kern="1200" dirty="0">
                    <a:solidFill>
                      <a:schemeClr val="tx1">
                        <a:lumMod val="50000"/>
                        <a:lumOff val="50000"/>
                      </a:schemeClr>
                    </a:solidFill>
                    <a:latin typeface="Arial" charset="0"/>
                    <a:cs typeface="Arial" charset="0"/>
                  </a:rPr>
                  <a:t>Turn on guides (View &gt; Guides) to enable snapping.</a:t>
                </a:r>
              </a:p>
            </p:txBody>
          </p:sp>
        </p:grpSp>
      </p:grpSp>
      <p:sp>
        <p:nvSpPr>
          <p:cNvPr id="500" name="Caption">
            <a:extLst>
              <a:ext uri="{FF2B5EF4-FFF2-40B4-BE49-F238E27FC236}">
                <a16:creationId xmlns:a16="http://schemas.microsoft.com/office/drawing/2014/main" id="{659A1A30-0D40-E04A-93E5-5EBF0216ED61}"/>
              </a:ext>
            </a:extLst>
          </p:cNvPr>
          <p:cNvSpPr>
            <a:spLocks noGrp="1"/>
          </p:cNvSpPr>
          <p:nvPr>
            <p:ph type="body" sz="quarter" idx="500" hasCustomPrompt="1"/>
          </p:nvPr>
        </p:nvSpPr>
        <p:spPr>
          <a:xfrm>
            <a:off x="7947046" y="6200776"/>
            <a:ext cx="3657167" cy="152349"/>
          </a:xfrm>
          <a:effectLst/>
        </p:spPr>
        <p:txBody>
          <a:bodyPr wrap="square" anchor="b">
            <a:spAutoFit/>
          </a:bodyPr>
          <a:lstStyle>
            <a:lvl1pPr marL="0" indent="0" algn="r">
              <a:spcBef>
                <a:spcPts val="0"/>
              </a:spcBef>
              <a:spcAft>
                <a:spcPts val="0"/>
              </a:spcAft>
              <a:buFontTx/>
              <a:buNone/>
              <a:tabLst/>
              <a:defRPr sz="1100" b="0">
                <a:solidFill>
                  <a:schemeClr val="tx1"/>
                </a:solidFill>
                <a:effectLst/>
              </a:defRPr>
            </a:lvl1pPr>
            <a:lvl2pPr marL="0" indent="0" algn="r">
              <a:spcBef>
                <a:spcPts val="0"/>
              </a:spcBef>
              <a:spcAft>
                <a:spcPts val="0"/>
              </a:spcAft>
              <a:buFontTx/>
              <a:buNone/>
              <a:tabLst/>
              <a:defRPr sz="1100">
                <a:solidFill>
                  <a:schemeClr val="tx1"/>
                </a:solidFill>
              </a:defRPr>
            </a:lvl2pPr>
            <a:lvl3pPr marL="0" indent="0" algn="r">
              <a:spcBef>
                <a:spcPts val="0"/>
              </a:spcBef>
              <a:spcAft>
                <a:spcPts val="0"/>
              </a:spcAft>
              <a:buFontTx/>
              <a:buNone/>
              <a:tabLst/>
              <a:defRPr sz="1100">
                <a:solidFill>
                  <a:schemeClr val="tx1"/>
                </a:solidFill>
              </a:defRPr>
            </a:lvl3pPr>
            <a:lvl4pPr marL="0" indent="0" algn="r">
              <a:spcBef>
                <a:spcPts val="0"/>
              </a:spcBef>
              <a:spcAft>
                <a:spcPts val="0"/>
              </a:spcAft>
              <a:buFontTx/>
              <a:buNone/>
              <a:tabLst/>
              <a:defRPr sz="1100">
                <a:solidFill>
                  <a:schemeClr val="tx1"/>
                </a:solidFill>
              </a:defRPr>
            </a:lvl4pPr>
            <a:lvl5pPr marL="0" indent="0" algn="r">
              <a:spcBef>
                <a:spcPts val="0"/>
              </a:spcBef>
              <a:spcAft>
                <a:spcPts val="0"/>
              </a:spcAft>
              <a:buFontTx/>
              <a:buNone/>
              <a:tabLst/>
              <a:defRPr sz="1100">
                <a:solidFill>
                  <a:schemeClr val="tx1"/>
                </a:solidFill>
              </a:defRPr>
            </a:lvl5pPr>
            <a:lvl6pPr marL="0" indent="0" algn="r">
              <a:spcBef>
                <a:spcPts val="0"/>
              </a:spcBef>
              <a:spcAft>
                <a:spcPts val="0"/>
              </a:spcAft>
              <a:buFontTx/>
              <a:buNone/>
              <a:tabLst/>
              <a:defRPr sz="1100">
                <a:solidFill>
                  <a:schemeClr val="tx1"/>
                </a:solidFill>
              </a:defRPr>
            </a:lvl6pPr>
            <a:lvl7pPr marL="0" indent="0" algn="r">
              <a:spcBef>
                <a:spcPts val="0"/>
              </a:spcBef>
              <a:spcAft>
                <a:spcPts val="0"/>
              </a:spcAft>
              <a:buFontTx/>
              <a:buNone/>
              <a:tabLst/>
              <a:defRPr sz="1100">
                <a:solidFill>
                  <a:schemeClr val="tx1"/>
                </a:solidFill>
              </a:defRPr>
            </a:lvl7pPr>
            <a:lvl8pPr marL="0" indent="0" algn="r">
              <a:spcBef>
                <a:spcPts val="0"/>
              </a:spcBef>
              <a:spcAft>
                <a:spcPts val="0"/>
              </a:spcAft>
              <a:buFontTx/>
              <a:buNone/>
              <a:tabLst/>
              <a:defRPr sz="1100">
                <a:solidFill>
                  <a:schemeClr val="tx1"/>
                </a:solidFill>
              </a:defRPr>
            </a:lvl8pPr>
            <a:lvl9pPr marL="0" indent="0" algn="r">
              <a:spcBef>
                <a:spcPts val="0"/>
              </a:spcBef>
              <a:spcAft>
                <a:spcPts val="0"/>
              </a:spcAft>
              <a:buFontTx/>
              <a:buNone/>
              <a:tabLst/>
              <a:defRPr sz="1100">
                <a:solidFill>
                  <a:schemeClr val="tx1"/>
                </a:solidFill>
              </a:defRPr>
            </a:lvl9pPr>
          </a:lstStyle>
          <a:p>
            <a:pPr lvl="0"/>
            <a:r>
              <a:rPr lang="en-US" dirty="0"/>
              <a:t>Click to add photo caption</a:t>
            </a:r>
          </a:p>
        </p:txBody>
      </p:sp>
    </p:spTree>
    <p:extLst>
      <p:ext uri="{BB962C8B-B14F-4D97-AF65-F5344CB8AC3E}">
        <p14:creationId xmlns:p14="http://schemas.microsoft.com/office/powerpoint/2010/main" val="3770951863"/>
      </p:ext>
    </p:extLst>
  </p:cSld>
  <p:clrMapOvr>
    <a:overrideClrMapping bg1="lt1" tx1="dk1" bg2="lt2" tx2="dk2" accent1="accent1" accent2="accent2" accent3="accent3" accent4="accent4" accent5="accent5" accent6="accent6" hlink="lt1" folHlink="lt1"/>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Ranking (Left) and Photo">
    <p:bg>
      <p:bgPr>
        <a:solidFill>
          <a:schemeClr val="bg1"/>
        </a:solidFill>
        <a:effectLst/>
      </p:bgPr>
    </p:bg>
    <p:spTree>
      <p:nvGrpSpPr>
        <p:cNvPr id="1" name=""/>
        <p:cNvGrpSpPr/>
        <p:nvPr/>
      </p:nvGrpSpPr>
      <p:grpSpPr>
        <a:xfrm>
          <a:off x="0" y="0"/>
          <a:ext cx="0" cy="0"/>
          <a:chOff x="0" y="0"/>
          <a:chExt cx="0" cy="0"/>
        </a:xfrm>
      </p:grpSpPr>
      <p:sp>
        <p:nvSpPr>
          <p:cNvPr id="70" name="Picture Placeholder 69">
            <a:extLst>
              <a:ext uri="{FF2B5EF4-FFF2-40B4-BE49-F238E27FC236}">
                <a16:creationId xmlns:a16="http://schemas.microsoft.com/office/drawing/2014/main" id="{9BA462A4-98F4-CC48-A595-7889D7136FEB}"/>
              </a:ext>
            </a:extLst>
          </p:cNvPr>
          <p:cNvSpPr>
            <a:spLocks noGrp="1"/>
          </p:cNvSpPr>
          <p:nvPr>
            <p:ph type="pic" sz="quarter" idx="13" hasCustomPrompt="1"/>
          </p:nvPr>
        </p:nvSpPr>
        <p:spPr>
          <a:xfrm>
            <a:off x="7945965" y="-1"/>
            <a:ext cx="4246035" cy="6858000"/>
          </a:xfrm>
          <a:custGeom>
            <a:avLst/>
            <a:gdLst>
              <a:gd name="connsiteX0" fmla="*/ 2422261 w 3184526"/>
              <a:gd name="connsiteY0" fmla="*/ 6576022 h 6858000"/>
              <a:gd name="connsiteX1" fmla="*/ 2439468 w 3184526"/>
              <a:gd name="connsiteY1" fmla="*/ 6577877 h 6858000"/>
              <a:gd name="connsiteX2" fmla="*/ 2448373 w 3184526"/>
              <a:gd name="connsiteY2" fmla="*/ 6584666 h 6858000"/>
              <a:gd name="connsiteX3" fmla="*/ 2454073 w 3184526"/>
              <a:gd name="connsiteY3" fmla="*/ 6594991 h 6858000"/>
              <a:gd name="connsiteX4" fmla="*/ 2456110 w 3184526"/>
              <a:gd name="connsiteY4" fmla="*/ 6608203 h 6858000"/>
              <a:gd name="connsiteX5" fmla="*/ 2454172 w 3184526"/>
              <a:gd name="connsiteY5" fmla="*/ 6621274 h 6858000"/>
              <a:gd name="connsiteX6" fmla="*/ 2448473 w 3184526"/>
              <a:gd name="connsiteY6" fmla="*/ 6631669 h 6858000"/>
              <a:gd name="connsiteX7" fmla="*/ 2416413 w 3184526"/>
              <a:gd name="connsiteY7" fmla="*/ 6638514 h 6858000"/>
              <a:gd name="connsiteX8" fmla="*/ 2407436 w 3184526"/>
              <a:gd name="connsiteY8" fmla="*/ 6631669 h 6858000"/>
              <a:gd name="connsiteX9" fmla="*/ 2401737 w 3184526"/>
              <a:gd name="connsiteY9" fmla="*/ 6621274 h 6858000"/>
              <a:gd name="connsiteX10" fmla="*/ 2399571 w 3184526"/>
              <a:gd name="connsiteY10" fmla="*/ 6608203 h 6858000"/>
              <a:gd name="connsiteX11" fmla="*/ 2401623 w 3184526"/>
              <a:gd name="connsiteY11" fmla="*/ 6594991 h 6858000"/>
              <a:gd name="connsiteX12" fmla="*/ 2407322 w 3184526"/>
              <a:gd name="connsiteY12" fmla="*/ 6584666 h 6858000"/>
              <a:gd name="connsiteX13" fmla="*/ 2422261 w 3184526"/>
              <a:gd name="connsiteY13" fmla="*/ 6576022 h 6858000"/>
              <a:gd name="connsiteX14" fmla="*/ 2566159 w 3184526"/>
              <a:gd name="connsiteY14" fmla="*/ 6553486 h 6858000"/>
              <a:gd name="connsiteX15" fmla="*/ 2566159 w 3184526"/>
              <a:gd name="connsiteY15" fmla="*/ 6599432 h 6858000"/>
              <a:gd name="connsiteX16" fmla="*/ 2566159 w 3184526"/>
              <a:gd name="connsiteY16" fmla="*/ 6662773 h 6858000"/>
              <a:gd name="connsiteX17" fmla="*/ 2636149 w 3184526"/>
              <a:gd name="connsiteY17" fmla="*/ 6662773 h 6858000"/>
              <a:gd name="connsiteX18" fmla="*/ 2636548 w 3184526"/>
              <a:gd name="connsiteY18" fmla="*/ 6662773 h 6858000"/>
              <a:gd name="connsiteX19" fmla="*/ 2636548 w 3184526"/>
              <a:gd name="connsiteY19" fmla="*/ 6645772 h 6858000"/>
              <a:gd name="connsiteX20" fmla="*/ 2636149 w 3184526"/>
              <a:gd name="connsiteY20" fmla="*/ 6645772 h 6858000"/>
              <a:gd name="connsiteX21" fmla="*/ 2636149 w 3184526"/>
              <a:gd name="connsiteY21" fmla="*/ 6639674 h 6858000"/>
              <a:gd name="connsiteX22" fmla="*/ 2591821 w 3184526"/>
              <a:gd name="connsiteY22" fmla="*/ 6639674 h 6858000"/>
              <a:gd name="connsiteX23" fmla="*/ 2591821 w 3184526"/>
              <a:gd name="connsiteY23" fmla="*/ 6618349 h 6858000"/>
              <a:gd name="connsiteX24" fmla="*/ 2632231 w 3184526"/>
              <a:gd name="connsiteY24" fmla="*/ 6618349 h 6858000"/>
              <a:gd name="connsiteX25" fmla="*/ 2632231 w 3184526"/>
              <a:gd name="connsiteY25" fmla="*/ 6596277 h 6858000"/>
              <a:gd name="connsiteX26" fmla="*/ 2591821 w 3184526"/>
              <a:gd name="connsiteY26" fmla="*/ 6596277 h 6858000"/>
              <a:gd name="connsiteX27" fmla="*/ 2591821 w 3184526"/>
              <a:gd name="connsiteY27" fmla="*/ 6576755 h 6858000"/>
              <a:gd name="connsiteX28" fmla="*/ 2636149 w 3184526"/>
              <a:gd name="connsiteY28" fmla="*/ 6576755 h 6858000"/>
              <a:gd name="connsiteX29" fmla="*/ 2636149 w 3184526"/>
              <a:gd name="connsiteY29" fmla="*/ 6570487 h 6858000"/>
              <a:gd name="connsiteX30" fmla="*/ 2636548 w 3184526"/>
              <a:gd name="connsiteY30" fmla="*/ 6570487 h 6858000"/>
              <a:gd name="connsiteX31" fmla="*/ 2636548 w 3184526"/>
              <a:gd name="connsiteY31" fmla="*/ 6553486 h 6858000"/>
              <a:gd name="connsiteX32" fmla="*/ 2636149 w 3184526"/>
              <a:gd name="connsiteY32" fmla="*/ 6553486 h 6858000"/>
              <a:gd name="connsiteX33" fmla="*/ 2587888 w 3184526"/>
              <a:gd name="connsiteY33" fmla="*/ 6553486 h 6858000"/>
              <a:gd name="connsiteX34" fmla="*/ 2488703 w 3184526"/>
              <a:gd name="connsiteY34" fmla="*/ 6553486 h 6858000"/>
              <a:gd name="connsiteX35" fmla="*/ 2488703 w 3184526"/>
              <a:gd name="connsiteY35" fmla="*/ 6599432 h 6858000"/>
              <a:gd name="connsiteX36" fmla="*/ 2488703 w 3184526"/>
              <a:gd name="connsiteY36" fmla="*/ 6662773 h 6858000"/>
              <a:gd name="connsiteX37" fmla="*/ 2558693 w 3184526"/>
              <a:gd name="connsiteY37" fmla="*/ 6662773 h 6858000"/>
              <a:gd name="connsiteX38" fmla="*/ 2559078 w 3184526"/>
              <a:gd name="connsiteY38" fmla="*/ 6662773 h 6858000"/>
              <a:gd name="connsiteX39" fmla="*/ 2559078 w 3184526"/>
              <a:gd name="connsiteY39" fmla="*/ 6645772 h 6858000"/>
              <a:gd name="connsiteX40" fmla="*/ 2558693 w 3184526"/>
              <a:gd name="connsiteY40" fmla="*/ 6645772 h 6858000"/>
              <a:gd name="connsiteX41" fmla="*/ 2558693 w 3184526"/>
              <a:gd name="connsiteY41" fmla="*/ 6639674 h 6858000"/>
              <a:gd name="connsiteX42" fmla="*/ 2514351 w 3184526"/>
              <a:gd name="connsiteY42" fmla="*/ 6639674 h 6858000"/>
              <a:gd name="connsiteX43" fmla="*/ 2514351 w 3184526"/>
              <a:gd name="connsiteY43" fmla="*/ 6618349 h 6858000"/>
              <a:gd name="connsiteX44" fmla="*/ 2554761 w 3184526"/>
              <a:gd name="connsiteY44" fmla="*/ 6618349 h 6858000"/>
              <a:gd name="connsiteX45" fmla="*/ 2554761 w 3184526"/>
              <a:gd name="connsiteY45" fmla="*/ 6596277 h 6858000"/>
              <a:gd name="connsiteX46" fmla="*/ 2514351 w 3184526"/>
              <a:gd name="connsiteY46" fmla="*/ 6596277 h 6858000"/>
              <a:gd name="connsiteX47" fmla="*/ 2514351 w 3184526"/>
              <a:gd name="connsiteY47" fmla="*/ 6576755 h 6858000"/>
              <a:gd name="connsiteX48" fmla="*/ 2558693 w 3184526"/>
              <a:gd name="connsiteY48" fmla="*/ 6576755 h 6858000"/>
              <a:gd name="connsiteX49" fmla="*/ 2558693 w 3184526"/>
              <a:gd name="connsiteY49" fmla="*/ 6570487 h 6858000"/>
              <a:gd name="connsiteX50" fmla="*/ 2559078 w 3184526"/>
              <a:gd name="connsiteY50" fmla="*/ 6570487 h 6858000"/>
              <a:gd name="connsiteX51" fmla="*/ 2559078 w 3184526"/>
              <a:gd name="connsiteY51" fmla="*/ 6553486 h 6858000"/>
              <a:gd name="connsiteX52" fmla="*/ 2558693 w 3184526"/>
              <a:gd name="connsiteY52" fmla="*/ 6553486 h 6858000"/>
              <a:gd name="connsiteX53" fmla="*/ 2510418 w 3184526"/>
              <a:gd name="connsiteY53" fmla="*/ 6553486 h 6858000"/>
              <a:gd name="connsiteX54" fmla="*/ 2428439 w 3184526"/>
              <a:gd name="connsiteY54" fmla="*/ 6553453 h 6858000"/>
              <a:gd name="connsiteX55" fmla="*/ 2405812 w 3184526"/>
              <a:gd name="connsiteY55" fmla="*/ 6557679 h 6858000"/>
              <a:gd name="connsiteX56" fmla="*/ 2397676 w 3184526"/>
              <a:gd name="connsiteY56" fmla="*/ 6561806 h 6858000"/>
              <a:gd name="connsiteX57" fmla="*/ 2373310 w 3184526"/>
              <a:gd name="connsiteY57" fmla="*/ 6613372 h 6858000"/>
              <a:gd name="connsiteX58" fmla="*/ 2376915 w 3184526"/>
              <a:gd name="connsiteY58" fmla="*/ 6629852 h 6858000"/>
              <a:gd name="connsiteX59" fmla="*/ 2404957 w 3184526"/>
              <a:gd name="connsiteY59" fmla="*/ 6658585 h 6858000"/>
              <a:gd name="connsiteX60" fmla="*/ 2427442 w 3184526"/>
              <a:gd name="connsiteY60" fmla="*/ 6662811 h 6858000"/>
              <a:gd name="connsiteX61" fmla="*/ 2450012 w 3184526"/>
              <a:gd name="connsiteY61" fmla="*/ 6658585 h 6858000"/>
              <a:gd name="connsiteX62" fmla="*/ 2467452 w 3184526"/>
              <a:gd name="connsiteY62" fmla="*/ 6647106 h 6858000"/>
              <a:gd name="connsiteX63" fmla="*/ 2478766 w 3184526"/>
              <a:gd name="connsiteY63" fmla="*/ 6629852 h 6858000"/>
              <a:gd name="connsiteX64" fmla="*/ 2482784 w 3184526"/>
              <a:gd name="connsiteY64" fmla="*/ 6608203 h 6858000"/>
              <a:gd name="connsiteX65" fmla="*/ 2478923 w 3184526"/>
              <a:gd name="connsiteY65" fmla="*/ 6586469 h 6858000"/>
              <a:gd name="connsiteX66" fmla="*/ 2467965 w 3184526"/>
              <a:gd name="connsiteY66" fmla="*/ 6569158 h 6858000"/>
              <a:gd name="connsiteX67" fmla="*/ 2450867 w 3184526"/>
              <a:gd name="connsiteY67" fmla="*/ 6557679 h 6858000"/>
              <a:gd name="connsiteX68" fmla="*/ 2428439 w 3184526"/>
              <a:gd name="connsiteY68" fmla="*/ 6553453 h 6858000"/>
              <a:gd name="connsiteX69" fmla="*/ 2285729 w 3184526"/>
              <a:gd name="connsiteY69" fmla="*/ 6553106 h 6858000"/>
              <a:gd name="connsiteX70" fmla="*/ 2302072 w 3184526"/>
              <a:gd name="connsiteY70" fmla="*/ 6587178 h 6858000"/>
              <a:gd name="connsiteX71" fmla="*/ 2329031 w 3184526"/>
              <a:gd name="connsiteY71" fmla="*/ 6587178 h 6858000"/>
              <a:gd name="connsiteX72" fmla="*/ 2314682 w 3184526"/>
              <a:gd name="connsiteY72" fmla="*/ 6553106 h 6858000"/>
              <a:gd name="connsiteX73" fmla="*/ 2365579 w 3184526"/>
              <a:gd name="connsiteY73" fmla="*/ 6553092 h 6858000"/>
              <a:gd name="connsiteX74" fmla="*/ 2339889 w 3184526"/>
              <a:gd name="connsiteY74" fmla="*/ 6612222 h 6858000"/>
              <a:gd name="connsiteX75" fmla="*/ 2332921 w 3184526"/>
              <a:gd name="connsiteY75" fmla="*/ 6595883 h 6858000"/>
              <a:gd name="connsiteX76" fmla="*/ 2306176 w 3184526"/>
              <a:gd name="connsiteY76" fmla="*/ 6595883 h 6858000"/>
              <a:gd name="connsiteX77" fmla="*/ 2338108 w 3184526"/>
              <a:gd name="connsiteY77" fmla="*/ 6662548 h 6858000"/>
              <a:gd name="connsiteX78" fmla="*/ 2341071 w 3184526"/>
              <a:gd name="connsiteY78" fmla="*/ 6662548 h 6858000"/>
              <a:gd name="connsiteX79" fmla="*/ 2392809 w 3184526"/>
              <a:gd name="connsiteY79" fmla="*/ 6553092 h 6858000"/>
              <a:gd name="connsiteX80" fmla="*/ 2744808 w 3184526"/>
              <a:gd name="connsiteY80" fmla="*/ 6515554 h 6858000"/>
              <a:gd name="connsiteX81" fmla="*/ 2744808 w 3184526"/>
              <a:gd name="connsiteY81" fmla="*/ 6690482 h 6858000"/>
              <a:gd name="connsiteX82" fmla="*/ 2764197 w 3184526"/>
              <a:gd name="connsiteY82" fmla="*/ 6690482 h 6858000"/>
              <a:gd name="connsiteX83" fmla="*/ 2764197 w 3184526"/>
              <a:gd name="connsiteY83" fmla="*/ 6515554 h 6858000"/>
              <a:gd name="connsiteX84" fmla="*/ 0 w 3184526"/>
              <a:gd name="connsiteY84" fmla="*/ 0 h 6858000"/>
              <a:gd name="connsiteX85" fmla="*/ 3184526 w 3184526"/>
              <a:gd name="connsiteY85" fmla="*/ 0 h 6858000"/>
              <a:gd name="connsiteX86" fmla="*/ 3184526 w 3184526"/>
              <a:gd name="connsiteY86" fmla="*/ 6200776 h 6858000"/>
              <a:gd name="connsiteX87" fmla="*/ 3184526 w 3184526"/>
              <a:gd name="connsiteY87" fmla="*/ 6397151 h 6858000"/>
              <a:gd name="connsiteX88" fmla="*/ 3184526 w 3184526"/>
              <a:gd name="connsiteY88" fmla="*/ 6434962 h 6858000"/>
              <a:gd name="connsiteX89" fmla="*/ 3184526 w 3184526"/>
              <a:gd name="connsiteY89" fmla="*/ 6488089 h 6858000"/>
              <a:gd name="connsiteX90" fmla="*/ 3184526 w 3184526"/>
              <a:gd name="connsiteY90" fmla="*/ 6858000 h 6858000"/>
              <a:gd name="connsiteX91" fmla="*/ 3036055 w 3184526"/>
              <a:gd name="connsiteY91" fmla="*/ 6858000 h 6858000"/>
              <a:gd name="connsiteX92" fmla="*/ 1965244 w 3184526"/>
              <a:gd name="connsiteY92" fmla="*/ 6858000 h 6858000"/>
              <a:gd name="connsiteX93" fmla="*/ 5158 w 3184526"/>
              <a:gd name="connsiteY93" fmla="*/ 6858000 h 6858000"/>
              <a:gd name="connsiteX94" fmla="*/ 5158 w 3184526"/>
              <a:gd name="connsiteY94" fmla="*/ 6488089 h 6858000"/>
              <a:gd name="connsiteX95" fmla="*/ 0 w 3184526"/>
              <a:gd name="connsiteY95" fmla="*/ 648808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3184526" h="6858000">
                <a:moveTo>
                  <a:pt x="2422261" y="6576022"/>
                </a:moveTo>
                <a:cubicBezTo>
                  <a:pt x="2427911" y="6574829"/>
                  <a:pt x="2433939" y="6575385"/>
                  <a:pt x="2439468" y="6577877"/>
                </a:cubicBezTo>
                <a:cubicBezTo>
                  <a:pt x="2442887" y="6579495"/>
                  <a:pt x="2445922" y="6581808"/>
                  <a:pt x="2448373" y="6584666"/>
                </a:cubicBezTo>
                <a:cubicBezTo>
                  <a:pt x="2450913" y="6587723"/>
                  <a:pt x="2452846" y="6591226"/>
                  <a:pt x="2454073" y="6594991"/>
                </a:cubicBezTo>
                <a:cubicBezTo>
                  <a:pt x="2455478" y="6599255"/>
                  <a:pt x="2456166" y="6603718"/>
                  <a:pt x="2456110" y="6608203"/>
                </a:cubicBezTo>
                <a:cubicBezTo>
                  <a:pt x="2456191" y="6612635"/>
                  <a:pt x="2455537" y="6617051"/>
                  <a:pt x="2454172" y="6621274"/>
                </a:cubicBezTo>
                <a:cubicBezTo>
                  <a:pt x="2452937" y="6625056"/>
                  <a:pt x="2451004" y="6628580"/>
                  <a:pt x="2448473" y="6631669"/>
                </a:cubicBezTo>
                <a:cubicBezTo>
                  <a:pt x="2440498" y="6640715"/>
                  <a:pt x="2427454" y="6643500"/>
                  <a:pt x="2416413" y="6638514"/>
                </a:cubicBezTo>
                <a:cubicBezTo>
                  <a:pt x="2412949" y="6636911"/>
                  <a:pt x="2409884" y="6634574"/>
                  <a:pt x="2407436" y="6631669"/>
                </a:cubicBezTo>
                <a:cubicBezTo>
                  <a:pt x="2404905" y="6628580"/>
                  <a:pt x="2402972" y="6625056"/>
                  <a:pt x="2401737" y="6621274"/>
                </a:cubicBezTo>
                <a:cubicBezTo>
                  <a:pt x="2400295" y="6617063"/>
                  <a:pt x="2399564" y="6612647"/>
                  <a:pt x="2399571" y="6608203"/>
                </a:cubicBezTo>
                <a:cubicBezTo>
                  <a:pt x="2399519" y="6603717"/>
                  <a:pt x="2400212" y="6599254"/>
                  <a:pt x="2401623" y="6594991"/>
                </a:cubicBezTo>
                <a:cubicBezTo>
                  <a:pt x="2402849" y="6591226"/>
                  <a:pt x="2404783" y="6587723"/>
                  <a:pt x="2407322" y="6584666"/>
                </a:cubicBezTo>
                <a:cubicBezTo>
                  <a:pt x="2411339" y="6580158"/>
                  <a:pt x="2416611" y="6577215"/>
                  <a:pt x="2422261" y="6576022"/>
                </a:cubicBezTo>
                <a:close/>
                <a:moveTo>
                  <a:pt x="2566159" y="6553486"/>
                </a:moveTo>
                <a:lnTo>
                  <a:pt x="2566159" y="6599432"/>
                </a:lnTo>
                <a:lnTo>
                  <a:pt x="2566159" y="6662773"/>
                </a:lnTo>
                <a:lnTo>
                  <a:pt x="2636149" y="6662773"/>
                </a:lnTo>
                <a:lnTo>
                  <a:pt x="2636548" y="6662773"/>
                </a:lnTo>
                <a:lnTo>
                  <a:pt x="2636548" y="6645772"/>
                </a:lnTo>
                <a:lnTo>
                  <a:pt x="2636149" y="6645772"/>
                </a:lnTo>
                <a:lnTo>
                  <a:pt x="2636149" y="6639674"/>
                </a:lnTo>
                <a:lnTo>
                  <a:pt x="2591821" y="6639674"/>
                </a:lnTo>
                <a:lnTo>
                  <a:pt x="2591821" y="6618349"/>
                </a:lnTo>
                <a:lnTo>
                  <a:pt x="2632231" y="6618349"/>
                </a:lnTo>
                <a:lnTo>
                  <a:pt x="2632231" y="6596277"/>
                </a:lnTo>
                <a:lnTo>
                  <a:pt x="2591821" y="6596277"/>
                </a:lnTo>
                <a:lnTo>
                  <a:pt x="2591821" y="6576755"/>
                </a:lnTo>
                <a:lnTo>
                  <a:pt x="2636149" y="6576755"/>
                </a:lnTo>
                <a:lnTo>
                  <a:pt x="2636149" y="6570487"/>
                </a:lnTo>
                <a:lnTo>
                  <a:pt x="2636548" y="6570487"/>
                </a:lnTo>
                <a:lnTo>
                  <a:pt x="2636548" y="6553486"/>
                </a:lnTo>
                <a:lnTo>
                  <a:pt x="2636149" y="6553486"/>
                </a:lnTo>
                <a:lnTo>
                  <a:pt x="2587888" y="6553486"/>
                </a:lnTo>
                <a:close/>
                <a:moveTo>
                  <a:pt x="2488703" y="6553486"/>
                </a:moveTo>
                <a:lnTo>
                  <a:pt x="2488703" y="6599432"/>
                </a:lnTo>
                <a:lnTo>
                  <a:pt x="2488703" y="6662773"/>
                </a:lnTo>
                <a:lnTo>
                  <a:pt x="2558693" y="6662773"/>
                </a:lnTo>
                <a:lnTo>
                  <a:pt x="2559078" y="6662773"/>
                </a:lnTo>
                <a:lnTo>
                  <a:pt x="2559078" y="6645772"/>
                </a:lnTo>
                <a:lnTo>
                  <a:pt x="2558693" y="6645772"/>
                </a:lnTo>
                <a:lnTo>
                  <a:pt x="2558693" y="6639674"/>
                </a:lnTo>
                <a:lnTo>
                  <a:pt x="2514351" y="6639674"/>
                </a:lnTo>
                <a:lnTo>
                  <a:pt x="2514351" y="6618349"/>
                </a:lnTo>
                <a:lnTo>
                  <a:pt x="2554761" y="6618349"/>
                </a:lnTo>
                <a:lnTo>
                  <a:pt x="2554761" y="6596277"/>
                </a:lnTo>
                <a:lnTo>
                  <a:pt x="2514351" y="6596277"/>
                </a:lnTo>
                <a:lnTo>
                  <a:pt x="2514351" y="6576755"/>
                </a:lnTo>
                <a:lnTo>
                  <a:pt x="2558693" y="6576755"/>
                </a:lnTo>
                <a:lnTo>
                  <a:pt x="2558693" y="6570487"/>
                </a:lnTo>
                <a:lnTo>
                  <a:pt x="2559078" y="6570487"/>
                </a:lnTo>
                <a:lnTo>
                  <a:pt x="2559078" y="6553486"/>
                </a:lnTo>
                <a:lnTo>
                  <a:pt x="2558693" y="6553486"/>
                </a:lnTo>
                <a:lnTo>
                  <a:pt x="2510418" y="6553486"/>
                </a:lnTo>
                <a:close/>
                <a:moveTo>
                  <a:pt x="2428439" y="6553453"/>
                </a:moveTo>
                <a:cubicBezTo>
                  <a:pt x="2420688" y="6553369"/>
                  <a:pt x="2412997" y="6554805"/>
                  <a:pt x="2405812" y="6557679"/>
                </a:cubicBezTo>
                <a:cubicBezTo>
                  <a:pt x="2402989" y="6558830"/>
                  <a:pt x="2400268" y="6560211"/>
                  <a:pt x="2397676" y="6561806"/>
                </a:cubicBezTo>
                <a:lnTo>
                  <a:pt x="2373310" y="6613372"/>
                </a:lnTo>
                <a:cubicBezTo>
                  <a:pt x="2373704" y="6619008"/>
                  <a:pt x="2374918" y="6624558"/>
                  <a:pt x="2376915" y="6629852"/>
                </a:cubicBezTo>
                <a:cubicBezTo>
                  <a:pt x="2381719" y="6642926"/>
                  <a:pt x="2391911" y="6653370"/>
                  <a:pt x="2404957" y="6658585"/>
                </a:cubicBezTo>
                <a:cubicBezTo>
                  <a:pt x="2412090" y="6661469"/>
                  <a:pt x="2419736" y="6662906"/>
                  <a:pt x="2427442" y="6662811"/>
                </a:cubicBezTo>
                <a:cubicBezTo>
                  <a:pt x="2435174" y="6662898"/>
                  <a:pt x="2442847" y="6661462"/>
                  <a:pt x="2450012" y="6658585"/>
                </a:cubicBezTo>
                <a:cubicBezTo>
                  <a:pt x="2456539" y="6655943"/>
                  <a:pt x="2462469" y="6652041"/>
                  <a:pt x="2467452" y="6647106"/>
                </a:cubicBezTo>
                <a:cubicBezTo>
                  <a:pt x="2472376" y="6642179"/>
                  <a:pt x="2476226" y="6636306"/>
                  <a:pt x="2478766" y="6629852"/>
                </a:cubicBezTo>
                <a:cubicBezTo>
                  <a:pt x="2481500" y="6622958"/>
                  <a:pt x="2482864" y="6615607"/>
                  <a:pt x="2482784" y="6608203"/>
                </a:cubicBezTo>
                <a:cubicBezTo>
                  <a:pt x="2482854" y="6600785"/>
                  <a:pt x="2481545" y="6593419"/>
                  <a:pt x="2478923" y="6586469"/>
                </a:cubicBezTo>
                <a:cubicBezTo>
                  <a:pt x="2476493" y="6580025"/>
                  <a:pt x="2472765" y="6574136"/>
                  <a:pt x="2467965" y="6569158"/>
                </a:cubicBezTo>
                <a:cubicBezTo>
                  <a:pt x="2463123" y="6564212"/>
                  <a:pt x="2457303" y="6560305"/>
                  <a:pt x="2450867" y="6557679"/>
                </a:cubicBezTo>
                <a:cubicBezTo>
                  <a:pt x="2443756" y="6554789"/>
                  <a:pt x="2436127" y="6553352"/>
                  <a:pt x="2428439" y="6553453"/>
                </a:cubicBezTo>
                <a:close/>
                <a:moveTo>
                  <a:pt x="2285729" y="6553106"/>
                </a:moveTo>
                <a:lnTo>
                  <a:pt x="2302072" y="6587178"/>
                </a:lnTo>
                <a:lnTo>
                  <a:pt x="2329031" y="6587178"/>
                </a:lnTo>
                <a:lnTo>
                  <a:pt x="2314682" y="6553106"/>
                </a:lnTo>
                <a:close/>
                <a:moveTo>
                  <a:pt x="2365579" y="6553092"/>
                </a:moveTo>
                <a:lnTo>
                  <a:pt x="2339889" y="6612222"/>
                </a:lnTo>
                <a:lnTo>
                  <a:pt x="2332921" y="6595883"/>
                </a:lnTo>
                <a:lnTo>
                  <a:pt x="2306176" y="6595883"/>
                </a:lnTo>
                <a:lnTo>
                  <a:pt x="2338108" y="6662548"/>
                </a:lnTo>
                <a:lnTo>
                  <a:pt x="2341071" y="6662548"/>
                </a:lnTo>
                <a:lnTo>
                  <a:pt x="2392809" y="6553092"/>
                </a:lnTo>
                <a:close/>
                <a:moveTo>
                  <a:pt x="2744808" y="6515554"/>
                </a:moveTo>
                <a:lnTo>
                  <a:pt x="2744808" y="6690482"/>
                </a:lnTo>
                <a:lnTo>
                  <a:pt x="2764197" y="6690482"/>
                </a:lnTo>
                <a:lnTo>
                  <a:pt x="2764197" y="6515554"/>
                </a:lnTo>
                <a:close/>
                <a:moveTo>
                  <a:pt x="0" y="0"/>
                </a:moveTo>
                <a:lnTo>
                  <a:pt x="3184526" y="0"/>
                </a:lnTo>
                <a:lnTo>
                  <a:pt x="3184526" y="6200776"/>
                </a:lnTo>
                <a:lnTo>
                  <a:pt x="3184526" y="6397151"/>
                </a:lnTo>
                <a:lnTo>
                  <a:pt x="3184526" y="6434962"/>
                </a:lnTo>
                <a:lnTo>
                  <a:pt x="3184526" y="6488089"/>
                </a:lnTo>
                <a:lnTo>
                  <a:pt x="3184526" y="6858000"/>
                </a:lnTo>
                <a:lnTo>
                  <a:pt x="3036055" y="6858000"/>
                </a:lnTo>
                <a:lnTo>
                  <a:pt x="1965244" y="6858000"/>
                </a:lnTo>
                <a:lnTo>
                  <a:pt x="5158" y="6858000"/>
                </a:lnTo>
                <a:lnTo>
                  <a:pt x="5158" y="6488089"/>
                </a:lnTo>
                <a:lnTo>
                  <a:pt x="0" y="6488089"/>
                </a:lnTo>
                <a:close/>
              </a:path>
            </a:pathLst>
          </a:custGeom>
          <a:solidFill>
            <a:schemeClr val="accent2"/>
          </a:solidFill>
          <a:ln>
            <a:noFill/>
          </a:ln>
        </p:spPr>
        <p:txBody>
          <a:bodyPr wrap="square" lIns="432000" rIns="432000" anchor="ctr">
            <a:noAutofit/>
          </a:bodyPr>
          <a:lstStyle>
            <a:lvl1pPr marL="0" indent="0" algn="ctr">
              <a:spcBef>
                <a:spcPts val="0"/>
              </a:spcBef>
              <a:spcAft>
                <a:spcPts val="0"/>
              </a:spcAft>
              <a:buNone/>
              <a:defRPr b="0">
                <a:solidFill>
                  <a:schemeClr val="bg2"/>
                </a:solidFill>
              </a:defRPr>
            </a:lvl1pPr>
          </a:lstStyle>
          <a:p>
            <a:r>
              <a:rPr lang="en-US" dirty="0"/>
              <a:t>Click icon to add photo.</a:t>
            </a:r>
            <a:br>
              <a:rPr lang="en-US" dirty="0"/>
            </a:br>
            <a:r>
              <a:rPr lang="en-US" dirty="0"/>
              <a:t>Strict rule: do not resize this image. (Crop if necessary.)</a:t>
            </a:r>
          </a:p>
        </p:txBody>
      </p:sp>
      <p:sp>
        <p:nvSpPr>
          <p:cNvPr id="116" name="Text Placeholder 21">
            <a:extLst>
              <a:ext uri="{FF2B5EF4-FFF2-40B4-BE49-F238E27FC236}">
                <a16:creationId xmlns:a16="http://schemas.microsoft.com/office/drawing/2014/main" id="{6D77A529-4F58-5E4F-95C8-1B870B6EF275}"/>
              </a:ext>
            </a:extLst>
          </p:cNvPr>
          <p:cNvSpPr>
            <a:spLocks noGrp="1"/>
          </p:cNvSpPr>
          <p:nvPr userDrawn="1">
            <p:ph type="body" sz="quarter" idx="14" hasCustomPrompt="1"/>
          </p:nvPr>
        </p:nvSpPr>
        <p:spPr>
          <a:xfrm>
            <a:off x="8474927" y="6200776"/>
            <a:ext cx="3129285"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118" name="Picture Placeholder 7">
            <a:extLst>
              <a:ext uri="{FF2B5EF4-FFF2-40B4-BE49-F238E27FC236}">
                <a16:creationId xmlns:a16="http://schemas.microsoft.com/office/drawing/2014/main" id="{50501BB8-75BC-4F41-A788-05E4DEAEAA35}"/>
              </a:ext>
            </a:extLst>
          </p:cNvPr>
          <p:cNvSpPr>
            <a:spLocks noGrp="1"/>
          </p:cNvSpPr>
          <p:nvPr userDrawn="1">
            <p:ph type="pic" sz="quarter" idx="108" hasCustomPrompt="1"/>
          </p:nvPr>
        </p:nvSpPr>
        <p:spPr>
          <a:xfrm>
            <a:off x="66493" y="1126869"/>
            <a:ext cx="7815776" cy="4395148"/>
          </a:xfrm>
          <a:solidFill>
            <a:srgbClr val="E8F3FD"/>
          </a:solidFill>
        </p:spPr>
        <p:txBody>
          <a:bodyPr anchor="ct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or quote graphic</a:t>
            </a:r>
          </a:p>
        </p:txBody>
      </p:sp>
      <p:sp>
        <p:nvSpPr>
          <p:cNvPr id="2" name="Date Placeholder 1">
            <a:extLst>
              <a:ext uri="{FF2B5EF4-FFF2-40B4-BE49-F238E27FC236}">
                <a16:creationId xmlns:a16="http://schemas.microsoft.com/office/drawing/2014/main" id="{884E28E5-6A67-0244-A79A-3AEB27D6D5DE}"/>
              </a:ext>
            </a:extLst>
          </p:cNvPr>
          <p:cNvSpPr>
            <a:spLocks noGrp="1"/>
          </p:cNvSpPr>
          <p:nvPr userDrawn="1">
            <p:ph type="dt" sz="half" idx="109"/>
          </p:nvPr>
        </p:nvSpPr>
        <p:spPr/>
        <p:txBody>
          <a:bodyPr/>
          <a:lstStyle/>
          <a:p>
            <a:endParaRPr lang="en-US" dirty="0"/>
          </a:p>
        </p:txBody>
      </p:sp>
      <p:sp>
        <p:nvSpPr>
          <p:cNvPr id="3" name="Footer Placeholder 2">
            <a:extLst>
              <a:ext uri="{FF2B5EF4-FFF2-40B4-BE49-F238E27FC236}">
                <a16:creationId xmlns:a16="http://schemas.microsoft.com/office/drawing/2014/main" id="{917C96B8-5877-064A-8DD0-AB1D7ECB4030}"/>
              </a:ext>
            </a:extLst>
          </p:cNvPr>
          <p:cNvSpPr>
            <a:spLocks noGrp="1"/>
          </p:cNvSpPr>
          <p:nvPr userDrawn="1">
            <p:ph type="ftr" sz="quarter" idx="110"/>
          </p:nvPr>
        </p:nvSpPr>
        <p:spPr/>
        <p:txBody>
          <a:bodyPr/>
          <a:lstStyle/>
          <a:p>
            <a:endParaRPr lang="en-US" dirty="0"/>
          </a:p>
        </p:txBody>
      </p:sp>
      <p:sp>
        <p:nvSpPr>
          <p:cNvPr id="4" name="Slide Number Placeholder 3">
            <a:extLst>
              <a:ext uri="{FF2B5EF4-FFF2-40B4-BE49-F238E27FC236}">
                <a16:creationId xmlns:a16="http://schemas.microsoft.com/office/drawing/2014/main" id="{52FEEDA1-ADD4-BD45-A1DD-CC2C4ADEB555}"/>
              </a:ext>
            </a:extLst>
          </p:cNvPr>
          <p:cNvSpPr>
            <a:spLocks noGrp="1"/>
          </p:cNvSpPr>
          <p:nvPr userDrawn="1">
            <p:ph type="sldNum" sz="quarter" idx="111"/>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37" name="Group 36">
            <a:extLst>
              <a:ext uri="{FF2B5EF4-FFF2-40B4-BE49-F238E27FC236}">
                <a16:creationId xmlns:a16="http://schemas.microsoft.com/office/drawing/2014/main" id="{1763432E-81DC-9141-B4E0-A88D726ADFFC}"/>
              </a:ext>
            </a:extLst>
          </p:cNvPr>
          <p:cNvGrpSpPr/>
          <p:nvPr userDrawn="1"/>
        </p:nvGrpSpPr>
        <p:grpSpPr>
          <a:xfrm>
            <a:off x="12532243" y="-1"/>
            <a:ext cx="3832280" cy="6858001"/>
            <a:chOff x="9399182" y="-1"/>
            <a:chExt cx="2874210" cy="6858001"/>
          </a:xfrm>
        </p:grpSpPr>
        <p:sp>
          <p:nvSpPr>
            <p:cNvPr id="38" name="Rectangle 37">
              <a:extLst>
                <a:ext uri="{FF2B5EF4-FFF2-40B4-BE49-F238E27FC236}">
                  <a16:creationId xmlns:a16="http://schemas.microsoft.com/office/drawing/2014/main" id="{3C939D41-EDD4-E145-AC70-1FEA78861983}"/>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sp>
          <p:nvSpPr>
            <p:cNvPr id="39" name="TextBox 38">
              <a:extLst>
                <a:ext uri="{FF2B5EF4-FFF2-40B4-BE49-F238E27FC236}">
                  <a16:creationId xmlns:a16="http://schemas.microsoft.com/office/drawing/2014/main" id="{D28E0661-751E-CE4C-8BC5-F16780187439}"/>
                </a:ext>
              </a:extLst>
            </p:cNvPr>
            <p:cNvSpPr txBox="1"/>
            <p:nvPr userDrawn="1"/>
          </p:nvSpPr>
          <p:spPr>
            <a:xfrm>
              <a:off x="9555251" y="150289"/>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40" name="Straight Connector 39">
              <a:extLst>
                <a:ext uri="{FF2B5EF4-FFF2-40B4-BE49-F238E27FC236}">
                  <a16:creationId xmlns:a16="http://schemas.microsoft.com/office/drawing/2014/main" id="{3408AD67-9977-5847-8456-1BA4A449DD94}"/>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2" name="TextBox 41">
              <a:extLst>
                <a:ext uri="{FF2B5EF4-FFF2-40B4-BE49-F238E27FC236}">
                  <a16:creationId xmlns:a16="http://schemas.microsoft.com/office/drawing/2014/main" id="{8AC807C0-4C95-754F-9B48-24C2884EC3A8}"/>
                </a:ext>
              </a:extLst>
            </p:cNvPr>
            <p:cNvSpPr txBox="1"/>
            <p:nvPr userDrawn="1"/>
          </p:nvSpPr>
          <p:spPr>
            <a:xfrm>
              <a:off x="9683170" y="1211216"/>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3" name="Group 42">
              <a:extLst>
                <a:ext uri="{FF2B5EF4-FFF2-40B4-BE49-F238E27FC236}">
                  <a16:creationId xmlns:a16="http://schemas.microsoft.com/office/drawing/2014/main" id="{E5633BC6-629B-B243-98D5-93A61D37DCA2}"/>
                </a:ext>
              </a:extLst>
            </p:cNvPr>
            <p:cNvGrpSpPr/>
            <p:nvPr userDrawn="1"/>
          </p:nvGrpSpPr>
          <p:grpSpPr>
            <a:xfrm>
              <a:off x="9538241" y="5191130"/>
              <a:ext cx="2735151" cy="1411315"/>
              <a:chOff x="9296567" y="4910411"/>
              <a:chExt cx="2735151" cy="1411315"/>
            </a:xfrm>
          </p:grpSpPr>
          <p:sp>
            <p:nvSpPr>
              <p:cNvPr id="59" name="Rectangle 58">
                <a:extLst>
                  <a:ext uri="{FF2B5EF4-FFF2-40B4-BE49-F238E27FC236}">
                    <a16:creationId xmlns:a16="http://schemas.microsoft.com/office/drawing/2014/main" id="{9F863234-89FF-8F40-BE73-4316B3ABFA65}"/>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0" name="TextBox 59">
                <a:extLst>
                  <a:ext uri="{FF2B5EF4-FFF2-40B4-BE49-F238E27FC236}">
                    <a16:creationId xmlns:a16="http://schemas.microsoft.com/office/drawing/2014/main" id="{2C5A738D-CF1E-4B44-AC3D-BA4815CF185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1" name="Graphic 60">
                <a:extLst>
                  <a:ext uri="{FF2B5EF4-FFF2-40B4-BE49-F238E27FC236}">
                    <a16:creationId xmlns:a16="http://schemas.microsoft.com/office/drawing/2014/main" id="{EB95FA99-3430-0149-B21D-F142420715F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62" name="TextBox 61">
                <a:extLst>
                  <a:ext uri="{FF2B5EF4-FFF2-40B4-BE49-F238E27FC236}">
                    <a16:creationId xmlns:a16="http://schemas.microsoft.com/office/drawing/2014/main" id="{2A101CD2-81BC-5247-9E37-65506544734B}"/>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3" name="TextBox 62">
                <a:extLst>
                  <a:ext uri="{FF2B5EF4-FFF2-40B4-BE49-F238E27FC236}">
                    <a16:creationId xmlns:a16="http://schemas.microsoft.com/office/drawing/2014/main" id="{DA111A3F-62A5-A341-B311-884D94AECDDC}"/>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4" name="TextBox 63">
                <a:extLst>
                  <a:ext uri="{FF2B5EF4-FFF2-40B4-BE49-F238E27FC236}">
                    <a16:creationId xmlns:a16="http://schemas.microsoft.com/office/drawing/2014/main" id="{A91A7249-E4DE-9045-B263-B2E6552B974A}"/>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44" name="Group 43">
              <a:extLst>
                <a:ext uri="{FF2B5EF4-FFF2-40B4-BE49-F238E27FC236}">
                  <a16:creationId xmlns:a16="http://schemas.microsoft.com/office/drawing/2014/main" id="{E81DE022-4C71-2544-8505-1761305A250F}"/>
                </a:ext>
              </a:extLst>
            </p:cNvPr>
            <p:cNvGrpSpPr/>
            <p:nvPr userDrawn="1"/>
          </p:nvGrpSpPr>
          <p:grpSpPr>
            <a:xfrm>
              <a:off x="9538241" y="3396143"/>
              <a:ext cx="2735151" cy="1666188"/>
              <a:chOff x="9286315" y="6976989"/>
              <a:chExt cx="2735151" cy="1666188"/>
            </a:xfrm>
          </p:grpSpPr>
          <p:sp>
            <p:nvSpPr>
              <p:cNvPr id="53" name="Rectangle 52">
                <a:extLst>
                  <a:ext uri="{FF2B5EF4-FFF2-40B4-BE49-F238E27FC236}">
                    <a16:creationId xmlns:a16="http://schemas.microsoft.com/office/drawing/2014/main" id="{FC6F4C93-688F-8D4E-ABCD-9BC9F8F9CBAA}"/>
                  </a:ext>
                </a:extLst>
              </p:cNvPr>
              <p:cNvSpPr/>
              <p:nvPr userDrawn="1"/>
            </p:nvSpPr>
            <p:spPr>
              <a:xfrm>
                <a:off x="9286315" y="6976989"/>
                <a:ext cx="2735151" cy="166618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4" name="TextBox 53">
                <a:extLst>
                  <a:ext uri="{FF2B5EF4-FFF2-40B4-BE49-F238E27FC236}">
                    <a16:creationId xmlns:a16="http://schemas.microsoft.com/office/drawing/2014/main" id="{35D49C1A-C836-5A44-8A49-80E5A075C93A}"/>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55" name="Graphic 54">
                <a:extLst>
                  <a:ext uri="{FF2B5EF4-FFF2-40B4-BE49-F238E27FC236}">
                    <a16:creationId xmlns:a16="http://schemas.microsoft.com/office/drawing/2014/main" id="{EB93AE78-B9CD-AB40-95D3-B134C74973B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56" name="TextBox 55">
                <a:extLst>
                  <a:ext uri="{FF2B5EF4-FFF2-40B4-BE49-F238E27FC236}">
                    <a16:creationId xmlns:a16="http://schemas.microsoft.com/office/drawing/2014/main" id="{5784DD63-BA1D-1542-806C-9B2E2FA95A95}"/>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7" name="Picture 56">
                <a:extLst>
                  <a:ext uri="{FF2B5EF4-FFF2-40B4-BE49-F238E27FC236}">
                    <a16:creationId xmlns:a16="http://schemas.microsoft.com/office/drawing/2014/main" id="{E0E8A988-05AB-3248-93C8-C5006E414A56}"/>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sp>
            <p:nvSpPr>
              <p:cNvPr id="58" name="TextBox 57">
                <a:extLst>
                  <a:ext uri="{FF2B5EF4-FFF2-40B4-BE49-F238E27FC236}">
                    <a16:creationId xmlns:a16="http://schemas.microsoft.com/office/drawing/2014/main" id="{88DD2CB9-AED7-714F-B970-5632385CD159}"/>
                  </a:ext>
                </a:extLst>
              </p:cNvPr>
              <p:cNvSpPr txBox="1"/>
              <p:nvPr userDrawn="1"/>
            </p:nvSpPr>
            <p:spPr>
              <a:xfrm>
                <a:off x="9446538" y="8244615"/>
                <a:ext cx="2467032"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3175" lvl="1" indent="0">
                  <a:buNone/>
                  <a:defRPr/>
                </a:pPr>
                <a:r>
                  <a:rPr lang="en-US" sz="900" i="1" kern="1200" dirty="0">
                    <a:solidFill>
                      <a:schemeClr val="tx1">
                        <a:lumMod val="50000"/>
                        <a:lumOff val="50000"/>
                      </a:schemeClr>
                    </a:solidFill>
                    <a:latin typeface="Arial" charset="0"/>
                    <a:cs typeface="Arial" charset="0"/>
                  </a:rPr>
                  <a:t>Strict rule: do not resize the image placeholder. It should always be 1/3rd of the slide width.</a:t>
                </a:r>
              </a:p>
            </p:txBody>
          </p:sp>
        </p:grpSp>
        <p:grpSp>
          <p:nvGrpSpPr>
            <p:cNvPr id="45" name="Group 44">
              <a:extLst>
                <a:ext uri="{FF2B5EF4-FFF2-40B4-BE49-F238E27FC236}">
                  <a16:creationId xmlns:a16="http://schemas.microsoft.com/office/drawing/2014/main" id="{522C1CD7-2090-FC48-80A3-6DC2AF4F2810}"/>
                </a:ext>
              </a:extLst>
            </p:cNvPr>
            <p:cNvGrpSpPr/>
            <p:nvPr userDrawn="1"/>
          </p:nvGrpSpPr>
          <p:grpSpPr>
            <a:xfrm>
              <a:off x="9518577" y="475409"/>
              <a:ext cx="2617883" cy="651460"/>
              <a:chOff x="12352022" y="513115"/>
              <a:chExt cx="2617883" cy="651460"/>
            </a:xfrm>
          </p:grpSpPr>
          <p:sp>
            <p:nvSpPr>
              <p:cNvPr id="50" name="TextBox 49">
                <a:extLst>
                  <a:ext uri="{FF2B5EF4-FFF2-40B4-BE49-F238E27FC236}">
                    <a16:creationId xmlns:a16="http://schemas.microsoft.com/office/drawing/2014/main" id="{697B859F-3589-2A4F-A834-9541E03CDE8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1" name="TextBox 50">
                <a:extLst>
                  <a:ext uri="{FF2B5EF4-FFF2-40B4-BE49-F238E27FC236}">
                    <a16:creationId xmlns:a16="http://schemas.microsoft.com/office/drawing/2014/main" id="{2EA4EEBF-44D6-B64D-A9A9-305B00FCA67C}"/>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2" name="TextBox 51">
                <a:extLst>
                  <a:ext uri="{FF2B5EF4-FFF2-40B4-BE49-F238E27FC236}">
                    <a16:creationId xmlns:a16="http://schemas.microsoft.com/office/drawing/2014/main" id="{4F609CAA-7DFC-C34E-9B3E-600CFAED5850}"/>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46" name="TextBox 45">
              <a:extLst>
                <a:ext uri="{FF2B5EF4-FFF2-40B4-BE49-F238E27FC236}">
                  <a16:creationId xmlns:a16="http://schemas.microsoft.com/office/drawing/2014/main" id="{825247B6-FFD6-8D42-800F-51E92618BD11}"/>
                </a:ext>
              </a:extLst>
            </p:cNvPr>
            <p:cNvSpPr txBox="1"/>
            <p:nvPr userDrawn="1"/>
          </p:nvSpPr>
          <p:spPr>
            <a:xfrm>
              <a:off x="9671011" y="1494521"/>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47" name="TextBox 46">
              <a:extLst>
                <a:ext uri="{FF2B5EF4-FFF2-40B4-BE49-F238E27FC236}">
                  <a16:creationId xmlns:a16="http://schemas.microsoft.com/office/drawing/2014/main" id="{970D307F-E4DB-E049-9932-D63E2B92B691}"/>
                </a:ext>
              </a:extLst>
            </p:cNvPr>
            <p:cNvSpPr txBox="1"/>
            <p:nvPr userDrawn="1"/>
          </p:nvSpPr>
          <p:spPr>
            <a:xfrm>
              <a:off x="9683170" y="1909778"/>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 </a:t>
              </a:r>
            </a:p>
            <a:p>
              <a:pPr lvl="1">
                <a:buNone/>
              </a:pPr>
              <a:r>
                <a:rPr lang="en-US" sz="1050" dirty="0"/>
                <a:t>Right-click or use keyboard shortcuts to paste the image.</a:t>
              </a:r>
            </a:p>
          </p:txBody>
        </p:sp>
        <p:sp>
          <p:nvSpPr>
            <p:cNvPr id="48" name="TextBox 47">
              <a:extLst>
                <a:ext uri="{FF2B5EF4-FFF2-40B4-BE49-F238E27FC236}">
                  <a16:creationId xmlns:a16="http://schemas.microsoft.com/office/drawing/2014/main" id="{882A7166-211F-0A4C-B965-143A64AF82E4}"/>
                </a:ext>
              </a:extLst>
            </p:cNvPr>
            <p:cNvSpPr txBox="1"/>
            <p:nvPr userDrawn="1"/>
          </p:nvSpPr>
          <p:spPr>
            <a:xfrm>
              <a:off x="9683170" y="2629868"/>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49" name="TextBox 48">
              <a:extLst>
                <a:ext uri="{FF2B5EF4-FFF2-40B4-BE49-F238E27FC236}">
                  <a16:creationId xmlns:a16="http://schemas.microsoft.com/office/drawing/2014/main" id="{D07C2016-E2F3-A14A-B1C2-86F63D44D337}"/>
                </a:ext>
              </a:extLst>
            </p:cNvPr>
            <p:cNvSpPr txBox="1"/>
            <p:nvPr userDrawn="1"/>
          </p:nvSpPr>
          <p:spPr>
            <a:xfrm>
              <a:off x="9671011" y="3060431"/>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 </a:t>
              </a:r>
              <a:br>
                <a:rPr lang="en-US" sz="700" dirty="0"/>
              </a:br>
              <a:r>
                <a:rPr lang="en-US" sz="700" dirty="0"/>
                <a:t>In this case use one of the other methods.</a:t>
              </a:r>
            </a:p>
          </p:txBody>
        </p:sp>
      </p:grpSp>
    </p:spTree>
    <p:extLst>
      <p:ext uri="{BB962C8B-B14F-4D97-AF65-F5344CB8AC3E}">
        <p14:creationId xmlns:p14="http://schemas.microsoft.com/office/powerpoint/2010/main" val="36624548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Ranking (Right) and Photo">
    <p:spTree>
      <p:nvGrpSpPr>
        <p:cNvPr id="1" name=""/>
        <p:cNvGrpSpPr/>
        <p:nvPr/>
      </p:nvGrpSpPr>
      <p:grpSpPr>
        <a:xfrm>
          <a:off x="0" y="0"/>
          <a:ext cx="0" cy="0"/>
          <a:chOff x="0" y="0"/>
          <a:chExt cx="0" cy="0"/>
        </a:xfrm>
      </p:grpSpPr>
      <p:sp>
        <p:nvSpPr>
          <p:cNvPr id="20" name="Picture Placeholder 19">
            <a:extLst>
              <a:ext uri="{FF2B5EF4-FFF2-40B4-BE49-F238E27FC236}">
                <a16:creationId xmlns:a16="http://schemas.microsoft.com/office/drawing/2014/main" id="{AE403CC8-0AF4-0B41-9F00-0561FB8057DC}"/>
              </a:ext>
            </a:extLst>
          </p:cNvPr>
          <p:cNvSpPr>
            <a:spLocks noGrp="1"/>
          </p:cNvSpPr>
          <p:nvPr>
            <p:ph type="pic" sz="quarter" idx="13" hasCustomPrompt="1"/>
          </p:nvPr>
        </p:nvSpPr>
        <p:spPr>
          <a:xfrm>
            <a:off x="0" y="1"/>
            <a:ext cx="4246035" cy="6858001"/>
          </a:xfrm>
          <a:prstGeom prst="rect">
            <a:avLst/>
          </a:prstGeom>
          <a:solidFill>
            <a:schemeClr val="accent2"/>
          </a:solidFill>
          <a:ln>
            <a:noFill/>
          </a:ln>
        </p:spPr>
        <p:txBody>
          <a:bodyPr wrap="square" lIns="432000" rIns="288000" anchor="ctr">
            <a:noAutofit/>
          </a:bodyPr>
          <a:lstStyle>
            <a:lvl1pPr marL="0" indent="0" algn="ctr">
              <a:spcBef>
                <a:spcPts val="0"/>
              </a:spcBef>
              <a:spcAft>
                <a:spcPts val="0"/>
              </a:spcAft>
              <a:buNone/>
              <a:defRPr b="0">
                <a:solidFill>
                  <a:schemeClr val="bg2"/>
                </a:solidFill>
              </a:defRPr>
            </a:lvl1pPr>
          </a:lstStyle>
          <a:p>
            <a:r>
              <a:rPr lang="en-US" dirty="0"/>
              <a:t>Click icon to add photo.</a:t>
            </a:r>
            <a:br>
              <a:rPr lang="en-US" dirty="0"/>
            </a:br>
            <a:r>
              <a:rPr lang="en-US" dirty="0"/>
              <a:t>Strict rule: do not resize this image. (Crop if necessary.)</a:t>
            </a:r>
          </a:p>
        </p:txBody>
      </p:sp>
      <p:sp>
        <p:nvSpPr>
          <p:cNvPr id="40" name="Text Placeholder 21">
            <a:extLst>
              <a:ext uri="{FF2B5EF4-FFF2-40B4-BE49-F238E27FC236}">
                <a16:creationId xmlns:a16="http://schemas.microsoft.com/office/drawing/2014/main" id="{D976F2F4-DE2A-DC4C-A765-97FABA1D68D1}"/>
              </a:ext>
            </a:extLst>
          </p:cNvPr>
          <p:cNvSpPr>
            <a:spLocks noGrp="1"/>
          </p:cNvSpPr>
          <p:nvPr>
            <p:ph type="body" sz="quarter" idx="14" hasCustomPrompt="1"/>
          </p:nvPr>
        </p:nvSpPr>
        <p:spPr>
          <a:xfrm>
            <a:off x="588870" y="6200776"/>
            <a:ext cx="3024797" cy="152349"/>
          </a:xfrm>
          <a:effectLst/>
        </p:spPr>
        <p:txBody>
          <a:bodyPr wrap="square" anchor="b">
            <a:spAutoFit/>
          </a:bodyPr>
          <a:lstStyle>
            <a:lvl1pPr marL="0" indent="0" algn="l">
              <a:spcBef>
                <a:spcPts val="0"/>
              </a:spcBef>
              <a:spcAft>
                <a:spcPts val="0"/>
              </a:spcAft>
              <a:buFontTx/>
              <a:buNone/>
              <a:tabLst/>
              <a:defRPr sz="1100" b="0">
                <a:solidFill>
                  <a:schemeClr val="bg1"/>
                </a:solidFill>
                <a:effectLst/>
              </a:defRPr>
            </a:lvl1pPr>
            <a:lvl2pPr marL="0" indent="0" algn="l">
              <a:spcBef>
                <a:spcPts val="0"/>
              </a:spcBef>
              <a:spcAft>
                <a:spcPts val="0"/>
              </a:spcAft>
              <a:buFontTx/>
              <a:buNone/>
              <a:tabLst/>
              <a:defRPr sz="1100">
                <a:solidFill>
                  <a:schemeClr val="bg1"/>
                </a:solidFill>
              </a:defRPr>
            </a:lvl2pPr>
            <a:lvl3pPr marL="0" indent="0" algn="l">
              <a:spcBef>
                <a:spcPts val="0"/>
              </a:spcBef>
              <a:spcAft>
                <a:spcPts val="0"/>
              </a:spcAft>
              <a:buFontTx/>
              <a:buNone/>
              <a:tabLst/>
              <a:defRPr sz="1100">
                <a:solidFill>
                  <a:schemeClr val="bg1"/>
                </a:solidFill>
              </a:defRPr>
            </a:lvl3pPr>
            <a:lvl4pPr marL="0" indent="0" algn="l">
              <a:spcBef>
                <a:spcPts val="0"/>
              </a:spcBef>
              <a:spcAft>
                <a:spcPts val="0"/>
              </a:spcAft>
              <a:buFontTx/>
              <a:buNone/>
              <a:tabLst/>
              <a:defRPr sz="1100">
                <a:solidFill>
                  <a:schemeClr val="bg1"/>
                </a:solidFill>
              </a:defRPr>
            </a:lvl4pPr>
            <a:lvl5pPr marL="0" indent="0" algn="l">
              <a:spcBef>
                <a:spcPts val="0"/>
              </a:spcBef>
              <a:spcAft>
                <a:spcPts val="0"/>
              </a:spcAft>
              <a:buFontTx/>
              <a:buNone/>
              <a:tabLst/>
              <a:defRPr sz="1100">
                <a:solidFill>
                  <a:schemeClr val="bg1"/>
                </a:solidFill>
              </a:defRPr>
            </a:lvl5pPr>
            <a:lvl6pPr marL="0" indent="0" algn="l">
              <a:spcBef>
                <a:spcPts val="0"/>
              </a:spcBef>
              <a:spcAft>
                <a:spcPts val="0"/>
              </a:spcAft>
              <a:buFontTx/>
              <a:buNone/>
              <a:tabLst/>
              <a:defRPr sz="1100">
                <a:solidFill>
                  <a:schemeClr val="bg1"/>
                </a:solidFill>
              </a:defRPr>
            </a:lvl6pPr>
            <a:lvl7pPr marL="0" indent="0" algn="l">
              <a:spcBef>
                <a:spcPts val="0"/>
              </a:spcBef>
              <a:spcAft>
                <a:spcPts val="0"/>
              </a:spcAft>
              <a:buFontTx/>
              <a:buNone/>
              <a:tabLst/>
              <a:defRPr sz="1100">
                <a:solidFill>
                  <a:schemeClr val="bg1"/>
                </a:solidFill>
              </a:defRPr>
            </a:lvl7pPr>
            <a:lvl8pPr marL="0" indent="0" algn="l">
              <a:spcBef>
                <a:spcPts val="0"/>
              </a:spcBef>
              <a:spcAft>
                <a:spcPts val="0"/>
              </a:spcAft>
              <a:buFontTx/>
              <a:buNone/>
              <a:tabLst/>
              <a:defRPr sz="1100">
                <a:solidFill>
                  <a:schemeClr val="bg1"/>
                </a:solidFill>
              </a:defRPr>
            </a:lvl8pPr>
            <a:lvl9pPr marL="0" indent="0" algn="l">
              <a:spcBef>
                <a:spcPts val="0"/>
              </a:spcBef>
              <a:spcAft>
                <a:spcPts val="0"/>
              </a:spcAft>
              <a:buFontTx/>
              <a:buNone/>
              <a:tabLst/>
              <a:defRPr sz="1100">
                <a:solidFill>
                  <a:schemeClr val="bg1"/>
                </a:solidFill>
              </a:defRPr>
            </a:lvl9pPr>
          </a:lstStyle>
          <a:p>
            <a:pPr lvl="0"/>
            <a:r>
              <a:rPr lang="en-US" dirty="0"/>
              <a:t>Click to add photo caption</a:t>
            </a:r>
          </a:p>
        </p:txBody>
      </p:sp>
      <p:sp>
        <p:nvSpPr>
          <p:cNvPr id="5" name="Date Placeholder 4">
            <a:extLst>
              <a:ext uri="{FF2B5EF4-FFF2-40B4-BE49-F238E27FC236}">
                <a16:creationId xmlns:a16="http://schemas.microsoft.com/office/drawing/2014/main" id="{D54C76DA-F528-244F-B82D-2FD6602BA875}"/>
              </a:ext>
            </a:extLst>
          </p:cNvPr>
          <p:cNvSpPr>
            <a:spLocks noGrp="1"/>
          </p:cNvSpPr>
          <p:nvPr>
            <p:ph type="dt" sz="half" idx="109"/>
          </p:nvPr>
        </p:nvSpPr>
        <p:spPr/>
        <p:txBody>
          <a:bodyPr/>
          <a:lstStyle/>
          <a:p>
            <a:endParaRPr lang="en-US" dirty="0"/>
          </a:p>
        </p:txBody>
      </p:sp>
      <p:sp>
        <p:nvSpPr>
          <p:cNvPr id="6" name="Footer Placeholder 5">
            <a:extLst>
              <a:ext uri="{FF2B5EF4-FFF2-40B4-BE49-F238E27FC236}">
                <a16:creationId xmlns:a16="http://schemas.microsoft.com/office/drawing/2014/main" id="{31625B55-E0DA-464D-BFB5-020839E75BEF}"/>
              </a:ext>
            </a:extLst>
          </p:cNvPr>
          <p:cNvSpPr>
            <a:spLocks noGrp="1"/>
          </p:cNvSpPr>
          <p:nvPr>
            <p:ph type="ftr" sz="quarter" idx="110"/>
          </p:nvPr>
        </p:nvSpPr>
        <p:spPr/>
        <p:txBody>
          <a:bodyPr/>
          <a:lstStyle/>
          <a:p>
            <a:endParaRPr lang="en-US" dirty="0"/>
          </a:p>
        </p:txBody>
      </p:sp>
      <p:sp>
        <p:nvSpPr>
          <p:cNvPr id="7" name="Slide Number Placeholder 6">
            <a:extLst>
              <a:ext uri="{FF2B5EF4-FFF2-40B4-BE49-F238E27FC236}">
                <a16:creationId xmlns:a16="http://schemas.microsoft.com/office/drawing/2014/main" id="{43D59DA1-A77E-7144-9771-F69145665B98}"/>
              </a:ext>
            </a:extLst>
          </p:cNvPr>
          <p:cNvSpPr>
            <a:spLocks noGrp="1"/>
          </p:cNvSpPr>
          <p:nvPr>
            <p:ph type="sldNum" sz="quarter" idx="111"/>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42" name="Picture Placeholder 7">
            <a:extLst>
              <a:ext uri="{FF2B5EF4-FFF2-40B4-BE49-F238E27FC236}">
                <a16:creationId xmlns:a16="http://schemas.microsoft.com/office/drawing/2014/main" id="{1F08C253-A48A-3143-84F4-862490E091D5}"/>
              </a:ext>
            </a:extLst>
          </p:cNvPr>
          <p:cNvSpPr>
            <a:spLocks noGrp="1"/>
          </p:cNvSpPr>
          <p:nvPr>
            <p:ph type="pic" sz="quarter" idx="108" hasCustomPrompt="1"/>
          </p:nvPr>
        </p:nvSpPr>
        <p:spPr>
          <a:xfrm>
            <a:off x="4312551" y="1126869"/>
            <a:ext cx="7815776" cy="4395148"/>
          </a:xfrm>
          <a:solidFill>
            <a:srgbClr val="E8F3FD"/>
          </a:solidFill>
        </p:spPr>
        <p:txBody>
          <a:bodyPr anchor="ctr"/>
          <a:lstStyle>
            <a:lvl1pPr algn="ctr">
              <a:defRPr b="0">
                <a:solidFill>
                  <a:schemeClr val="tx1">
                    <a:lumMod val="50000"/>
                    <a:lumOff val="50000"/>
                  </a:schemeClr>
                </a:solidFill>
              </a:defRPr>
            </a:lvl1pPr>
          </a:lstStyle>
          <a:p>
            <a:r>
              <a:rPr lang="en-US" dirty="0"/>
              <a:t>Click icon to add a pre-designed </a:t>
            </a:r>
            <a:br>
              <a:rPr lang="en-US" dirty="0"/>
            </a:br>
            <a:r>
              <a:rPr lang="en-US" dirty="0"/>
              <a:t>ranking or quote graphic</a:t>
            </a:r>
          </a:p>
        </p:txBody>
      </p:sp>
      <p:grpSp>
        <p:nvGrpSpPr>
          <p:cNvPr id="2" name="Group 1">
            <a:extLst>
              <a:ext uri="{FF2B5EF4-FFF2-40B4-BE49-F238E27FC236}">
                <a16:creationId xmlns:a16="http://schemas.microsoft.com/office/drawing/2014/main" id="{D1764BD5-D145-264C-B0A8-208A483730D7}"/>
              </a:ext>
            </a:extLst>
          </p:cNvPr>
          <p:cNvGrpSpPr/>
          <p:nvPr userDrawn="1"/>
        </p:nvGrpSpPr>
        <p:grpSpPr>
          <a:xfrm>
            <a:off x="12532243" y="-1"/>
            <a:ext cx="3832280" cy="6858001"/>
            <a:chOff x="9399182" y="-1"/>
            <a:chExt cx="2874210" cy="6858001"/>
          </a:xfrm>
        </p:grpSpPr>
        <p:sp>
          <p:nvSpPr>
            <p:cNvPr id="43" name="Rectangle 42">
              <a:extLst>
                <a:ext uri="{FF2B5EF4-FFF2-40B4-BE49-F238E27FC236}">
                  <a16:creationId xmlns:a16="http://schemas.microsoft.com/office/drawing/2014/main" id="{0E350FE8-9140-BD44-8746-BA901039FCE8}"/>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sp>
          <p:nvSpPr>
            <p:cNvPr id="44" name="TextBox 43">
              <a:extLst>
                <a:ext uri="{FF2B5EF4-FFF2-40B4-BE49-F238E27FC236}">
                  <a16:creationId xmlns:a16="http://schemas.microsoft.com/office/drawing/2014/main" id="{8D1B288D-9366-E241-BD9C-0C163D006B50}"/>
                </a:ext>
              </a:extLst>
            </p:cNvPr>
            <p:cNvSpPr txBox="1"/>
            <p:nvPr userDrawn="1"/>
          </p:nvSpPr>
          <p:spPr>
            <a:xfrm>
              <a:off x="9555251" y="150289"/>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45" name="Straight Connector 44">
              <a:extLst>
                <a:ext uri="{FF2B5EF4-FFF2-40B4-BE49-F238E27FC236}">
                  <a16:creationId xmlns:a16="http://schemas.microsoft.com/office/drawing/2014/main" id="{6B3ABA96-5F83-394D-9840-D7F0CBD05CB6}"/>
                </a:ext>
              </a:extLst>
            </p:cNvPr>
            <p:cNvCxnSpPr>
              <a:cxnSpLocks/>
            </p:cNvCxnSpPr>
            <p:nvPr userDrawn="1"/>
          </p:nvCxnSpPr>
          <p:spPr>
            <a:xfrm>
              <a:off x="9555251" y="35290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6" name="TextBox 45">
              <a:extLst>
                <a:ext uri="{FF2B5EF4-FFF2-40B4-BE49-F238E27FC236}">
                  <a16:creationId xmlns:a16="http://schemas.microsoft.com/office/drawing/2014/main" id="{6EF9EA9D-2ECC-8B45-B42B-25173A4A4C25}"/>
                </a:ext>
              </a:extLst>
            </p:cNvPr>
            <p:cNvSpPr txBox="1"/>
            <p:nvPr userDrawn="1"/>
          </p:nvSpPr>
          <p:spPr>
            <a:xfrm>
              <a:off x="9683170" y="1211216"/>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7" name="Group 46">
              <a:extLst>
                <a:ext uri="{FF2B5EF4-FFF2-40B4-BE49-F238E27FC236}">
                  <a16:creationId xmlns:a16="http://schemas.microsoft.com/office/drawing/2014/main" id="{C8972E43-5336-2241-891B-35A2BC5D2DEE}"/>
                </a:ext>
              </a:extLst>
            </p:cNvPr>
            <p:cNvGrpSpPr/>
            <p:nvPr userDrawn="1"/>
          </p:nvGrpSpPr>
          <p:grpSpPr>
            <a:xfrm>
              <a:off x="9538241" y="5191130"/>
              <a:ext cx="2735151" cy="1411315"/>
              <a:chOff x="9296567" y="4910411"/>
              <a:chExt cx="2735151" cy="1411315"/>
            </a:xfrm>
          </p:grpSpPr>
          <p:sp>
            <p:nvSpPr>
              <p:cNvPr id="48" name="Rectangle 47">
                <a:extLst>
                  <a:ext uri="{FF2B5EF4-FFF2-40B4-BE49-F238E27FC236}">
                    <a16:creationId xmlns:a16="http://schemas.microsoft.com/office/drawing/2014/main" id="{E2C26990-7FF8-054E-A281-B53F537BEE27}"/>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9" name="TextBox 48">
                <a:extLst>
                  <a:ext uri="{FF2B5EF4-FFF2-40B4-BE49-F238E27FC236}">
                    <a16:creationId xmlns:a16="http://schemas.microsoft.com/office/drawing/2014/main" id="{3B995B5E-F502-524D-8B58-27186D7A107B}"/>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0" name="Graphic 49">
                <a:extLst>
                  <a:ext uri="{FF2B5EF4-FFF2-40B4-BE49-F238E27FC236}">
                    <a16:creationId xmlns:a16="http://schemas.microsoft.com/office/drawing/2014/main" id="{A061601C-8C68-F242-B113-EE7F77094964}"/>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51" name="TextBox 50">
                <a:extLst>
                  <a:ext uri="{FF2B5EF4-FFF2-40B4-BE49-F238E27FC236}">
                    <a16:creationId xmlns:a16="http://schemas.microsoft.com/office/drawing/2014/main" id="{2176A971-B2F1-5E43-B3E1-7B135F870F0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2" name="TextBox 51">
                <a:extLst>
                  <a:ext uri="{FF2B5EF4-FFF2-40B4-BE49-F238E27FC236}">
                    <a16:creationId xmlns:a16="http://schemas.microsoft.com/office/drawing/2014/main" id="{90EC215C-94D0-E34B-A0ED-1A1FAA96773F}"/>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3" name="TextBox 52">
                <a:extLst>
                  <a:ext uri="{FF2B5EF4-FFF2-40B4-BE49-F238E27FC236}">
                    <a16:creationId xmlns:a16="http://schemas.microsoft.com/office/drawing/2014/main" id="{76B9D522-8908-7049-B7A4-B57C5618ADD3}"/>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54" name="Group 53">
              <a:extLst>
                <a:ext uri="{FF2B5EF4-FFF2-40B4-BE49-F238E27FC236}">
                  <a16:creationId xmlns:a16="http://schemas.microsoft.com/office/drawing/2014/main" id="{AA4B5C55-C3B7-894B-A35E-D5CA95E6E7F1}"/>
                </a:ext>
              </a:extLst>
            </p:cNvPr>
            <p:cNvGrpSpPr/>
            <p:nvPr userDrawn="1"/>
          </p:nvGrpSpPr>
          <p:grpSpPr>
            <a:xfrm>
              <a:off x="9538241" y="3396143"/>
              <a:ext cx="2735151" cy="1666188"/>
              <a:chOff x="9286315" y="6976989"/>
              <a:chExt cx="2735151" cy="1666188"/>
            </a:xfrm>
          </p:grpSpPr>
          <p:sp>
            <p:nvSpPr>
              <p:cNvPr id="55" name="Rectangle 54">
                <a:extLst>
                  <a:ext uri="{FF2B5EF4-FFF2-40B4-BE49-F238E27FC236}">
                    <a16:creationId xmlns:a16="http://schemas.microsoft.com/office/drawing/2014/main" id="{0F3B6FDA-7E11-594D-AA59-432E8381D202}"/>
                  </a:ext>
                </a:extLst>
              </p:cNvPr>
              <p:cNvSpPr/>
              <p:nvPr userDrawn="1"/>
            </p:nvSpPr>
            <p:spPr>
              <a:xfrm>
                <a:off x="9286315" y="6976989"/>
                <a:ext cx="2735151" cy="166618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6" name="TextBox 55">
                <a:extLst>
                  <a:ext uri="{FF2B5EF4-FFF2-40B4-BE49-F238E27FC236}">
                    <a16:creationId xmlns:a16="http://schemas.microsoft.com/office/drawing/2014/main" id="{B533522C-4577-8A45-84ED-1C28ADF906A5}"/>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57" name="Graphic 56">
                <a:extLst>
                  <a:ext uri="{FF2B5EF4-FFF2-40B4-BE49-F238E27FC236}">
                    <a16:creationId xmlns:a16="http://schemas.microsoft.com/office/drawing/2014/main" id="{CAA725A2-71E0-CC44-BF0B-C7D949C4E17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58" name="TextBox 57">
                <a:extLst>
                  <a:ext uri="{FF2B5EF4-FFF2-40B4-BE49-F238E27FC236}">
                    <a16:creationId xmlns:a16="http://schemas.microsoft.com/office/drawing/2014/main" id="{877D7503-2CC1-D345-B445-E51D2E0A1D5E}"/>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9" name="Picture 58">
                <a:extLst>
                  <a:ext uri="{FF2B5EF4-FFF2-40B4-BE49-F238E27FC236}">
                    <a16:creationId xmlns:a16="http://schemas.microsoft.com/office/drawing/2014/main" id="{168D46CD-D101-064B-A62A-09B9595E705D}"/>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sp>
            <p:nvSpPr>
              <p:cNvPr id="60" name="TextBox 59">
                <a:extLst>
                  <a:ext uri="{FF2B5EF4-FFF2-40B4-BE49-F238E27FC236}">
                    <a16:creationId xmlns:a16="http://schemas.microsoft.com/office/drawing/2014/main" id="{5412DB5D-1726-FE4B-A4FC-19F1AAD0388A}"/>
                  </a:ext>
                </a:extLst>
              </p:cNvPr>
              <p:cNvSpPr txBox="1"/>
              <p:nvPr userDrawn="1"/>
            </p:nvSpPr>
            <p:spPr>
              <a:xfrm>
                <a:off x="9446538" y="8244615"/>
                <a:ext cx="2467032"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3175" lvl="1" indent="0">
                  <a:buNone/>
                  <a:defRPr/>
                </a:pPr>
                <a:r>
                  <a:rPr lang="en-US" sz="900" i="1" kern="1200" dirty="0">
                    <a:solidFill>
                      <a:schemeClr val="tx1">
                        <a:lumMod val="50000"/>
                        <a:lumOff val="50000"/>
                      </a:schemeClr>
                    </a:solidFill>
                    <a:latin typeface="Arial" charset="0"/>
                    <a:cs typeface="Arial" charset="0"/>
                  </a:rPr>
                  <a:t>Strict rule: do not resize the image placeholder. It should always be 1/3rd of the slide width.</a:t>
                </a:r>
              </a:p>
            </p:txBody>
          </p:sp>
        </p:grpSp>
        <p:grpSp>
          <p:nvGrpSpPr>
            <p:cNvPr id="61" name="Group 60">
              <a:extLst>
                <a:ext uri="{FF2B5EF4-FFF2-40B4-BE49-F238E27FC236}">
                  <a16:creationId xmlns:a16="http://schemas.microsoft.com/office/drawing/2014/main" id="{9DEDB481-299F-A241-8351-91656708A78B}"/>
                </a:ext>
              </a:extLst>
            </p:cNvPr>
            <p:cNvGrpSpPr/>
            <p:nvPr userDrawn="1"/>
          </p:nvGrpSpPr>
          <p:grpSpPr>
            <a:xfrm>
              <a:off x="9518577" y="475409"/>
              <a:ext cx="2617883" cy="651460"/>
              <a:chOff x="12352022" y="513115"/>
              <a:chExt cx="2617883" cy="651460"/>
            </a:xfrm>
          </p:grpSpPr>
          <p:sp>
            <p:nvSpPr>
              <p:cNvPr id="62" name="TextBox 61">
                <a:extLst>
                  <a:ext uri="{FF2B5EF4-FFF2-40B4-BE49-F238E27FC236}">
                    <a16:creationId xmlns:a16="http://schemas.microsoft.com/office/drawing/2014/main" id="{AB4D90F5-A24B-2141-B2C9-24D7F207050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3" name="TextBox 62">
                <a:extLst>
                  <a:ext uri="{FF2B5EF4-FFF2-40B4-BE49-F238E27FC236}">
                    <a16:creationId xmlns:a16="http://schemas.microsoft.com/office/drawing/2014/main" id="{81F83443-307B-1E45-9461-3D7B0B74AC6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64" name="TextBox 63">
                <a:extLst>
                  <a:ext uri="{FF2B5EF4-FFF2-40B4-BE49-F238E27FC236}">
                    <a16:creationId xmlns:a16="http://schemas.microsoft.com/office/drawing/2014/main" id="{9D96AAF3-257A-024D-8BEB-1EF46B227EF1}"/>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65" name="TextBox 64">
              <a:extLst>
                <a:ext uri="{FF2B5EF4-FFF2-40B4-BE49-F238E27FC236}">
                  <a16:creationId xmlns:a16="http://schemas.microsoft.com/office/drawing/2014/main" id="{3EAD2FB7-5D7E-3B4E-9279-C776EEE44836}"/>
                </a:ext>
              </a:extLst>
            </p:cNvPr>
            <p:cNvSpPr txBox="1"/>
            <p:nvPr userDrawn="1"/>
          </p:nvSpPr>
          <p:spPr>
            <a:xfrm>
              <a:off x="9671011" y="1494521"/>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66" name="TextBox 65">
              <a:extLst>
                <a:ext uri="{FF2B5EF4-FFF2-40B4-BE49-F238E27FC236}">
                  <a16:creationId xmlns:a16="http://schemas.microsoft.com/office/drawing/2014/main" id="{EE34DDB8-5373-A745-B56A-FBF923B54BF3}"/>
                </a:ext>
              </a:extLst>
            </p:cNvPr>
            <p:cNvSpPr txBox="1"/>
            <p:nvPr userDrawn="1"/>
          </p:nvSpPr>
          <p:spPr>
            <a:xfrm>
              <a:off x="9683170" y="1909778"/>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 </a:t>
              </a:r>
            </a:p>
            <a:p>
              <a:pPr lvl="1">
                <a:buNone/>
              </a:pPr>
              <a:r>
                <a:rPr lang="en-US" sz="1050" dirty="0"/>
                <a:t>Right-click or use keyboard shortcuts to paste the image.</a:t>
              </a:r>
            </a:p>
          </p:txBody>
        </p:sp>
        <p:sp>
          <p:nvSpPr>
            <p:cNvPr id="67" name="TextBox 66">
              <a:extLst>
                <a:ext uri="{FF2B5EF4-FFF2-40B4-BE49-F238E27FC236}">
                  <a16:creationId xmlns:a16="http://schemas.microsoft.com/office/drawing/2014/main" id="{FB22E602-F5E8-F549-B709-653F5ED78E9A}"/>
                </a:ext>
              </a:extLst>
            </p:cNvPr>
            <p:cNvSpPr txBox="1"/>
            <p:nvPr userDrawn="1"/>
          </p:nvSpPr>
          <p:spPr>
            <a:xfrm>
              <a:off x="9683170" y="2629868"/>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68" name="TextBox 67">
              <a:extLst>
                <a:ext uri="{FF2B5EF4-FFF2-40B4-BE49-F238E27FC236}">
                  <a16:creationId xmlns:a16="http://schemas.microsoft.com/office/drawing/2014/main" id="{D1EAB1B9-8082-D946-8E99-B3E0046C15E3}"/>
                </a:ext>
              </a:extLst>
            </p:cNvPr>
            <p:cNvSpPr txBox="1"/>
            <p:nvPr userDrawn="1"/>
          </p:nvSpPr>
          <p:spPr>
            <a:xfrm>
              <a:off x="9671011" y="3060431"/>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 </a:t>
              </a:r>
              <a:br>
                <a:rPr lang="en-US" sz="700" dirty="0"/>
              </a:br>
              <a:r>
                <a:rPr lang="en-US" sz="700" dirty="0"/>
                <a:t>In this case use one of the other methods.</a:t>
              </a:r>
            </a:p>
          </p:txBody>
        </p:sp>
      </p:grpSp>
    </p:spTree>
    <p:extLst>
      <p:ext uri="{BB962C8B-B14F-4D97-AF65-F5344CB8AC3E}">
        <p14:creationId xmlns:p14="http://schemas.microsoft.com/office/powerpoint/2010/main" val="8471980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bg1"/>
        </a:solidFill>
        <a:effectLst/>
      </p:bgPr>
    </p:bg>
    <p:spTree>
      <p:nvGrpSpPr>
        <p:cNvPr id="1" name=""/>
        <p:cNvGrpSpPr/>
        <p:nvPr/>
      </p:nvGrpSpPr>
      <p:grpSpPr>
        <a:xfrm>
          <a:off x="0" y="0"/>
          <a:ext cx="0" cy="0"/>
          <a:chOff x="0" y="0"/>
          <a:chExt cx="0" cy="0"/>
        </a:xfrm>
      </p:grpSpPr>
      <p:sp>
        <p:nvSpPr>
          <p:cNvPr id="61" name="Picture Placeholder 76">
            <a:extLst>
              <a:ext uri="{FF2B5EF4-FFF2-40B4-BE49-F238E27FC236}">
                <a16:creationId xmlns:a16="http://schemas.microsoft.com/office/drawing/2014/main" id="{89A9B1FC-6614-6D47-945D-B2E8BBADFB79}"/>
              </a:ext>
            </a:extLst>
          </p:cNvPr>
          <p:cNvSpPr>
            <a:spLocks noGrp="1"/>
          </p:cNvSpPr>
          <p:nvPr>
            <p:ph type="pic" sz="quarter" idx="13" hasCustomPrompt="1"/>
          </p:nvPr>
        </p:nvSpPr>
        <p:spPr>
          <a:xfrm>
            <a:off x="1" y="1"/>
            <a:ext cx="12192001" cy="6858001"/>
          </a:xfrm>
          <a:custGeom>
            <a:avLst/>
            <a:gdLst>
              <a:gd name="connsiteX0" fmla="*/ 0 w 9144001"/>
              <a:gd name="connsiteY0" fmla="*/ 0 h 6858001"/>
              <a:gd name="connsiteX1" fmla="*/ 9144001 w 9144001"/>
              <a:gd name="connsiteY1" fmla="*/ 0 h 6858001"/>
              <a:gd name="connsiteX2" fmla="*/ 9144001 w 9144001"/>
              <a:gd name="connsiteY2" fmla="*/ 6858001 h 6858001"/>
              <a:gd name="connsiteX3" fmla="*/ 0 w 9144001"/>
              <a:gd name="connsiteY3" fmla="*/ 6858001 h 6858001"/>
            </a:gdLst>
            <a:ahLst/>
            <a:cxnLst>
              <a:cxn ang="0">
                <a:pos x="connsiteX0" y="connsiteY0"/>
              </a:cxn>
              <a:cxn ang="0">
                <a:pos x="connsiteX1" y="connsiteY1"/>
              </a:cxn>
              <a:cxn ang="0">
                <a:pos x="connsiteX2" y="connsiteY2"/>
              </a:cxn>
              <a:cxn ang="0">
                <a:pos x="connsiteX3" y="connsiteY3"/>
              </a:cxn>
            </a:cxnLst>
            <a:rect l="l" t="t" r="r" b="b"/>
            <a:pathLst>
              <a:path w="9144001" h="6858001">
                <a:moveTo>
                  <a:pt x="0" y="0"/>
                </a:moveTo>
                <a:lnTo>
                  <a:pt x="9144001" y="0"/>
                </a:lnTo>
                <a:lnTo>
                  <a:pt x="9144001" y="6858001"/>
                </a:lnTo>
                <a:lnTo>
                  <a:pt x="0" y="6858001"/>
                </a:lnTo>
                <a:close/>
              </a:path>
            </a:pathLst>
          </a:custGeom>
          <a:solidFill>
            <a:schemeClr val="accent5">
              <a:lumMod val="60000"/>
              <a:lumOff val="40000"/>
            </a:schemeClr>
          </a:solidFill>
          <a:ln>
            <a:noFill/>
          </a:ln>
        </p:spPr>
        <p:txBody>
          <a:bodyPr wrap="square" rIns="432000" anchor="ctr">
            <a:noAutofit/>
          </a:bodyPr>
          <a:lstStyle>
            <a:lvl1pPr marL="0" indent="0" algn="r">
              <a:spcBef>
                <a:spcPts val="0"/>
              </a:spcBef>
              <a:spcAft>
                <a:spcPts val="0"/>
              </a:spcAft>
              <a:buNone/>
              <a:defRPr b="0">
                <a:solidFill>
                  <a:schemeClr val="bg2"/>
                </a:solidFill>
              </a:defRPr>
            </a:lvl1pPr>
          </a:lstStyle>
          <a:p>
            <a:r>
              <a:rPr lang="en-US"/>
              <a:t>Drag image onto slide to add photo</a:t>
            </a:r>
          </a:p>
        </p:txBody>
      </p:sp>
      <p:grpSp>
        <p:nvGrpSpPr>
          <p:cNvPr id="8" name="Group 7">
            <a:extLst>
              <a:ext uri="{FF2B5EF4-FFF2-40B4-BE49-F238E27FC236}">
                <a16:creationId xmlns:a16="http://schemas.microsoft.com/office/drawing/2014/main" id="{7EF91C03-68D7-6C4C-845D-95A60CCDC888}"/>
              </a:ext>
            </a:extLst>
          </p:cNvPr>
          <p:cNvGrpSpPr/>
          <p:nvPr userDrawn="1"/>
        </p:nvGrpSpPr>
        <p:grpSpPr>
          <a:xfrm>
            <a:off x="-266703" y="4797149"/>
            <a:ext cx="259366" cy="1365066"/>
            <a:chOff x="-256404" y="360363"/>
            <a:chExt cx="251461" cy="692152"/>
          </a:xfrm>
        </p:grpSpPr>
        <p:grpSp>
          <p:nvGrpSpPr>
            <p:cNvPr id="9" name="Group 8">
              <a:extLst>
                <a:ext uri="{FF2B5EF4-FFF2-40B4-BE49-F238E27FC236}">
                  <a16:creationId xmlns:a16="http://schemas.microsoft.com/office/drawing/2014/main" id="{0D7A67AD-A78D-1040-A099-19C73D75FADD}"/>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B4B5A1AF-9A26-A642-816C-7E1E37992AA4}"/>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DBBC9F7-B424-1643-B930-EEF94712EBD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E56CBC82-1BDE-F540-BF3F-712FAD884E18}"/>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10" name="TextBox 9">
              <a:extLst>
                <a:ext uri="{FF2B5EF4-FFF2-40B4-BE49-F238E27FC236}">
                  <a16:creationId xmlns:a16="http://schemas.microsoft.com/office/drawing/2014/main" id="{3282B5F3-F5C3-DB4C-B743-A8A59CFF7D42}"/>
                </a:ext>
              </a:extLst>
            </p:cNvPr>
            <p:cNvSpPr txBox="1"/>
            <p:nvPr userDrawn="1"/>
          </p:nvSpPr>
          <p:spPr>
            <a:xfrm rot="16200000">
              <a:off x="-192445" y="662666"/>
              <a:ext cx="123545"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ITLE</a:t>
              </a:r>
            </a:p>
          </p:txBody>
        </p:sp>
      </p:grpSp>
      <p:grpSp>
        <p:nvGrpSpPr>
          <p:cNvPr id="55" name="Group 54">
            <a:extLst>
              <a:ext uri="{FF2B5EF4-FFF2-40B4-BE49-F238E27FC236}">
                <a16:creationId xmlns:a16="http://schemas.microsoft.com/office/drawing/2014/main" id="{9798FF58-E26B-3647-BDDF-EC266BEA7328}"/>
              </a:ext>
            </a:extLst>
          </p:cNvPr>
          <p:cNvGrpSpPr/>
          <p:nvPr userDrawn="1"/>
        </p:nvGrpSpPr>
        <p:grpSpPr>
          <a:xfrm>
            <a:off x="12532243" y="-1"/>
            <a:ext cx="2892636" cy="6858001"/>
            <a:chOff x="9144000" y="-1"/>
            <a:chExt cx="2874210" cy="6858001"/>
          </a:xfrm>
        </p:grpSpPr>
        <p:sp>
          <p:nvSpPr>
            <p:cNvPr id="56" name="Rectangle 55">
              <a:extLst>
                <a:ext uri="{FF2B5EF4-FFF2-40B4-BE49-F238E27FC236}">
                  <a16:creationId xmlns:a16="http://schemas.microsoft.com/office/drawing/2014/main" id="{88580BD2-46D4-6B43-BEB1-7D93D1D56918}"/>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grpSp>
          <p:nvGrpSpPr>
            <p:cNvPr id="57" name="Group 56">
              <a:extLst>
                <a:ext uri="{FF2B5EF4-FFF2-40B4-BE49-F238E27FC236}">
                  <a16:creationId xmlns:a16="http://schemas.microsoft.com/office/drawing/2014/main" id="{9A61082E-FFDB-C440-87DC-6022E4E82893}"/>
                </a:ext>
              </a:extLst>
            </p:cNvPr>
            <p:cNvGrpSpPr/>
            <p:nvPr userDrawn="1"/>
          </p:nvGrpSpPr>
          <p:grpSpPr>
            <a:xfrm>
              <a:off x="9263395" y="150289"/>
              <a:ext cx="2754815" cy="6013825"/>
              <a:chOff x="9266651" y="185338"/>
              <a:chExt cx="2754815" cy="6013825"/>
            </a:xfrm>
          </p:grpSpPr>
          <p:sp>
            <p:nvSpPr>
              <p:cNvPr id="58" name="TextBox 57">
                <a:extLst>
                  <a:ext uri="{FF2B5EF4-FFF2-40B4-BE49-F238E27FC236}">
                    <a16:creationId xmlns:a16="http://schemas.microsoft.com/office/drawing/2014/main" id="{FD97C5F9-1BA0-4346-8BA5-61CA34B0EB56}"/>
                  </a:ext>
                </a:extLst>
              </p:cNvPr>
              <p:cNvSpPr txBox="1"/>
              <p:nvPr userDrawn="1"/>
            </p:nvSpPr>
            <p:spPr>
              <a:xfrm>
                <a:off x="9303325" y="18533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HOW TO ADD AN IMAGE</a:t>
                </a:r>
              </a:p>
            </p:txBody>
          </p:sp>
          <p:cxnSp>
            <p:nvCxnSpPr>
              <p:cNvPr id="59" name="Straight Connector 58">
                <a:extLst>
                  <a:ext uri="{FF2B5EF4-FFF2-40B4-BE49-F238E27FC236}">
                    <a16:creationId xmlns:a16="http://schemas.microsoft.com/office/drawing/2014/main" id="{FF29B610-1229-CE4A-AF80-53A2FAABF0E4}"/>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179FAF10-6C7D-2144-8C5C-BFA813F68506}"/>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a:t>Method 1: </a:t>
                </a:r>
                <a:r>
                  <a:rPr lang="en-US" sz="600" b="0"/>
                  <a:t>from file browser</a:t>
                </a:r>
              </a:p>
              <a:p>
                <a:pPr lvl="1">
                  <a:buNone/>
                </a:pPr>
                <a:r>
                  <a:rPr lang="en-US" sz="1050"/>
                  <a:t>Drag the image onto the slide.</a:t>
                </a:r>
              </a:p>
            </p:txBody>
          </p:sp>
          <p:grpSp>
            <p:nvGrpSpPr>
              <p:cNvPr id="76" name="Group 75">
                <a:extLst>
                  <a:ext uri="{FF2B5EF4-FFF2-40B4-BE49-F238E27FC236}">
                    <a16:creationId xmlns:a16="http://schemas.microsoft.com/office/drawing/2014/main" id="{08A50BC6-41D4-CB43-B615-0CB5C5D8CB2E}"/>
                  </a:ext>
                </a:extLst>
              </p:cNvPr>
              <p:cNvGrpSpPr/>
              <p:nvPr userDrawn="1"/>
            </p:nvGrpSpPr>
            <p:grpSpPr>
              <a:xfrm>
                <a:off x="9286315" y="4787848"/>
                <a:ext cx="2735151" cy="1411315"/>
                <a:chOff x="9296567" y="4910411"/>
                <a:chExt cx="2735151" cy="1411315"/>
              </a:xfrm>
            </p:grpSpPr>
            <p:sp>
              <p:nvSpPr>
                <p:cNvPr id="78" name="Rectangle 77">
                  <a:extLst>
                    <a:ext uri="{FF2B5EF4-FFF2-40B4-BE49-F238E27FC236}">
                      <a16:creationId xmlns:a16="http://schemas.microsoft.com/office/drawing/2014/main" id="{AAF32C62-18B0-5A46-A72E-AB5C72B617B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9" name="TextBox 78">
                  <a:extLst>
                    <a:ext uri="{FF2B5EF4-FFF2-40B4-BE49-F238E27FC236}">
                      <a16:creationId xmlns:a16="http://schemas.microsoft.com/office/drawing/2014/main" id="{3A949284-8769-7C4A-BDA9-47BF5046975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hange Image</a:t>
                  </a:r>
                </a:p>
              </p:txBody>
            </p:sp>
            <p:pic>
              <p:nvPicPr>
                <p:cNvPr id="80" name="Graphic 79">
                  <a:extLst>
                    <a:ext uri="{FF2B5EF4-FFF2-40B4-BE49-F238E27FC236}">
                      <a16:creationId xmlns:a16="http://schemas.microsoft.com/office/drawing/2014/main" id="{8963D7C6-F2C5-E849-BB93-9E88B87AA573}"/>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81" name="TextBox 80">
                  <a:extLst>
                    <a:ext uri="{FF2B5EF4-FFF2-40B4-BE49-F238E27FC236}">
                      <a16:creationId xmlns:a16="http://schemas.microsoft.com/office/drawing/2014/main" id="{85DB30AD-2EC9-DB48-BA60-31491FAC119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82" name="TextBox 81">
                  <a:extLst>
                    <a:ext uri="{FF2B5EF4-FFF2-40B4-BE49-F238E27FC236}">
                      <a16:creationId xmlns:a16="http://schemas.microsoft.com/office/drawing/2014/main" id="{17B40A71-5ED2-4847-B0DF-8C7122BB42A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83" name="TextBox 82">
                  <a:extLst>
                    <a:ext uri="{FF2B5EF4-FFF2-40B4-BE49-F238E27FC236}">
                      <a16:creationId xmlns:a16="http://schemas.microsoft.com/office/drawing/2014/main" id="{224A2BA9-4F1F-074F-AEA1-D6E43A8250E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a:solidFill>
                        <a:schemeClr val="tx1">
                          <a:lumMod val="50000"/>
                          <a:lumOff val="50000"/>
                        </a:schemeClr>
                      </a:solidFill>
                      <a:latin typeface="Arial" charset="0"/>
                      <a:ea typeface="Arial" charset="0"/>
                      <a:cs typeface="Arial" charset="0"/>
                    </a:rPr>
                    <a:t>You can now add a new image as normal.</a:t>
                  </a:r>
                </a:p>
              </p:txBody>
            </p:sp>
          </p:grpSp>
          <p:grpSp>
            <p:nvGrpSpPr>
              <p:cNvPr id="62" name="Group 61">
                <a:extLst>
                  <a:ext uri="{FF2B5EF4-FFF2-40B4-BE49-F238E27FC236}">
                    <a16:creationId xmlns:a16="http://schemas.microsoft.com/office/drawing/2014/main" id="{0F4A1271-3D8B-3C49-A3EA-8521CBDB4AF1}"/>
                  </a:ext>
                </a:extLst>
              </p:cNvPr>
              <p:cNvGrpSpPr/>
              <p:nvPr userDrawn="1"/>
            </p:nvGrpSpPr>
            <p:grpSpPr>
              <a:xfrm>
                <a:off x="9286315" y="3431192"/>
                <a:ext cx="2735151" cy="1280928"/>
                <a:chOff x="9286315" y="6976989"/>
                <a:chExt cx="2735151" cy="1280928"/>
              </a:xfrm>
            </p:grpSpPr>
            <p:sp>
              <p:nvSpPr>
                <p:cNvPr id="71" name="Rectangle 70">
                  <a:extLst>
                    <a:ext uri="{FF2B5EF4-FFF2-40B4-BE49-F238E27FC236}">
                      <a16:creationId xmlns:a16="http://schemas.microsoft.com/office/drawing/2014/main" id="{C6145E2A-AB77-D243-85C2-139861D4876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2" name="TextBox 71">
                  <a:extLst>
                    <a:ext uri="{FF2B5EF4-FFF2-40B4-BE49-F238E27FC236}">
                      <a16:creationId xmlns:a16="http://schemas.microsoft.com/office/drawing/2014/main" id="{FC6A7522-6011-3549-8AE8-F95DA5F999B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Crop Image</a:t>
                  </a:r>
                </a:p>
              </p:txBody>
            </p:sp>
            <p:pic>
              <p:nvPicPr>
                <p:cNvPr id="73" name="Graphic 72">
                  <a:extLst>
                    <a:ext uri="{FF2B5EF4-FFF2-40B4-BE49-F238E27FC236}">
                      <a16:creationId xmlns:a16="http://schemas.microsoft.com/office/drawing/2014/main" id="{0766D4F4-795E-5245-BF49-8D06B73BD8EC}"/>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74" name="TextBox 73">
                  <a:extLst>
                    <a:ext uri="{FF2B5EF4-FFF2-40B4-BE49-F238E27FC236}">
                      <a16:creationId xmlns:a16="http://schemas.microsoft.com/office/drawing/2014/main" id="{4BA13E32-1D69-6744-97E0-5693B3DE481A}"/>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a:solidFill>
                        <a:schemeClr val="tx1">
                          <a:lumMod val="50000"/>
                          <a:lumOff val="50000"/>
                        </a:schemeClr>
                      </a:solidFill>
                      <a:latin typeface="Arial" charset="0"/>
                      <a:cs typeface="Arial" charset="0"/>
                    </a:rPr>
                    <a:t>Right-click on the image.</a:t>
                  </a:r>
                </a:p>
                <a:p>
                  <a:pPr lvl="1">
                    <a:defRPr/>
                  </a:pPr>
                  <a:r>
                    <a:rPr lang="en-US" sz="900" kern="1200">
                      <a:solidFill>
                        <a:schemeClr val="tx1">
                          <a:lumMod val="50000"/>
                          <a:lumOff val="50000"/>
                        </a:schemeClr>
                      </a:solidFill>
                      <a:latin typeface="Arial" charset="0"/>
                      <a:cs typeface="Arial" charset="0"/>
                    </a:rPr>
                    <a:t>Choose “Crop” from the menu. (       )</a:t>
                  </a:r>
                </a:p>
                <a:p>
                  <a:pPr lvl="1">
                    <a:defRPr/>
                  </a:pPr>
                  <a:r>
                    <a:rPr lang="en-US" sz="900" kern="1200">
                      <a:solidFill>
                        <a:schemeClr val="tx1">
                          <a:lumMod val="50000"/>
                          <a:lumOff val="50000"/>
                        </a:schemeClr>
                      </a:solidFill>
                      <a:latin typeface="Arial" charset="0"/>
                      <a:cs typeface="Arial" charset="0"/>
                    </a:rPr>
                    <a:t>Adjust the size and position of the image.</a:t>
                  </a:r>
                </a:p>
                <a:p>
                  <a:pPr lvl="1">
                    <a:defRPr/>
                  </a:pPr>
                  <a:r>
                    <a:rPr lang="en-US" sz="900" kern="1200">
                      <a:solidFill>
                        <a:schemeClr val="tx1">
                          <a:lumMod val="50000"/>
                          <a:lumOff val="50000"/>
                        </a:schemeClr>
                      </a:solidFill>
                      <a:latin typeface="Arial" charset="0"/>
                      <a:cs typeface="Arial" charset="0"/>
                    </a:rPr>
                    <a:t>Press Esc or click outside the image area to exit the cropping mode.</a:t>
                  </a:r>
                </a:p>
              </p:txBody>
            </p:sp>
            <p:pic>
              <p:nvPicPr>
                <p:cNvPr id="75" name="Picture 74">
                  <a:extLst>
                    <a:ext uri="{FF2B5EF4-FFF2-40B4-BE49-F238E27FC236}">
                      <a16:creationId xmlns:a16="http://schemas.microsoft.com/office/drawing/2014/main" id="{62C33A3E-B57A-5249-A736-062C612AFDE5}"/>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3" name="Group 62">
                <a:extLst>
                  <a:ext uri="{FF2B5EF4-FFF2-40B4-BE49-F238E27FC236}">
                    <a16:creationId xmlns:a16="http://schemas.microsoft.com/office/drawing/2014/main" id="{46CE5CB7-4357-AA46-858D-4971B106CB68}"/>
                  </a:ext>
                </a:extLst>
              </p:cNvPr>
              <p:cNvGrpSpPr/>
              <p:nvPr userDrawn="1"/>
            </p:nvGrpSpPr>
            <p:grpSpPr>
              <a:xfrm>
                <a:off x="9266651" y="510458"/>
                <a:ext cx="2617883" cy="651460"/>
                <a:chOff x="12352022" y="513115"/>
                <a:chExt cx="2617883" cy="651460"/>
              </a:xfrm>
            </p:grpSpPr>
            <p:sp>
              <p:nvSpPr>
                <p:cNvPr id="68" name="TextBox 67">
                  <a:extLst>
                    <a:ext uri="{FF2B5EF4-FFF2-40B4-BE49-F238E27FC236}">
                      <a16:creationId xmlns:a16="http://schemas.microsoft.com/office/drawing/2014/main" id="{42CF36A7-43B8-6C4C-86FD-1CD17D70873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1</a:t>
                  </a:r>
                </a:p>
              </p:txBody>
            </p:sp>
            <p:sp>
              <p:nvSpPr>
                <p:cNvPr id="69" name="TextBox 68">
                  <a:extLst>
                    <a:ext uri="{FF2B5EF4-FFF2-40B4-BE49-F238E27FC236}">
                      <a16:creationId xmlns:a16="http://schemas.microsoft.com/office/drawing/2014/main" id="{1A6C5B3E-7B6D-A148-861C-6ACAA92D6CA7}"/>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a:solidFill>
                        <a:schemeClr val="bg1"/>
                      </a:solidFill>
                      <a:latin typeface="Arial" charset="0"/>
                      <a:ea typeface="Arial" charset="0"/>
                      <a:cs typeface="Arial" charset="0"/>
                    </a:rPr>
                    <a:t>2</a:t>
                  </a:r>
                </a:p>
              </p:txBody>
            </p:sp>
            <p:sp>
              <p:nvSpPr>
                <p:cNvPr id="70" name="TextBox 69">
                  <a:extLst>
                    <a:ext uri="{FF2B5EF4-FFF2-40B4-BE49-F238E27FC236}">
                      <a16:creationId xmlns:a16="http://schemas.microsoft.com/office/drawing/2014/main" id="{35B6B6EB-9B89-1347-8F1C-C198506B65AC}"/>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a:t>Select and download images from the Marketing Resource Database.</a:t>
                  </a:r>
                </a:p>
                <a:p>
                  <a:pPr lvl="0"/>
                  <a:r>
                    <a:rPr lang="en-US" sz="1050"/>
                    <a:t>Add the image to the placeholder.</a:t>
                  </a:r>
                </a:p>
              </p:txBody>
            </p:sp>
          </p:grpSp>
          <p:sp>
            <p:nvSpPr>
              <p:cNvPr id="64" name="TextBox 63">
                <a:extLst>
                  <a:ext uri="{FF2B5EF4-FFF2-40B4-BE49-F238E27FC236}">
                    <a16:creationId xmlns:a16="http://schemas.microsoft.com/office/drawing/2014/main" id="{86D606E1-D70D-CF4E-8378-6DE1F7A17FDF}"/>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If there are multiple image placeholders on the slide, select the intended placeholder before dragging in the image to let PowerPoint know where you want it.</a:t>
                </a:r>
              </a:p>
            </p:txBody>
          </p:sp>
          <p:sp>
            <p:nvSpPr>
              <p:cNvPr id="65" name="TextBox 64">
                <a:extLst>
                  <a:ext uri="{FF2B5EF4-FFF2-40B4-BE49-F238E27FC236}">
                    <a16:creationId xmlns:a16="http://schemas.microsoft.com/office/drawing/2014/main" id="{1AB01998-6407-F04E-89B6-207E3B4416D9}"/>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2: </a:t>
                </a:r>
                <a:r>
                  <a:rPr lang="en-US" sz="600" b="0"/>
                  <a:t>Paste from clipboard</a:t>
                </a:r>
              </a:p>
              <a:p>
                <a:pPr lvl="1">
                  <a:buNone/>
                </a:pPr>
                <a:r>
                  <a:rPr lang="en-US" sz="1050"/>
                  <a:t>Select the image placeholder.</a:t>
                </a:r>
              </a:p>
              <a:p>
                <a:pPr lvl="1">
                  <a:buNone/>
                </a:pPr>
                <a:r>
                  <a:rPr lang="en-US" sz="1050"/>
                  <a:t>Right-click or use keyboard shortcuts to paste the image.</a:t>
                </a:r>
              </a:p>
            </p:txBody>
          </p:sp>
          <p:sp>
            <p:nvSpPr>
              <p:cNvPr id="66" name="TextBox 65">
                <a:extLst>
                  <a:ext uri="{FF2B5EF4-FFF2-40B4-BE49-F238E27FC236}">
                    <a16:creationId xmlns:a16="http://schemas.microsoft.com/office/drawing/2014/main" id="{BF601082-8B9E-E948-93FC-DD6E8E5CABC4}"/>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a:t>Method 3: </a:t>
                </a:r>
                <a:r>
                  <a:rPr lang="en-US" sz="600" b="0"/>
                  <a:t>Placeholder icon</a:t>
                </a:r>
              </a:p>
              <a:p>
                <a:pPr lvl="1">
                  <a:buNone/>
                </a:pPr>
                <a:r>
                  <a:rPr lang="en-US" sz="1050"/>
                  <a:t>Click the image icon inside the placeholder to browse for an image.</a:t>
                </a:r>
              </a:p>
            </p:txBody>
          </p:sp>
          <p:sp>
            <p:nvSpPr>
              <p:cNvPr id="67" name="TextBox 66">
                <a:extLst>
                  <a:ext uri="{FF2B5EF4-FFF2-40B4-BE49-F238E27FC236}">
                    <a16:creationId xmlns:a16="http://schemas.microsoft.com/office/drawing/2014/main" id="{713FBF07-5E2E-9142-A30C-27DB2C07E4EE}"/>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a:t>Note: This icon may be covered by another element.</a:t>
                </a:r>
                <a:br>
                  <a:rPr lang="en-US" sz="700"/>
                </a:br>
                <a:r>
                  <a:rPr lang="en-US" sz="700"/>
                  <a:t>In this case use one of the other methods.</a:t>
                </a:r>
              </a:p>
            </p:txBody>
          </p:sp>
        </p:grpSp>
      </p:grpSp>
      <p:sp>
        <p:nvSpPr>
          <p:cNvPr id="500" name="Caption">
            <a:extLst>
              <a:ext uri="{FF2B5EF4-FFF2-40B4-BE49-F238E27FC236}">
                <a16:creationId xmlns:a16="http://schemas.microsoft.com/office/drawing/2014/main" id="{FBAAECF8-548A-DF48-864C-7FFAC7CE7E0F}"/>
              </a:ext>
            </a:extLst>
          </p:cNvPr>
          <p:cNvSpPr>
            <a:spLocks noGrp="1"/>
          </p:cNvSpPr>
          <p:nvPr>
            <p:ph type="body" sz="quarter" idx="500" hasCustomPrompt="1"/>
          </p:nvPr>
        </p:nvSpPr>
        <p:spPr>
          <a:xfrm>
            <a:off x="7947046" y="6200776"/>
            <a:ext cx="3657167"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a:t>Click to add photo caption</a:t>
            </a:r>
          </a:p>
        </p:txBody>
      </p:sp>
      <p:sp>
        <p:nvSpPr>
          <p:cNvPr id="2" name="Date Placeholder 1">
            <a:extLst>
              <a:ext uri="{FF2B5EF4-FFF2-40B4-BE49-F238E27FC236}">
                <a16:creationId xmlns:a16="http://schemas.microsoft.com/office/drawing/2014/main" id="{DCE27FEE-18EA-A346-B26F-D333D09B927F}"/>
              </a:ext>
            </a:extLst>
          </p:cNvPr>
          <p:cNvSpPr>
            <a:spLocks noGrp="1"/>
          </p:cNvSpPr>
          <p:nvPr>
            <p:ph type="dt" sz="half" idx="15"/>
          </p:nvPr>
        </p:nvSpPr>
        <p:spPr>
          <a:xfrm flipH="1">
            <a:off x="-2" y="6864579"/>
            <a:ext cx="45719" cy="0"/>
          </a:xfrm>
        </p:spPr>
        <p:txBody>
          <a:bodyPr/>
          <a:lstStyle/>
          <a:p>
            <a:endParaRPr lang="en-US"/>
          </a:p>
        </p:txBody>
      </p:sp>
      <p:sp>
        <p:nvSpPr>
          <p:cNvPr id="3" name="Footer Placeholder 2">
            <a:extLst>
              <a:ext uri="{FF2B5EF4-FFF2-40B4-BE49-F238E27FC236}">
                <a16:creationId xmlns:a16="http://schemas.microsoft.com/office/drawing/2014/main" id="{9A4E954B-AA54-CB4A-BB91-65FA99432494}"/>
              </a:ext>
            </a:extLst>
          </p:cNvPr>
          <p:cNvSpPr>
            <a:spLocks noGrp="1"/>
          </p:cNvSpPr>
          <p:nvPr>
            <p:ph type="ftr" sz="quarter" idx="16"/>
          </p:nvPr>
        </p:nvSpPr>
        <p:spPr>
          <a:xfrm flipH="1">
            <a:off x="-2" y="6864579"/>
            <a:ext cx="45719" cy="0"/>
          </a:xfrm>
        </p:spPr>
        <p:txBody>
          <a:bodyPr/>
          <a:lstStyle/>
          <a:p>
            <a:endParaRPr lang="en-US"/>
          </a:p>
        </p:txBody>
      </p:sp>
      <p:sp>
        <p:nvSpPr>
          <p:cNvPr id="4" name="Slide Number Placeholder 3">
            <a:extLst>
              <a:ext uri="{FF2B5EF4-FFF2-40B4-BE49-F238E27FC236}">
                <a16:creationId xmlns:a16="http://schemas.microsoft.com/office/drawing/2014/main" id="{3BBB10A8-70DC-DE4D-92FA-36863B35ABB9}"/>
              </a:ext>
            </a:extLst>
          </p:cNvPr>
          <p:cNvSpPr>
            <a:spLocks noGrp="1"/>
          </p:cNvSpPr>
          <p:nvPr>
            <p:ph type="sldNum" sz="quarter" idx="17"/>
          </p:nvPr>
        </p:nvSpPr>
        <p:spPr>
          <a:noFill/>
        </p:spPr>
        <p:txBody>
          <a:bodyPr/>
          <a:lstStyle>
            <a:lvl1pPr>
              <a:defRPr>
                <a:solidFill>
                  <a:schemeClr val="bg1"/>
                </a:solidFill>
              </a:defRPr>
            </a:lvl1pPr>
          </a:lstStyle>
          <a:p>
            <a:pPr marL="12700"/>
            <a:fld id="{078C017C-E1B9-8443-B047-B08AAA027B45}" type="slidenum">
              <a:rPr lang="en-US" smtClean="0"/>
              <a:pPr marL="12700"/>
              <a:t>‹#›</a:t>
            </a:fld>
            <a:endParaRPr lang="en-US"/>
          </a:p>
        </p:txBody>
      </p:sp>
      <p:grpSp>
        <p:nvGrpSpPr>
          <p:cNvPr id="47" name="Group 46">
            <a:extLst>
              <a:ext uri="{FF2B5EF4-FFF2-40B4-BE49-F238E27FC236}">
                <a16:creationId xmlns:a16="http://schemas.microsoft.com/office/drawing/2014/main" id="{9F6510D4-5C14-4C49-9E12-FE70AD2BF8B5}"/>
              </a:ext>
            </a:extLst>
          </p:cNvPr>
          <p:cNvGrpSpPr/>
          <p:nvPr userDrawn="1"/>
        </p:nvGrpSpPr>
        <p:grpSpPr>
          <a:xfrm>
            <a:off x="574987" y="-246933"/>
            <a:ext cx="11040535" cy="7347304"/>
            <a:chOff x="431240" y="-246933"/>
            <a:chExt cx="8280401" cy="7347304"/>
          </a:xfrm>
        </p:grpSpPr>
        <p:grpSp>
          <p:nvGrpSpPr>
            <p:cNvPr id="48" name="Group 47">
              <a:extLst>
                <a:ext uri="{FF2B5EF4-FFF2-40B4-BE49-F238E27FC236}">
                  <a16:creationId xmlns:a16="http://schemas.microsoft.com/office/drawing/2014/main" id="{7065C18E-D64F-7245-813C-B6B447EDB421}"/>
                </a:ext>
              </a:extLst>
            </p:cNvPr>
            <p:cNvGrpSpPr/>
            <p:nvPr userDrawn="1"/>
          </p:nvGrpSpPr>
          <p:grpSpPr>
            <a:xfrm>
              <a:off x="431242" y="6864579"/>
              <a:ext cx="8280398" cy="235792"/>
              <a:chOff x="431801" y="-235792"/>
              <a:chExt cx="4400550" cy="235792"/>
            </a:xfrm>
          </p:grpSpPr>
          <p:cxnSp>
            <p:nvCxnSpPr>
              <p:cNvPr id="87" name="Straight Connector 86">
                <a:extLst>
                  <a:ext uri="{FF2B5EF4-FFF2-40B4-BE49-F238E27FC236}">
                    <a16:creationId xmlns:a16="http://schemas.microsoft.com/office/drawing/2014/main" id="{0395E244-87CF-F140-BD60-3FFD9A25D3E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B59353F5-2397-5A4B-9D6C-2A5B3826216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9" name="Group 48">
              <a:extLst>
                <a:ext uri="{FF2B5EF4-FFF2-40B4-BE49-F238E27FC236}">
                  <a16:creationId xmlns:a16="http://schemas.microsoft.com/office/drawing/2014/main" id="{6A29AC13-8431-6247-9605-4DE6AC19757E}"/>
                </a:ext>
              </a:extLst>
            </p:cNvPr>
            <p:cNvGrpSpPr/>
            <p:nvPr userDrawn="1"/>
          </p:nvGrpSpPr>
          <p:grpSpPr>
            <a:xfrm>
              <a:off x="431240" y="-246933"/>
              <a:ext cx="8280401" cy="235792"/>
              <a:chOff x="431800" y="-240735"/>
              <a:chExt cx="8280401" cy="235792"/>
            </a:xfrm>
          </p:grpSpPr>
          <p:grpSp>
            <p:nvGrpSpPr>
              <p:cNvPr id="50" name="Group 49">
                <a:extLst>
                  <a:ext uri="{FF2B5EF4-FFF2-40B4-BE49-F238E27FC236}">
                    <a16:creationId xmlns:a16="http://schemas.microsoft.com/office/drawing/2014/main" id="{91174909-64CA-EF47-A0A7-204423290ECC}"/>
                  </a:ext>
                </a:extLst>
              </p:cNvPr>
              <p:cNvGrpSpPr/>
              <p:nvPr userDrawn="1"/>
            </p:nvGrpSpPr>
            <p:grpSpPr>
              <a:xfrm>
                <a:off x="431800" y="-240735"/>
                <a:ext cx="8280400" cy="235792"/>
                <a:chOff x="431800" y="-235792"/>
                <a:chExt cx="4400551" cy="235792"/>
              </a:xfrm>
            </p:grpSpPr>
            <p:cxnSp>
              <p:nvCxnSpPr>
                <p:cNvPr id="54" name="Straight Connector 53">
                  <a:extLst>
                    <a:ext uri="{FF2B5EF4-FFF2-40B4-BE49-F238E27FC236}">
                      <a16:creationId xmlns:a16="http://schemas.microsoft.com/office/drawing/2014/main" id="{34D91FED-26CC-F144-8BF9-DB64124B41B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97B6B19F-FF08-ED4B-9CCD-CAFF7BF049B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1D02FAC6-DC5B-A746-8EF4-D6DB84FFA3D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51" name="TextBox 50">
                <a:extLst>
                  <a:ext uri="{FF2B5EF4-FFF2-40B4-BE49-F238E27FC236}">
                    <a16:creationId xmlns:a16="http://schemas.microsoft.com/office/drawing/2014/main" id="{20F36343-BBC2-4349-A0F2-4B2E7BBD79F8}"/>
                  </a:ext>
                </a:extLst>
              </p:cNvPr>
              <p:cNvSpPr txBox="1"/>
              <p:nvPr userDrawn="1"/>
            </p:nvSpPr>
            <p:spPr>
              <a:xfrm>
                <a:off x="3914336" y="-176700"/>
                <a:ext cx="1315339"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52" name="Straight Arrow Connector 51">
                <a:extLst>
                  <a:ext uri="{FF2B5EF4-FFF2-40B4-BE49-F238E27FC236}">
                    <a16:creationId xmlns:a16="http://schemas.microsoft.com/office/drawing/2014/main" id="{BCE10A83-4DF9-CA4C-8F3D-16220DA1460D}"/>
                  </a:ext>
                </a:extLst>
              </p:cNvPr>
              <p:cNvCxnSpPr>
                <a:cxnSpLocks/>
                <a:stCxn id="51" idx="1"/>
                <a:endCxn id="86" idx="2"/>
              </p:cNvCxnSpPr>
              <p:nvPr userDrawn="1"/>
            </p:nvCxnSpPr>
            <p:spPr>
              <a:xfrm flipH="1">
                <a:off x="431801" y="-122839"/>
                <a:ext cx="3482535"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3" name="Straight Arrow Connector 52">
                <a:extLst>
                  <a:ext uri="{FF2B5EF4-FFF2-40B4-BE49-F238E27FC236}">
                    <a16:creationId xmlns:a16="http://schemas.microsoft.com/office/drawing/2014/main" id="{0A539B45-3509-C647-A3C5-4AB4B3F91D32}"/>
                  </a:ext>
                </a:extLst>
              </p:cNvPr>
              <p:cNvCxnSpPr>
                <a:cxnSpLocks/>
                <a:stCxn id="51" idx="3"/>
                <a:endCxn id="86" idx="0"/>
              </p:cNvCxnSpPr>
              <p:nvPr userDrawn="1"/>
            </p:nvCxnSpPr>
            <p:spPr>
              <a:xfrm flipV="1">
                <a:off x="5229674" y="-122840"/>
                <a:ext cx="3482527"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
        <p:nvSpPr>
          <p:cNvPr id="84" name="Title 83">
            <a:extLst>
              <a:ext uri="{FF2B5EF4-FFF2-40B4-BE49-F238E27FC236}">
                <a16:creationId xmlns:a16="http://schemas.microsoft.com/office/drawing/2014/main" id="{64CD73FF-2E31-1A4E-8872-F3F9A238AF84}"/>
              </a:ext>
            </a:extLst>
          </p:cNvPr>
          <p:cNvSpPr>
            <a:spLocks noGrp="1"/>
          </p:cNvSpPr>
          <p:nvPr>
            <p:ph type="title" hasCustomPrompt="1"/>
          </p:nvPr>
        </p:nvSpPr>
        <p:spPr>
          <a:xfrm>
            <a:off x="1" y="-600"/>
            <a:ext cx="7709696" cy="6859200"/>
          </a:xfrm>
          <a:custGeom>
            <a:avLst/>
            <a:gdLst>
              <a:gd name="connsiteX0" fmla="*/ 0 w 7709696"/>
              <a:gd name="connsiteY0" fmla="*/ 0 h 6859200"/>
              <a:gd name="connsiteX1" fmla="*/ 2186236 w 7709696"/>
              <a:gd name="connsiteY1" fmla="*/ 0 h 6859200"/>
              <a:gd name="connsiteX2" fmla="*/ 2186236 w 7709696"/>
              <a:gd name="connsiteY2" fmla="*/ 601 h 6859200"/>
              <a:gd name="connsiteX3" fmla="*/ 4452821 w 7709696"/>
              <a:gd name="connsiteY3" fmla="*/ 601 h 6859200"/>
              <a:gd name="connsiteX4" fmla="*/ 7709696 w 7709696"/>
              <a:gd name="connsiteY4" fmla="*/ 6858600 h 6859200"/>
              <a:gd name="connsiteX5" fmla="*/ 2186236 w 7709696"/>
              <a:gd name="connsiteY5" fmla="*/ 6858600 h 6859200"/>
              <a:gd name="connsiteX6" fmla="*/ 2186236 w 7709696"/>
              <a:gd name="connsiteY6" fmla="*/ 6859200 h 6859200"/>
              <a:gd name="connsiteX7" fmla="*/ 0 w 7709696"/>
              <a:gd name="connsiteY7" fmla="*/ 6859200 h 685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709696" h="6859200">
                <a:moveTo>
                  <a:pt x="0" y="0"/>
                </a:moveTo>
                <a:lnTo>
                  <a:pt x="2186236" y="0"/>
                </a:lnTo>
                <a:lnTo>
                  <a:pt x="2186236" y="601"/>
                </a:lnTo>
                <a:lnTo>
                  <a:pt x="4452821" y="601"/>
                </a:lnTo>
                <a:lnTo>
                  <a:pt x="7709696" y="6858600"/>
                </a:lnTo>
                <a:lnTo>
                  <a:pt x="2186236" y="6858600"/>
                </a:lnTo>
                <a:lnTo>
                  <a:pt x="2186236" y="6859200"/>
                </a:lnTo>
                <a:lnTo>
                  <a:pt x="0" y="6859200"/>
                </a:lnTo>
                <a:close/>
              </a:path>
            </a:pathLst>
          </a:custGeom>
          <a:gradFill>
            <a:gsLst>
              <a:gs pos="0">
                <a:schemeClr val="accent1">
                  <a:alpha val="95000"/>
                </a:schemeClr>
              </a:gs>
              <a:gs pos="97000">
                <a:schemeClr val="accent1">
                  <a:alpha val="80000"/>
                </a:schemeClr>
              </a:gs>
            </a:gsLst>
            <a:lin ang="5400000" scaled="0"/>
          </a:gradFill>
        </p:spPr>
        <p:txBody>
          <a:bodyPr wrap="square" lIns="576000" tIns="360000" rIns="1080000" bIns="612000" anchor="b">
            <a:noAutofit/>
          </a:bodyPr>
          <a:lstStyle>
            <a:lvl1pPr>
              <a:defRPr sz="3600">
                <a:solidFill>
                  <a:schemeClr val="bg1"/>
                </a:solidFill>
              </a:defRPr>
            </a:lvl1pPr>
          </a:lstStyle>
          <a:p>
            <a:pPr lvl="0"/>
            <a:r>
              <a:rPr lang="en-US"/>
              <a:t>Click to add section title. </a:t>
            </a:r>
            <a:br>
              <a:rPr lang="en-US"/>
            </a:br>
            <a:r>
              <a:rPr lang="en-US"/>
              <a:t>3 lines max.</a:t>
            </a:r>
          </a:p>
        </p:txBody>
      </p:sp>
    </p:spTree>
    <p:extLst>
      <p:ext uri="{BB962C8B-B14F-4D97-AF65-F5344CB8AC3E}">
        <p14:creationId xmlns:p14="http://schemas.microsoft.com/office/powerpoint/2010/main" val="409910372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One Graphic">
    <p:spTree>
      <p:nvGrpSpPr>
        <p:cNvPr id="1" name=""/>
        <p:cNvGrpSpPr/>
        <p:nvPr/>
      </p:nvGrpSpPr>
      <p:grpSpPr>
        <a:xfrm>
          <a:off x="0" y="0"/>
          <a:ext cx="0" cy="0"/>
          <a:chOff x="0" y="0"/>
          <a:chExt cx="0" cy="0"/>
        </a:xfrm>
      </p:grpSpPr>
      <p:sp>
        <p:nvSpPr>
          <p:cNvPr id="78" name="Picture Placeholder 77">
            <a:extLst>
              <a:ext uri="{FF2B5EF4-FFF2-40B4-BE49-F238E27FC236}">
                <a16:creationId xmlns:a16="http://schemas.microsoft.com/office/drawing/2014/main" id="{8899C19D-002F-AA43-B794-D3EAED42F093}"/>
              </a:ext>
            </a:extLst>
          </p:cNvPr>
          <p:cNvSpPr>
            <a:spLocks noGrp="1"/>
          </p:cNvSpPr>
          <p:nvPr>
            <p:ph type="pic" sz="quarter" idx="1004" hasCustomPrompt="1"/>
          </p:nvPr>
        </p:nvSpPr>
        <p:spPr>
          <a:xfrm>
            <a:off x="0" y="2"/>
            <a:ext cx="12192000" cy="6857999"/>
          </a:xfrm>
          <a:custGeom>
            <a:avLst/>
            <a:gdLst>
              <a:gd name="connsiteX0" fmla="*/ 8381735 w 9144000"/>
              <a:gd name="connsiteY0" fmla="*/ 6576021 h 6857999"/>
              <a:gd name="connsiteX1" fmla="*/ 8398942 w 9144000"/>
              <a:gd name="connsiteY1" fmla="*/ 6577876 h 6857999"/>
              <a:gd name="connsiteX2" fmla="*/ 8407847 w 9144000"/>
              <a:gd name="connsiteY2" fmla="*/ 6584665 h 6857999"/>
              <a:gd name="connsiteX3" fmla="*/ 8413547 w 9144000"/>
              <a:gd name="connsiteY3" fmla="*/ 6594990 h 6857999"/>
              <a:gd name="connsiteX4" fmla="*/ 8415584 w 9144000"/>
              <a:gd name="connsiteY4" fmla="*/ 6608202 h 6857999"/>
              <a:gd name="connsiteX5" fmla="*/ 8413646 w 9144000"/>
              <a:gd name="connsiteY5" fmla="*/ 6621273 h 6857999"/>
              <a:gd name="connsiteX6" fmla="*/ 8407947 w 9144000"/>
              <a:gd name="connsiteY6" fmla="*/ 6631668 h 6857999"/>
              <a:gd name="connsiteX7" fmla="*/ 8375887 w 9144000"/>
              <a:gd name="connsiteY7" fmla="*/ 6638513 h 6857999"/>
              <a:gd name="connsiteX8" fmla="*/ 8366910 w 9144000"/>
              <a:gd name="connsiteY8" fmla="*/ 6631668 h 6857999"/>
              <a:gd name="connsiteX9" fmla="*/ 8361211 w 9144000"/>
              <a:gd name="connsiteY9" fmla="*/ 6621273 h 6857999"/>
              <a:gd name="connsiteX10" fmla="*/ 8359045 w 9144000"/>
              <a:gd name="connsiteY10" fmla="*/ 6608202 h 6857999"/>
              <a:gd name="connsiteX11" fmla="*/ 8361097 w 9144000"/>
              <a:gd name="connsiteY11" fmla="*/ 6594990 h 6857999"/>
              <a:gd name="connsiteX12" fmla="*/ 8366796 w 9144000"/>
              <a:gd name="connsiteY12" fmla="*/ 6584665 h 6857999"/>
              <a:gd name="connsiteX13" fmla="*/ 8381735 w 9144000"/>
              <a:gd name="connsiteY13" fmla="*/ 6576021 h 6857999"/>
              <a:gd name="connsiteX14" fmla="*/ 8525633 w 9144000"/>
              <a:gd name="connsiteY14" fmla="*/ 6553485 h 6857999"/>
              <a:gd name="connsiteX15" fmla="*/ 8525633 w 9144000"/>
              <a:gd name="connsiteY15" fmla="*/ 6599431 h 6857999"/>
              <a:gd name="connsiteX16" fmla="*/ 8525633 w 9144000"/>
              <a:gd name="connsiteY16" fmla="*/ 6662772 h 6857999"/>
              <a:gd name="connsiteX17" fmla="*/ 8595623 w 9144000"/>
              <a:gd name="connsiteY17" fmla="*/ 6662772 h 6857999"/>
              <a:gd name="connsiteX18" fmla="*/ 8596022 w 9144000"/>
              <a:gd name="connsiteY18" fmla="*/ 6662772 h 6857999"/>
              <a:gd name="connsiteX19" fmla="*/ 8596022 w 9144000"/>
              <a:gd name="connsiteY19" fmla="*/ 6645771 h 6857999"/>
              <a:gd name="connsiteX20" fmla="*/ 8595623 w 9144000"/>
              <a:gd name="connsiteY20" fmla="*/ 6645771 h 6857999"/>
              <a:gd name="connsiteX21" fmla="*/ 8595623 w 9144000"/>
              <a:gd name="connsiteY21" fmla="*/ 6639673 h 6857999"/>
              <a:gd name="connsiteX22" fmla="*/ 8551295 w 9144000"/>
              <a:gd name="connsiteY22" fmla="*/ 6639673 h 6857999"/>
              <a:gd name="connsiteX23" fmla="*/ 8551295 w 9144000"/>
              <a:gd name="connsiteY23" fmla="*/ 6618348 h 6857999"/>
              <a:gd name="connsiteX24" fmla="*/ 8591705 w 9144000"/>
              <a:gd name="connsiteY24" fmla="*/ 6618348 h 6857999"/>
              <a:gd name="connsiteX25" fmla="*/ 8591705 w 9144000"/>
              <a:gd name="connsiteY25" fmla="*/ 6596276 h 6857999"/>
              <a:gd name="connsiteX26" fmla="*/ 8551295 w 9144000"/>
              <a:gd name="connsiteY26" fmla="*/ 6596276 h 6857999"/>
              <a:gd name="connsiteX27" fmla="*/ 8551295 w 9144000"/>
              <a:gd name="connsiteY27" fmla="*/ 6576754 h 6857999"/>
              <a:gd name="connsiteX28" fmla="*/ 8595623 w 9144000"/>
              <a:gd name="connsiteY28" fmla="*/ 6576754 h 6857999"/>
              <a:gd name="connsiteX29" fmla="*/ 8595623 w 9144000"/>
              <a:gd name="connsiteY29" fmla="*/ 6570486 h 6857999"/>
              <a:gd name="connsiteX30" fmla="*/ 8596022 w 9144000"/>
              <a:gd name="connsiteY30" fmla="*/ 6570486 h 6857999"/>
              <a:gd name="connsiteX31" fmla="*/ 8596022 w 9144000"/>
              <a:gd name="connsiteY31" fmla="*/ 6553485 h 6857999"/>
              <a:gd name="connsiteX32" fmla="*/ 8595623 w 9144000"/>
              <a:gd name="connsiteY32" fmla="*/ 6553485 h 6857999"/>
              <a:gd name="connsiteX33" fmla="*/ 8547362 w 9144000"/>
              <a:gd name="connsiteY33" fmla="*/ 6553485 h 6857999"/>
              <a:gd name="connsiteX34" fmla="*/ 8448177 w 9144000"/>
              <a:gd name="connsiteY34" fmla="*/ 6553485 h 6857999"/>
              <a:gd name="connsiteX35" fmla="*/ 8448177 w 9144000"/>
              <a:gd name="connsiteY35" fmla="*/ 6599431 h 6857999"/>
              <a:gd name="connsiteX36" fmla="*/ 8448177 w 9144000"/>
              <a:gd name="connsiteY36" fmla="*/ 6662772 h 6857999"/>
              <a:gd name="connsiteX37" fmla="*/ 8518167 w 9144000"/>
              <a:gd name="connsiteY37" fmla="*/ 6662772 h 6857999"/>
              <a:gd name="connsiteX38" fmla="*/ 8518552 w 9144000"/>
              <a:gd name="connsiteY38" fmla="*/ 6662772 h 6857999"/>
              <a:gd name="connsiteX39" fmla="*/ 8518552 w 9144000"/>
              <a:gd name="connsiteY39" fmla="*/ 6645771 h 6857999"/>
              <a:gd name="connsiteX40" fmla="*/ 8518167 w 9144000"/>
              <a:gd name="connsiteY40" fmla="*/ 6645771 h 6857999"/>
              <a:gd name="connsiteX41" fmla="*/ 8518167 w 9144000"/>
              <a:gd name="connsiteY41" fmla="*/ 6639673 h 6857999"/>
              <a:gd name="connsiteX42" fmla="*/ 8473825 w 9144000"/>
              <a:gd name="connsiteY42" fmla="*/ 6639673 h 6857999"/>
              <a:gd name="connsiteX43" fmla="*/ 8473825 w 9144000"/>
              <a:gd name="connsiteY43" fmla="*/ 6618348 h 6857999"/>
              <a:gd name="connsiteX44" fmla="*/ 8514235 w 9144000"/>
              <a:gd name="connsiteY44" fmla="*/ 6618348 h 6857999"/>
              <a:gd name="connsiteX45" fmla="*/ 8514235 w 9144000"/>
              <a:gd name="connsiteY45" fmla="*/ 6596276 h 6857999"/>
              <a:gd name="connsiteX46" fmla="*/ 8473825 w 9144000"/>
              <a:gd name="connsiteY46" fmla="*/ 6596276 h 6857999"/>
              <a:gd name="connsiteX47" fmla="*/ 8473825 w 9144000"/>
              <a:gd name="connsiteY47" fmla="*/ 6576754 h 6857999"/>
              <a:gd name="connsiteX48" fmla="*/ 8518167 w 9144000"/>
              <a:gd name="connsiteY48" fmla="*/ 6576754 h 6857999"/>
              <a:gd name="connsiteX49" fmla="*/ 8518167 w 9144000"/>
              <a:gd name="connsiteY49" fmla="*/ 6570486 h 6857999"/>
              <a:gd name="connsiteX50" fmla="*/ 8518552 w 9144000"/>
              <a:gd name="connsiteY50" fmla="*/ 6570486 h 6857999"/>
              <a:gd name="connsiteX51" fmla="*/ 8518552 w 9144000"/>
              <a:gd name="connsiteY51" fmla="*/ 6553485 h 6857999"/>
              <a:gd name="connsiteX52" fmla="*/ 8518167 w 9144000"/>
              <a:gd name="connsiteY52" fmla="*/ 6553485 h 6857999"/>
              <a:gd name="connsiteX53" fmla="*/ 8469892 w 9144000"/>
              <a:gd name="connsiteY53" fmla="*/ 6553485 h 6857999"/>
              <a:gd name="connsiteX54" fmla="*/ 8387913 w 9144000"/>
              <a:gd name="connsiteY54" fmla="*/ 6553452 h 6857999"/>
              <a:gd name="connsiteX55" fmla="*/ 8365286 w 9144000"/>
              <a:gd name="connsiteY55" fmla="*/ 6557678 h 6857999"/>
              <a:gd name="connsiteX56" fmla="*/ 8357150 w 9144000"/>
              <a:gd name="connsiteY56" fmla="*/ 6561805 h 6857999"/>
              <a:gd name="connsiteX57" fmla="*/ 8332784 w 9144000"/>
              <a:gd name="connsiteY57" fmla="*/ 6613371 h 6857999"/>
              <a:gd name="connsiteX58" fmla="*/ 8336389 w 9144000"/>
              <a:gd name="connsiteY58" fmla="*/ 6629851 h 6857999"/>
              <a:gd name="connsiteX59" fmla="*/ 8364431 w 9144000"/>
              <a:gd name="connsiteY59" fmla="*/ 6658584 h 6857999"/>
              <a:gd name="connsiteX60" fmla="*/ 8386916 w 9144000"/>
              <a:gd name="connsiteY60" fmla="*/ 6662810 h 6857999"/>
              <a:gd name="connsiteX61" fmla="*/ 8409486 w 9144000"/>
              <a:gd name="connsiteY61" fmla="*/ 6658584 h 6857999"/>
              <a:gd name="connsiteX62" fmla="*/ 8426926 w 9144000"/>
              <a:gd name="connsiteY62" fmla="*/ 6647105 h 6857999"/>
              <a:gd name="connsiteX63" fmla="*/ 8438240 w 9144000"/>
              <a:gd name="connsiteY63" fmla="*/ 6629851 h 6857999"/>
              <a:gd name="connsiteX64" fmla="*/ 8442258 w 9144000"/>
              <a:gd name="connsiteY64" fmla="*/ 6608202 h 6857999"/>
              <a:gd name="connsiteX65" fmla="*/ 8438397 w 9144000"/>
              <a:gd name="connsiteY65" fmla="*/ 6586468 h 6857999"/>
              <a:gd name="connsiteX66" fmla="*/ 8427439 w 9144000"/>
              <a:gd name="connsiteY66" fmla="*/ 6569157 h 6857999"/>
              <a:gd name="connsiteX67" fmla="*/ 8410341 w 9144000"/>
              <a:gd name="connsiteY67" fmla="*/ 6557678 h 6857999"/>
              <a:gd name="connsiteX68" fmla="*/ 8387913 w 9144000"/>
              <a:gd name="connsiteY68" fmla="*/ 6553452 h 6857999"/>
              <a:gd name="connsiteX69" fmla="*/ 8245203 w 9144000"/>
              <a:gd name="connsiteY69" fmla="*/ 6553105 h 6857999"/>
              <a:gd name="connsiteX70" fmla="*/ 8261546 w 9144000"/>
              <a:gd name="connsiteY70" fmla="*/ 6587177 h 6857999"/>
              <a:gd name="connsiteX71" fmla="*/ 8288505 w 9144000"/>
              <a:gd name="connsiteY71" fmla="*/ 6587177 h 6857999"/>
              <a:gd name="connsiteX72" fmla="*/ 8274156 w 9144000"/>
              <a:gd name="connsiteY72" fmla="*/ 6553105 h 6857999"/>
              <a:gd name="connsiteX73" fmla="*/ 8325053 w 9144000"/>
              <a:gd name="connsiteY73" fmla="*/ 6553091 h 6857999"/>
              <a:gd name="connsiteX74" fmla="*/ 8299363 w 9144000"/>
              <a:gd name="connsiteY74" fmla="*/ 6612221 h 6857999"/>
              <a:gd name="connsiteX75" fmla="*/ 8292395 w 9144000"/>
              <a:gd name="connsiteY75" fmla="*/ 6595882 h 6857999"/>
              <a:gd name="connsiteX76" fmla="*/ 8265650 w 9144000"/>
              <a:gd name="connsiteY76" fmla="*/ 6595882 h 6857999"/>
              <a:gd name="connsiteX77" fmla="*/ 8297582 w 9144000"/>
              <a:gd name="connsiteY77" fmla="*/ 6662547 h 6857999"/>
              <a:gd name="connsiteX78" fmla="*/ 8300545 w 9144000"/>
              <a:gd name="connsiteY78" fmla="*/ 6662547 h 6857999"/>
              <a:gd name="connsiteX79" fmla="*/ 8352283 w 9144000"/>
              <a:gd name="connsiteY79" fmla="*/ 6553091 h 6857999"/>
              <a:gd name="connsiteX80" fmla="*/ 8704282 w 9144000"/>
              <a:gd name="connsiteY80" fmla="*/ 6515553 h 6857999"/>
              <a:gd name="connsiteX81" fmla="*/ 8704282 w 9144000"/>
              <a:gd name="connsiteY81" fmla="*/ 6690481 h 6857999"/>
              <a:gd name="connsiteX82" fmla="*/ 8723671 w 9144000"/>
              <a:gd name="connsiteY82" fmla="*/ 6690481 h 6857999"/>
              <a:gd name="connsiteX83" fmla="*/ 8723671 w 9144000"/>
              <a:gd name="connsiteY83" fmla="*/ 6515553 h 6857999"/>
              <a:gd name="connsiteX84" fmla="*/ 0 w 9144000"/>
              <a:gd name="connsiteY84" fmla="*/ 0 h 6857999"/>
              <a:gd name="connsiteX85" fmla="*/ 9144000 w 9144000"/>
              <a:gd name="connsiteY85" fmla="*/ 0 h 6857999"/>
              <a:gd name="connsiteX86" fmla="*/ 9144000 w 9144000"/>
              <a:gd name="connsiteY86" fmla="*/ 6199631 h 6857999"/>
              <a:gd name="connsiteX87" fmla="*/ 9144000 w 9144000"/>
              <a:gd name="connsiteY87" fmla="*/ 6293057 h 6857999"/>
              <a:gd name="connsiteX88" fmla="*/ 9144000 w 9144000"/>
              <a:gd name="connsiteY88" fmla="*/ 6857999 h 6857999"/>
              <a:gd name="connsiteX89" fmla="*/ 8995529 w 9144000"/>
              <a:gd name="connsiteY89" fmla="*/ 6857999 h 6857999"/>
              <a:gd name="connsiteX90" fmla="*/ 7924718 w 9144000"/>
              <a:gd name="connsiteY90" fmla="*/ 6857999 h 6857999"/>
              <a:gd name="connsiteX91" fmla="*/ 0 w 9144000"/>
              <a:gd name="connsiteY91" fmla="*/ 6857999 h 6857999"/>
              <a:gd name="connsiteX92" fmla="*/ 0 w 9144000"/>
              <a:gd name="connsiteY92" fmla="*/ 6293057 h 6857999"/>
              <a:gd name="connsiteX93" fmla="*/ 0 w 9144000"/>
              <a:gd name="connsiteY93" fmla="*/ 6199631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9144000" h="6857999">
                <a:moveTo>
                  <a:pt x="8381735" y="6576021"/>
                </a:moveTo>
                <a:cubicBezTo>
                  <a:pt x="8387385" y="6574828"/>
                  <a:pt x="8393413" y="6575384"/>
                  <a:pt x="8398942" y="6577876"/>
                </a:cubicBezTo>
                <a:cubicBezTo>
                  <a:pt x="8402361" y="6579494"/>
                  <a:pt x="8405396" y="6581807"/>
                  <a:pt x="8407847" y="6584665"/>
                </a:cubicBezTo>
                <a:cubicBezTo>
                  <a:pt x="8410387" y="6587722"/>
                  <a:pt x="8412320" y="6591225"/>
                  <a:pt x="8413547" y="6594990"/>
                </a:cubicBezTo>
                <a:cubicBezTo>
                  <a:pt x="8414952" y="6599254"/>
                  <a:pt x="8415640" y="6603717"/>
                  <a:pt x="8415584" y="6608202"/>
                </a:cubicBezTo>
                <a:cubicBezTo>
                  <a:pt x="8415665" y="6612634"/>
                  <a:pt x="8415011" y="6617050"/>
                  <a:pt x="8413646" y="6621273"/>
                </a:cubicBezTo>
                <a:cubicBezTo>
                  <a:pt x="8412411" y="6625055"/>
                  <a:pt x="8410478" y="6628579"/>
                  <a:pt x="8407947" y="6631668"/>
                </a:cubicBezTo>
                <a:cubicBezTo>
                  <a:pt x="8399972" y="6640714"/>
                  <a:pt x="8386928" y="6643499"/>
                  <a:pt x="8375887" y="6638513"/>
                </a:cubicBezTo>
                <a:cubicBezTo>
                  <a:pt x="8372423" y="6636910"/>
                  <a:pt x="8369358" y="6634573"/>
                  <a:pt x="8366910" y="6631668"/>
                </a:cubicBezTo>
                <a:cubicBezTo>
                  <a:pt x="8364379" y="6628579"/>
                  <a:pt x="8362446" y="6625055"/>
                  <a:pt x="8361211" y="6621273"/>
                </a:cubicBezTo>
                <a:cubicBezTo>
                  <a:pt x="8359769" y="6617062"/>
                  <a:pt x="8359038" y="6612646"/>
                  <a:pt x="8359045" y="6608202"/>
                </a:cubicBezTo>
                <a:cubicBezTo>
                  <a:pt x="8358993" y="6603716"/>
                  <a:pt x="8359686" y="6599253"/>
                  <a:pt x="8361097" y="6594990"/>
                </a:cubicBezTo>
                <a:cubicBezTo>
                  <a:pt x="8362323" y="6591225"/>
                  <a:pt x="8364257" y="6587722"/>
                  <a:pt x="8366796" y="6584665"/>
                </a:cubicBezTo>
                <a:cubicBezTo>
                  <a:pt x="8370813" y="6580157"/>
                  <a:pt x="8376085" y="6577214"/>
                  <a:pt x="8381735" y="6576021"/>
                </a:cubicBezTo>
                <a:close/>
                <a:moveTo>
                  <a:pt x="8525633" y="6553485"/>
                </a:moveTo>
                <a:lnTo>
                  <a:pt x="8525633" y="6599431"/>
                </a:lnTo>
                <a:lnTo>
                  <a:pt x="8525633" y="6662772"/>
                </a:lnTo>
                <a:lnTo>
                  <a:pt x="8595623" y="6662772"/>
                </a:lnTo>
                <a:lnTo>
                  <a:pt x="8596022" y="6662772"/>
                </a:lnTo>
                <a:lnTo>
                  <a:pt x="8596022" y="6645771"/>
                </a:lnTo>
                <a:lnTo>
                  <a:pt x="8595623" y="6645771"/>
                </a:lnTo>
                <a:lnTo>
                  <a:pt x="8595623" y="6639673"/>
                </a:lnTo>
                <a:lnTo>
                  <a:pt x="8551295" y="6639673"/>
                </a:lnTo>
                <a:lnTo>
                  <a:pt x="8551295" y="6618348"/>
                </a:lnTo>
                <a:lnTo>
                  <a:pt x="8591705" y="6618348"/>
                </a:lnTo>
                <a:lnTo>
                  <a:pt x="8591705" y="6596276"/>
                </a:lnTo>
                <a:lnTo>
                  <a:pt x="8551295" y="6596276"/>
                </a:lnTo>
                <a:lnTo>
                  <a:pt x="8551295" y="6576754"/>
                </a:lnTo>
                <a:lnTo>
                  <a:pt x="8595623" y="6576754"/>
                </a:lnTo>
                <a:lnTo>
                  <a:pt x="8595623" y="6570486"/>
                </a:lnTo>
                <a:lnTo>
                  <a:pt x="8596022" y="6570486"/>
                </a:lnTo>
                <a:lnTo>
                  <a:pt x="8596022" y="6553485"/>
                </a:lnTo>
                <a:lnTo>
                  <a:pt x="8595623" y="6553485"/>
                </a:lnTo>
                <a:lnTo>
                  <a:pt x="8547362" y="6553485"/>
                </a:lnTo>
                <a:close/>
                <a:moveTo>
                  <a:pt x="8448177" y="6553485"/>
                </a:moveTo>
                <a:lnTo>
                  <a:pt x="8448177" y="6599431"/>
                </a:lnTo>
                <a:lnTo>
                  <a:pt x="8448177" y="6662772"/>
                </a:lnTo>
                <a:lnTo>
                  <a:pt x="8518167" y="6662772"/>
                </a:lnTo>
                <a:lnTo>
                  <a:pt x="8518552" y="6662772"/>
                </a:lnTo>
                <a:lnTo>
                  <a:pt x="8518552" y="6645771"/>
                </a:lnTo>
                <a:lnTo>
                  <a:pt x="8518167" y="6645771"/>
                </a:lnTo>
                <a:lnTo>
                  <a:pt x="8518167" y="6639673"/>
                </a:lnTo>
                <a:lnTo>
                  <a:pt x="8473825" y="6639673"/>
                </a:lnTo>
                <a:lnTo>
                  <a:pt x="8473825" y="6618348"/>
                </a:lnTo>
                <a:lnTo>
                  <a:pt x="8514235" y="6618348"/>
                </a:lnTo>
                <a:lnTo>
                  <a:pt x="8514235" y="6596276"/>
                </a:lnTo>
                <a:lnTo>
                  <a:pt x="8473825" y="6596276"/>
                </a:lnTo>
                <a:lnTo>
                  <a:pt x="8473825" y="6576754"/>
                </a:lnTo>
                <a:lnTo>
                  <a:pt x="8518167" y="6576754"/>
                </a:lnTo>
                <a:lnTo>
                  <a:pt x="8518167" y="6570486"/>
                </a:lnTo>
                <a:lnTo>
                  <a:pt x="8518552" y="6570486"/>
                </a:lnTo>
                <a:lnTo>
                  <a:pt x="8518552" y="6553485"/>
                </a:lnTo>
                <a:lnTo>
                  <a:pt x="8518167" y="6553485"/>
                </a:lnTo>
                <a:lnTo>
                  <a:pt x="8469892" y="6553485"/>
                </a:lnTo>
                <a:close/>
                <a:moveTo>
                  <a:pt x="8387913" y="6553452"/>
                </a:moveTo>
                <a:cubicBezTo>
                  <a:pt x="8380162" y="6553368"/>
                  <a:pt x="8372471" y="6554804"/>
                  <a:pt x="8365286" y="6557678"/>
                </a:cubicBezTo>
                <a:cubicBezTo>
                  <a:pt x="8362463" y="6558829"/>
                  <a:pt x="8359742" y="6560210"/>
                  <a:pt x="8357150" y="6561805"/>
                </a:cubicBezTo>
                <a:lnTo>
                  <a:pt x="8332784" y="6613371"/>
                </a:lnTo>
                <a:cubicBezTo>
                  <a:pt x="8333178" y="6619007"/>
                  <a:pt x="8334392" y="6624557"/>
                  <a:pt x="8336389" y="6629851"/>
                </a:cubicBezTo>
                <a:cubicBezTo>
                  <a:pt x="8341193" y="6642925"/>
                  <a:pt x="8351385" y="6653369"/>
                  <a:pt x="8364431" y="6658584"/>
                </a:cubicBezTo>
                <a:cubicBezTo>
                  <a:pt x="8371564" y="6661468"/>
                  <a:pt x="8379210" y="6662905"/>
                  <a:pt x="8386916" y="6662810"/>
                </a:cubicBezTo>
                <a:cubicBezTo>
                  <a:pt x="8394648" y="6662897"/>
                  <a:pt x="8402321" y="6661461"/>
                  <a:pt x="8409486" y="6658584"/>
                </a:cubicBezTo>
                <a:cubicBezTo>
                  <a:pt x="8416013" y="6655942"/>
                  <a:pt x="8421943" y="6652040"/>
                  <a:pt x="8426926" y="6647105"/>
                </a:cubicBezTo>
                <a:cubicBezTo>
                  <a:pt x="8431850" y="6642178"/>
                  <a:pt x="8435700" y="6636305"/>
                  <a:pt x="8438240" y="6629851"/>
                </a:cubicBezTo>
                <a:cubicBezTo>
                  <a:pt x="8440974" y="6622957"/>
                  <a:pt x="8442338" y="6615606"/>
                  <a:pt x="8442258" y="6608202"/>
                </a:cubicBezTo>
                <a:cubicBezTo>
                  <a:pt x="8442328" y="6600784"/>
                  <a:pt x="8441019" y="6593418"/>
                  <a:pt x="8438397" y="6586468"/>
                </a:cubicBezTo>
                <a:cubicBezTo>
                  <a:pt x="8435967" y="6580024"/>
                  <a:pt x="8432239" y="6574135"/>
                  <a:pt x="8427439" y="6569157"/>
                </a:cubicBezTo>
                <a:cubicBezTo>
                  <a:pt x="8422597" y="6564211"/>
                  <a:pt x="8416777" y="6560304"/>
                  <a:pt x="8410341" y="6557678"/>
                </a:cubicBezTo>
                <a:cubicBezTo>
                  <a:pt x="8403230" y="6554788"/>
                  <a:pt x="8395601" y="6553351"/>
                  <a:pt x="8387913" y="6553452"/>
                </a:cubicBezTo>
                <a:close/>
                <a:moveTo>
                  <a:pt x="8245203" y="6553105"/>
                </a:moveTo>
                <a:lnTo>
                  <a:pt x="8261546" y="6587177"/>
                </a:lnTo>
                <a:lnTo>
                  <a:pt x="8288505" y="6587177"/>
                </a:lnTo>
                <a:lnTo>
                  <a:pt x="8274156" y="6553105"/>
                </a:lnTo>
                <a:close/>
                <a:moveTo>
                  <a:pt x="8325053" y="6553091"/>
                </a:moveTo>
                <a:lnTo>
                  <a:pt x="8299363" y="6612221"/>
                </a:lnTo>
                <a:lnTo>
                  <a:pt x="8292395" y="6595882"/>
                </a:lnTo>
                <a:lnTo>
                  <a:pt x="8265650" y="6595882"/>
                </a:lnTo>
                <a:lnTo>
                  <a:pt x="8297582" y="6662547"/>
                </a:lnTo>
                <a:lnTo>
                  <a:pt x="8300545" y="6662547"/>
                </a:lnTo>
                <a:lnTo>
                  <a:pt x="8352283" y="6553091"/>
                </a:lnTo>
                <a:close/>
                <a:moveTo>
                  <a:pt x="8704282" y="6515553"/>
                </a:moveTo>
                <a:lnTo>
                  <a:pt x="8704282" y="6690481"/>
                </a:lnTo>
                <a:lnTo>
                  <a:pt x="8723671" y="6690481"/>
                </a:lnTo>
                <a:lnTo>
                  <a:pt x="8723671" y="6515553"/>
                </a:lnTo>
                <a:close/>
                <a:moveTo>
                  <a:pt x="0" y="0"/>
                </a:moveTo>
                <a:lnTo>
                  <a:pt x="9144000" y="0"/>
                </a:lnTo>
                <a:lnTo>
                  <a:pt x="9144000" y="6199631"/>
                </a:lnTo>
                <a:lnTo>
                  <a:pt x="9144000" y="6293057"/>
                </a:lnTo>
                <a:lnTo>
                  <a:pt x="9144000" y="6857999"/>
                </a:lnTo>
                <a:lnTo>
                  <a:pt x="8995529" y="6857999"/>
                </a:lnTo>
                <a:lnTo>
                  <a:pt x="7924718" y="6857999"/>
                </a:lnTo>
                <a:lnTo>
                  <a:pt x="0" y="6857999"/>
                </a:lnTo>
                <a:lnTo>
                  <a:pt x="0" y="6293057"/>
                </a:lnTo>
                <a:lnTo>
                  <a:pt x="0" y="6199631"/>
                </a:lnTo>
                <a:close/>
              </a:path>
            </a:pathLst>
          </a:custGeom>
          <a:solidFill>
            <a:srgbClr val="E8F3FD"/>
          </a:solidFill>
        </p:spPr>
        <p:txBody>
          <a:bodyPr wrap="square" anchor="ctr">
            <a:noAutofit/>
          </a:bodyPr>
          <a:lstStyle>
            <a:lvl1pPr algn="ctr">
              <a:defRPr b="0">
                <a:solidFill>
                  <a:schemeClr val="tx1">
                    <a:lumMod val="50000"/>
                    <a:lumOff val="50000"/>
                  </a:schemeClr>
                </a:solidFill>
              </a:defRPr>
            </a:lvl1pPr>
          </a:lstStyle>
          <a:p>
            <a:r>
              <a:rPr lang="en-US" dirty="0"/>
              <a:t>Click icon to add a pre-designed graphic</a:t>
            </a:r>
            <a:br>
              <a:rPr lang="en-US" dirty="0"/>
            </a:br>
            <a:r>
              <a:rPr lang="en-US" dirty="0"/>
              <a:t>(e.g. ranking, quote, or map)</a:t>
            </a:r>
          </a:p>
        </p:txBody>
      </p:sp>
      <p:sp>
        <p:nvSpPr>
          <p:cNvPr id="5" name="Title 4">
            <a:extLst>
              <a:ext uri="{FF2B5EF4-FFF2-40B4-BE49-F238E27FC236}">
                <a16:creationId xmlns:a16="http://schemas.microsoft.com/office/drawing/2014/main" id="{4D5405C3-B529-8445-891B-5DC49F4AC2AA}"/>
              </a:ext>
            </a:extLst>
          </p:cNvPr>
          <p:cNvSpPr>
            <a:spLocks noGrp="1"/>
          </p:cNvSpPr>
          <p:nvPr userDrawn="1">
            <p:ph type="title" hasCustomPrompt="1"/>
          </p:nvPr>
        </p:nvSpPr>
        <p:spPr/>
        <p:txBody>
          <a:bodyPr/>
          <a:lstStyle/>
          <a:p>
            <a:r>
              <a:rPr lang="en-US" dirty="0"/>
              <a:t>CLICK TO ADD Slide TITLE. ALL CAPS. TWO LINES max.</a:t>
            </a:r>
          </a:p>
        </p:txBody>
      </p:sp>
      <p:sp>
        <p:nvSpPr>
          <p:cNvPr id="1000" name="Footnotes Placeholder">
            <a:extLst>
              <a:ext uri="{FF2B5EF4-FFF2-40B4-BE49-F238E27FC236}">
                <a16:creationId xmlns:a16="http://schemas.microsoft.com/office/drawing/2014/main" id="{7689135C-1344-F94E-8F1C-BE454F6FBFBE}"/>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3" name="Date Placeholder 2">
            <a:extLst>
              <a:ext uri="{FF2B5EF4-FFF2-40B4-BE49-F238E27FC236}">
                <a16:creationId xmlns:a16="http://schemas.microsoft.com/office/drawing/2014/main" id="{10B0DF10-D944-7E44-8C33-475A3A1A8A9D}"/>
              </a:ext>
            </a:extLst>
          </p:cNvPr>
          <p:cNvSpPr>
            <a:spLocks noGrp="1"/>
          </p:cNvSpPr>
          <p:nvPr>
            <p:ph type="dt" sz="half" idx="101"/>
          </p:nvPr>
        </p:nvSpPr>
        <p:spPr/>
        <p:txBody>
          <a:bodyPr/>
          <a:lstStyle/>
          <a:p>
            <a:endParaRPr lang="en-US" dirty="0"/>
          </a:p>
        </p:txBody>
      </p:sp>
      <p:sp>
        <p:nvSpPr>
          <p:cNvPr id="7" name="Footer Placeholder 6">
            <a:extLst>
              <a:ext uri="{FF2B5EF4-FFF2-40B4-BE49-F238E27FC236}">
                <a16:creationId xmlns:a16="http://schemas.microsoft.com/office/drawing/2014/main" id="{2C4CCAAA-DF95-7842-8BC9-3F8AB6B46ED7}"/>
              </a:ext>
            </a:extLst>
          </p:cNvPr>
          <p:cNvSpPr>
            <a:spLocks noGrp="1"/>
          </p:cNvSpPr>
          <p:nvPr>
            <p:ph type="ftr" sz="quarter" idx="102"/>
          </p:nvPr>
        </p:nvSpPr>
        <p:spPr/>
        <p:txBody>
          <a:bodyPr/>
          <a:lstStyle/>
          <a:p>
            <a:endParaRPr lang="en-US" dirty="0"/>
          </a:p>
        </p:txBody>
      </p:sp>
      <p:sp>
        <p:nvSpPr>
          <p:cNvPr id="8" name="Slide Number Placeholder 7">
            <a:extLst>
              <a:ext uri="{FF2B5EF4-FFF2-40B4-BE49-F238E27FC236}">
                <a16:creationId xmlns:a16="http://schemas.microsoft.com/office/drawing/2014/main" id="{77E60850-6391-3041-B4D0-C92867F3DEB4}"/>
              </a:ext>
            </a:extLst>
          </p:cNvPr>
          <p:cNvSpPr>
            <a:spLocks noGrp="1"/>
          </p:cNvSpPr>
          <p:nvPr>
            <p:ph type="sldNum" sz="quarter" idx="103"/>
          </p:nvPr>
        </p:nvSpPr>
        <p:spPr>
          <a:noFill/>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44" name="Group 43">
            <a:extLst>
              <a:ext uri="{FF2B5EF4-FFF2-40B4-BE49-F238E27FC236}">
                <a16:creationId xmlns:a16="http://schemas.microsoft.com/office/drawing/2014/main" id="{67D02F64-F08E-0F4E-B529-5BC62DBE3DF1}"/>
              </a:ext>
            </a:extLst>
          </p:cNvPr>
          <p:cNvGrpSpPr/>
          <p:nvPr userDrawn="1"/>
        </p:nvGrpSpPr>
        <p:grpSpPr>
          <a:xfrm>
            <a:off x="12532243" y="-1"/>
            <a:ext cx="3832280" cy="6858001"/>
            <a:chOff x="9144000" y="-1"/>
            <a:chExt cx="2874210" cy="6858001"/>
          </a:xfrm>
        </p:grpSpPr>
        <p:sp>
          <p:nvSpPr>
            <p:cNvPr id="51" name="Rectangle 50">
              <a:extLst>
                <a:ext uri="{FF2B5EF4-FFF2-40B4-BE49-F238E27FC236}">
                  <a16:creationId xmlns:a16="http://schemas.microsoft.com/office/drawing/2014/main" id="{B502E77A-94C0-9946-8D2F-BE9E8B1B62E9}"/>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grpSp>
          <p:nvGrpSpPr>
            <p:cNvPr id="52" name="Group 51">
              <a:extLst>
                <a:ext uri="{FF2B5EF4-FFF2-40B4-BE49-F238E27FC236}">
                  <a16:creationId xmlns:a16="http://schemas.microsoft.com/office/drawing/2014/main" id="{527EA42E-6AC0-B547-9370-A426FC3DA920}"/>
                </a:ext>
              </a:extLst>
            </p:cNvPr>
            <p:cNvGrpSpPr/>
            <p:nvPr userDrawn="1"/>
          </p:nvGrpSpPr>
          <p:grpSpPr>
            <a:xfrm>
              <a:off x="9263395" y="150289"/>
              <a:ext cx="2754815" cy="6013825"/>
              <a:chOff x="9266651" y="185338"/>
              <a:chExt cx="2754815" cy="6013825"/>
            </a:xfrm>
          </p:grpSpPr>
          <p:sp>
            <p:nvSpPr>
              <p:cNvPr id="53" name="TextBox 52">
                <a:extLst>
                  <a:ext uri="{FF2B5EF4-FFF2-40B4-BE49-F238E27FC236}">
                    <a16:creationId xmlns:a16="http://schemas.microsoft.com/office/drawing/2014/main" id="{318F7B6C-E16E-7A45-B2AD-D99A7D30D7AC}"/>
                  </a:ext>
                </a:extLst>
              </p:cNvPr>
              <p:cNvSpPr txBox="1"/>
              <p:nvPr userDrawn="1"/>
            </p:nvSpPr>
            <p:spPr>
              <a:xfrm>
                <a:off x="9303325" y="18533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54" name="Straight Connector 53">
                <a:extLst>
                  <a:ext uri="{FF2B5EF4-FFF2-40B4-BE49-F238E27FC236}">
                    <a16:creationId xmlns:a16="http://schemas.microsoft.com/office/drawing/2014/main" id="{AA79330A-89D2-B64E-BB5A-387368250368}"/>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55" name="TextBox 54">
                <a:extLst>
                  <a:ext uri="{FF2B5EF4-FFF2-40B4-BE49-F238E27FC236}">
                    <a16:creationId xmlns:a16="http://schemas.microsoft.com/office/drawing/2014/main" id="{9688A793-3D82-5747-92B2-2E732EDCE5AE}"/>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56" name="Group 55">
                <a:extLst>
                  <a:ext uri="{FF2B5EF4-FFF2-40B4-BE49-F238E27FC236}">
                    <a16:creationId xmlns:a16="http://schemas.microsoft.com/office/drawing/2014/main" id="{B6DBEC5E-BD0E-9241-A3E4-2F56C03C1A05}"/>
                  </a:ext>
                </a:extLst>
              </p:cNvPr>
              <p:cNvGrpSpPr/>
              <p:nvPr userDrawn="1"/>
            </p:nvGrpSpPr>
            <p:grpSpPr>
              <a:xfrm>
                <a:off x="9286315" y="4787848"/>
                <a:ext cx="2735151" cy="1411315"/>
                <a:chOff x="9296567" y="4910411"/>
                <a:chExt cx="2735151" cy="1411315"/>
              </a:xfrm>
            </p:grpSpPr>
            <p:sp>
              <p:nvSpPr>
                <p:cNvPr id="71" name="Rectangle 70">
                  <a:extLst>
                    <a:ext uri="{FF2B5EF4-FFF2-40B4-BE49-F238E27FC236}">
                      <a16:creationId xmlns:a16="http://schemas.microsoft.com/office/drawing/2014/main" id="{FFA48DED-F3DA-EC47-97E5-E6739BF46422}"/>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2" name="TextBox 71">
                  <a:extLst>
                    <a:ext uri="{FF2B5EF4-FFF2-40B4-BE49-F238E27FC236}">
                      <a16:creationId xmlns:a16="http://schemas.microsoft.com/office/drawing/2014/main" id="{82CFB4CC-B76D-A94D-AB78-1A7F4E4CE9E0}"/>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73" name="Graphic 72">
                  <a:extLst>
                    <a:ext uri="{FF2B5EF4-FFF2-40B4-BE49-F238E27FC236}">
                      <a16:creationId xmlns:a16="http://schemas.microsoft.com/office/drawing/2014/main" id="{786BEA28-9B2D-2C46-85BC-0D2CF1D6365E}"/>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74" name="TextBox 73">
                  <a:extLst>
                    <a:ext uri="{FF2B5EF4-FFF2-40B4-BE49-F238E27FC236}">
                      <a16:creationId xmlns:a16="http://schemas.microsoft.com/office/drawing/2014/main" id="{71831B6F-88D4-2D4F-9998-C1B41572775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5" name="TextBox 74">
                  <a:extLst>
                    <a:ext uri="{FF2B5EF4-FFF2-40B4-BE49-F238E27FC236}">
                      <a16:creationId xmlns:a16="http://schemas.microsoft.com/office/drawing/2014/main" id="{EFBA3B08-C039-6D48-BC25-182C2C66DF32}"/>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6" name="TextBox 75">
                  <a:extLst>
                    <a:ext uri="{FF2B5EF4-FFF2-40B4-BE49-F238E27FC236}">
                      <a16:creationId xmlns:a16="http://schemas.microsoft.com/office/drawing/2014/main" id="{5FCB126F-01A3-9A47-AD52-F8C4B63FEC23}"/>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57" name="Group 56">
                <a:extLst>
                  <a:ext uri="{FF2B5EF4-FFF2-40B4-BE49-F238E27FC236}">
                    <a16:creationId xmlns:a16="http://schemas.microsoft.com/office/drawing/2014/main" id="{6136081A-ADDF-5648-821B-4397ABC813A2}"/>
                  </a:ext>
                </a:extLst>
              </p:cNvPr>
              <p:cNvGrpSpPr/>
              <p:nvPr userDrawn="1"/>
            </p:nvGrpSpPr>
            <p:grpSpPr>
              <a:xfrm>
                <a:off x="9286315" y="3431192"/>
                <a:ext cx="2735151" cy="1280928"/>
                <a:chOff x="9286315" y="6976989"/>
                <a:chExt cx="2735151" cy="1280928"/>
              </a:xfrm>
            </p:grpSpPr>
            <p:sp>
              <p:nvSpPr>
                <p:cNvPr id="66" name="Rectangle 65">
                  <a:extLst>
                    <a:ext uri="{FF2B5EF4-FFF2-40B4-BE49-F238E27FC236}">
                      <a16:creationId xmlns:a16="http://schemas.microsoft.com/office/drawing/2014/main" id="{A1A968B8-5BC5-284F-898B-B6637A41DEF5}"/>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7" name="TextBox 66">
                  <a:extLst>
                    <a:ext uri="{FF2B5EF4-FFF2-40B4-BE49-F238E27FC236}">
                      <a16:creationId xmlns:a16="http://schemas.microsoft.com/office/drawing/2014/main" id="{51A95283-5490-1742-84A3-68783BE5430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8" name="Graphic 67">
                  <a:extLst>
                    <a:ext uri="{FF2B5EF4-FFF2-40B4-BE49-F238E27FC236}">
                      <a16:creationId xmlns:a16="http://schemas.microsoft.com/office/drawing/2014/main" id="{986C6630-8E1B-6642-9DBA-0BE12B3DE85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69" name="TextBox 68">
                  <a:extLst>
                    <a:ext uri="{FF2B5EF4-FFF2-40B4-BE49-F238E27FC236}">
                      <a16:creationId xmlns:a16="http://schemas.microsoft.com/office/drawing/2014/main" id="{F073B232-F982-1B48-B310-DCE7A95E03B2}"/>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70" name="Picture 69">
                  <a:extLst>
                    <a:ext uri="{FF2B5EF4-FFF2-40B4-BE49-F238E27FC236}">
                      <a16:creationId xmlns:a16="http://schemas.microsoft.com/office/drawing/2014/main" id="{808FFCB2-7DF3-CA48-B29E-9FEAAB8F2B7D}"/>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58" name="Group 57">
                <a:extLst>
                  <a:ext uri="{FF2B5EF4-FFF2-40B4-BE49-F238E27FC236}">
                    <a16:creationId xmlns:a16="http://schemas.microsoft.com/office/drawing/2014/main" id="{07236D2B-D298-EB49-8ABB-E7D7376416F2}"/>
                  </a:ext>
                </a:extLst>
              </p:cNvPr>
              <p:cNvGrpSpPr/>
              <p:nvPr userDrawn="1"/>
            </p:nvGrpSpPr>
            <p:grpSpPr>
              <a:xfrm>
                <a:off x="9266651" y="510458"/>
                <a:ext cx="2617883" cy="651460"/>
                <a:chOff x="12352022" y="513115"/>
                <a:chExt cx="2617883" cy="651460"/>
              </a:xfrm>
            </p:grpSpPr>
            <p:sp>
              <p:nvSpPr>
                <p:cNvPr id="63" name="TextBox 62">
                  <a:extLst>
                    <a:ext uri="{FF2B5EF4-FFF2-40B4-BE49-F238E27FC236}">
                      <a16:creationId xmlns:a16="http://schemas.microsoft.com/office/drawing/2014/main" id="{A2A47C15-08E4-7049-935A-EDE4F9DCF822}"/>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64" name="TextBox 63">
                  <a:extLst>
                    <a:ext uri="{FF2B5EF4-FFF2-40B4-BE49-F238E27FC236}">
                      <a16:creationId xmlns:a16="http://schemas.microsoft.com/office/drawing/2014/main" id="{FC6539D2-0500-124D-81F7-76B67EA90792}"/>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65" name="TextBox 64">
                  <a:extLst>
                    <a:ext uri="{FF2B5EF4-FFF2-40B4-BE49-F238E27FC236}">
                      <a16:creationId xmlns:a16="http://schemas.microsoft.com/office/drawing/2014/main" id="{F1F80A10-B10E-A846-8794-521C2A75678D}"/>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59" name="TextBox 58">
                <a:extLst>
                  <a:ext uri="{FF2B5EF4-FFF2-40B4-BE49-F238E27FC236}">
                    <a16:creationId xmlns:a16="http://schemas.microsoft.com/office/drawing/2014/main" id="{170F57E5-FA5E-C04D-ABAC-987519A35248}"/>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60" name="TextBox 59">
                <a:extLst>
                  <a:ext uri="{FF2B5EF4-FFF2-40B4-BE49-F238E27FC236}">
                    <a16:creationId xmlns:a16="http://schemas.microsoft.com/office/drawing/2014/main" id="{54C63403-02A3-EB42-BBF7-B19D923AF7CB}"/>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61" name="TextBox 60">
                <a:extLst>
                  <a:ext uri="{FF2B5EF4-FFF2-40B4-BE49-F238E27FC236}">
                    <a16:creationId xmlns:a16="http://schemas.microsoft.com/office/drawing/2014/main" id="{73B0C4AD-7511-3A44-A092-8D4C4CCE19ED}"/>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62" name="TextBox 61">
                <a:extLst>
                  <a:ext uri="{FF2B5EF4-FFF2-40B4-BE49-F238E27FC236}">
                    <a16:creationId xmlns:a16="http://schemas.microsoft.com/office/drawing/2014/main" id="{9689DDA7-3FF5-0447-8D1D-746B7CEB0585}"/>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367024907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One Graphic (Dark)">
    <p:bg>
      <p:bgPr>
        <a:solidFill>
          <a:schemeClr val="bg1"/>
        </a:solidFill>
        <a:effectLst/>
      </p:bgPr>
    </p:bg>
    <p:spTree>
      <p:nvGrpSpPr>
        <p:cNvPr id="1" name=""/>
        <p:cNvGrpSpPr/>
        <p:nvPr/>
      </p:nvGrpSpPr>
      <p:grpSpPr>
        <a:xfrm>
          <a:off x="0" y="0"/>
          <a:ext cx="0" cy="0"/>
          <a:chOff x="0" y="0"/>
          <a:chExt cx="0" cy="0"/>
        </a:xfrm>
      </p:grpSpPr>
      <p:sp>
        <p:nvSpPr>
          <p:cNvPr id="55" name="Picture Placeholder 54">
            <a:extLst>
              <a:ext uri="{FF2B5EF4-FFF2-40B4-BE49-F238E27FC236}">
                <a16:creationId xmlns:a16="http://schemas.microsoft.com/office/drawing/2014/main" id="{07BBE168-1AF7-B444-B06D-63574329D9FB}"/>
              </a:ext>
            </a:extLst>
          </p:cNvPr>
          <p:cNvSpPr>
            <a:spLocks noGrp="1"/>
          </p:cNvSpPr>
          <p:nvPr>
            <p:ph type="pic" sz="quarter" idx="10" hasCustomPrompt="1"/>
          </p:nvPr>
        </p:nvSpPr>
        <p:spPr>
          <a:xfrm>
            <a:off x="0" y="0"/>
            <a:ext cx="12192000" cy="6858000"/>
          </a:xfrm>
          <a:custGeom>
            <a:avLst/>
            <a:gdLst>
              <a:gd name="connsiteX0" fmla="*/ 8381735 w 9144000"/>
              <a:gd name="connsiteY0" fmla="*/ 6576022 h 6858000"/>
              <a:gd name="connsiteX1" fmla="*/ 8398942 w 9144000"/>
              <a:gd name="connsiteY1" fmla="*/ 6577877 h 6858000"/>
              <a:gd name="connsiteX2" fmla="*/ 8407847 w 9144000"/>
              <a:gd name="connsiteY2" fmla="*/ 6584666 h 6858000"/>
              <a:gd name="connsiteX3" fmla="*/ 8413547 w 9144000"/>
              <a:gd name="connsiteY3" fmla="*/ 6594991 h 6858000"/>
              <a:gd name="connsiteX4" fmla="*/ 8415584 w 9144000"/>
              <a:gd name="connsiteY4" fmla="*/ 6608203 h 6858000"/>
              <a:gd name="connsiteX5" fmla="*/ 8413646 w 9144000"/>
              <a:gd name="connsiteY5" fmla="*/ 6621274 h 6858000"/>
              <a:gd name="connsiteX6" fmla="*/ 8407947 w 9144000"/>
              <a:gd name="connsiteY6" fmla="*/ 6631669 h 6858000"/>
              <a:gd name="connsiteX7" fmla="*/ 8375887 w 9144000"/>
              <a:gd name="connsiteY7" fmla="*/ 6638514 h 6858000"/>
              <a:gd name="connsiteX8" fmla="*/ 8366910 w 9144000"/>
              <a:gd name="connsiteY8" fmla="*/ 6631669 h 6858000"/>
              <a:gd name="connsiteX9" fmla="*/ 8361211 w 9144000"/>
              <a:gd name="connsiteY9" fmla="*/ 6621274 h 6858000"/>
              <a:gd name="connsiteX10" fmla="*/ 8359045 w 9144000"/>
              <a:gd name="connsiteY10" fmla="*/ 6608203 h 6858000"/>
              <a:gd name="connsiteX11" fmla="*/ 8361097 w 9144000"/>
              <a:gd name="connsiteY11" fmla="*/ 6594991 h 6858000"/>
              <a:gd name="connsiteX12" fmla="*/ 8366796 w 9144000"/>
              <a:gd name="connsiteY12" fmla="*/ 6584666 h 6858000"/>
              <a:gd name="connsiteX13" fmla="*/ 8381735 w 9144000"/>
              <a:gd name="connsiteY13" fmla="*/ 6576022 h 6858000"/>
              <a:gd name="connsiteX14" fmla="*/ 8525633 w 9144000"/>
              <a:gd name="connsiteY14" fmla="*/ 6553486 h 6858000"/>
              <a:gd name="connsiteX15" fmla="*/ 8525633 w 9144000"/>
              <a:gd name="connsiteY15" fmla="*/ 6599432 h 6858000"/>
              <a:gd name="connsiteX16" fmla="*/ 8525633 w 9144000"/>
              <a:gd name="connsiteY16" fmla="*/ 6662773 h 6858000"/>
              <a:gd name="connsiteX17" fmla="*/ 8595623 w 9144000"/>
              <a:gd name="connsiteY17" fmla="*/ 6662773 h 6858000"/>
              <a:gd name="connsiteX18" fmla="*/ 8596022 w 9144000"/>
              <a:gd name="connsiteY18" fmla="*/ 6662773 h 6858000"/>
              <a:gd name="connsiteX19" fmla="*/ 8596022 w 9144000"/>
              <a:gd name="connsiteY19" fmla="*/ 6645772 h 6858000"/>
              <a:gd name="connsiteX20" fmla="*/ 8595623 w 9144000"/>
              <a:gd name="connsiteY20" fmla="*/ 6645772 h 6858000"/>
              <a:gd name="connsiteX21" fmla="*/ 8595623 w 9144000"/>
              <a:gd name="connsiteY21" fmla="*/ 6639674 h 6858000"/>
              <a:gd name="connsiteX22" fmla="*/ 8551295 w 9144000"/>
              <a:gd name="connsiteY22" fmla="*/ 6639674 h 6858000"/>
              <a:gd name="connsiteX23" fmla="*/ 8551295 w 9144000"/>
              <a:gd name="connsiteY23" fmla="*/ 6618349 h 6858000"/>
              <a:gd name="connsiteX24" fmla="*/ 8591705 w 9144000"/>
              <a:gd name="connsiteY24" fmla="*/ 6618349 h 6858000"/>
              <a:gd name="connsiteX25" fmla="*/ 8591705 w 9144000"/>
              <a:gd name="connsiteY25" fmla="*/ 6596277 h 6858000"/>
              <a:gd name="connsiteX26" fmla="*/ 8551295 w 9144000"/>
              <a:gd name="connsiteY26" fmla="*/ 6596277 h 6858000"/>
              <a:gd name="connsiteX27" fmla="*/ 8551295 w 9144000"/>
              <a:gd name="connsiteY27" fmla="*/ 6576755 h 6858000"/>
              <a:gd name="connsiteX28" fmla="*/ 8595623 w 9144000"/>
              <a:gd name="connsiteY28" fmla="*/ 6576755 h 6858000"/>
              <a:gd name="connsiteX29" fmla="*/ 8595623 w 9144000"/>
              <a:gd name="connsiteY29" fmla="*/ 6570487 h 6858000"/>
              <a:gd name="connsiteX30" fmla="*/ 8596022 w 9144000"/>
              <a:gd name="connsiteY30" fmla="*/ 6570487 h 6858000"/>
              <a:gd name="connsiteX31" fmla="*/ 8596022 w 9144000"/>
              <a:gd name="connsiteY31" fmla="*/ 6553486 h 6858000"/>
              <a:gd name="connsiteX32" fmla="*/ 8595623 w 9144000"/>
              <a:gd name="connsiteY32" fmla="*/ 6553486 h 6858000"/>
              <a:gd name="connsiteX33" fmla="*/ 8547362 w 9144000"/>
              <a:gd name="connsiteY33" fmla="*/ 6553486 h 6858000"/>
              <a:gd name="connsiteX34" fmla="*/ 8448177 w 9144000"/>
              <a:gd name="connsiteY34" fmla="*/ 6553486 h 6858000"/>
              <a:gd name="connsiteX35" fmla="*/ 8448177 w 9144000"/>
              <a:gd name="connsiteY35" fmla="*/ 6599432 h 6858000"/>
              <a:gd name="connsiteX36" fmla="*/ 8448177 w 9144000"/>
              <a:gd name="connsiteY36" fmla="*/ 6662773 h 6858000"/>
              <a:gd name="connsiteX37" fmla="*/ 8518167 w 9144000"/>
              <a:gd name="connsiteY37" fmla="*/ 6662773 h 6858000"/>
              <a:gd name="connsiteX38" fmla="*/ 8518552 w 9144000"/>
              <a:gd name="connsiteY38" fmla="*/ 6662773 h 6858000"/>
              <a:gd name="connsiteX39" fmla="*/ 8518552 w 9144000"/>
              <a:gd name="connsiteY39" fmla="*/ 6645772 h 6858000"/>
              <a:gd name="connsiteX40" fmla="*/ 8518167 w 9144000"/>
              <a:gd name="connsiteY40" fmla="*/ 6645772 h 6858000"/>
              <a:gd name="connsiteX41" fmla="*/ 8518167 w 9144000"/>
              <a:gd name="connsiteY41" fmla="*/ 6639674 h 6858000"/>
              <a:gd name="connsiteX42" fmla="*/ 8473825 w 9144000"/>
              <a:gd name="connsiteY42" fmla="*/ 6639674 h 6858000"/>
              <a:gd name="connsiteX43" fmla="*/ 8473825 w 9144000"/>
              <a:gd name="connsiteY43" fmla="*/ 6618349 h 6858000"/>
              <a:gd name="connsiteX44" fmla="*/ 8514235 w 9144000"/>
              <a:gd name="connsiteY44" fmla="*/ 6618349 h 6858000"/>
              <a:gd name="connsiteX45" fmla="*/ 8514235 w 9144000"/>
              <a:gd name="connsiteY45" fmla="*/ 6596277 h 6858000"/>
              <a:gd name="connsiteX46" fmla="*/ 8473825 w 9144000"/>
              <a:gd name="connsiteY46" fmla="*/ 6596277 h 6858000"/>
              <a:gd name="connsiteX47" fmla="*/ 8473825 w 9144000"/>
              <a:gd name="connsiteY47" fmla="*/ 6576755 h 6858000"/>
              <a:gd name="connsiteX48" fmla="*/ 8518167 w 9144000"/>
              <a:gd name="connsiteY48" fmla="*/ 6576755 h 6858000"/>
              <a:gd name="connsiteX49" fmla="*/ 8518167 w 9144000"/>
              <a:gd name="connsiteY49" fmla="*/ 6570487 h 6858000"/>
              <a:gd name="connsiteX50" fmla="*/ 8518552 w 9144000"/>
              <a:gd name="connsiteY50" fmla="*/ 6570487 h 6858000"/>
              <a:gd name="connsiteX51" fmla="*/ 8518552 w 9144000"/>
              <a:gd name="connsiteY51" fmla="*/ 6553486 h 6858000"/>
              <a:gd name="connsiteX52" fmla="*/ 8518167 w 9144000"/>
              <a:gd name="connsiteY52" fmla="*/ 6553486 h 6858000"/>
              <a:gd name="connsiteX53" fmla="*/ 8469892 w 9144000"/>
              <a:gd name="connsiteY53" fmla="*/ 6553486 h 6858000"/>
              <a:gd name="connsiteX54" fmla="*/ 8387913 w 9144000"/>
              <a:gd name="connsiteY54" fmla="*/ 6553453 h 6858000"/>
              <a:gd name="connsiteX55" fmla="*/ 8365286 w 9144000"/>
              <a:gd name="connsiteY55" fmla="*/ 6557679 h 6858000"/>
              <a:gd name="connsiteX56" fmla="*/ 8357150 w 9144000"/>
              <a:gd name="connsiteY56" fmla="*/ 6561806 h 6858000"/>
              <a:gd name="connsiteX57" fmla="*/ 8332784 w 9144000"/>
              <a:gd name="connsiteY57" fmla="*/ 6613372 h 6858000"/>
              <a:gd name="connsiteX58" fmla="*/ 8336389 w 9144000"/>
              <a:gd name="connsiteY58" fmla="*/ 6629852 h 6858000"/>
              <a:gd name="connsiteX59" fmla="*/ 8364431 w 9144000"/>
              <a:gd name="connsiteY59" fmla="*/ 6658585 h 6858000"/>
              <a:gd name="connsiteX60" fmla="*/ 8386916 w 9144000"/>
              <a:gd name="connsiteY60" fmla="*/ 6662811 h 6858000"/>
              <a:gd name="connsiteX61" fmla="*/ 8409486 w 9144000"/>
              <a:gd name="connsiteY61" fmla="*/ 6658585 h 6858000"/>
              <a:gd name="connsiteX62" fmla="*/ 8426926 w 9144000"/>
              <a:gd name="connsiteY62" fmla="*/ 6647106 h 6858000"/>
              <a:gd name="connsiteX63" fmla="*/ 8438240 w 9144000"/>
              <a:gd name="connsiteY63" fmla="*/ 6629852 h 6858000"/>
              <a:gd name="connsiteX64" fmla="*/ 8442258 w 9144000"/>
              <a:gd name="connsiteY64" fmla="*/ 6608203 h 6858000"/>
              <a:gd name="connsiteX65" fmla="*/ 8438397 w 9144000"/>
              <a:gd name="connsiteY65" fmla="*/ 6586469 h 6858000"/>
              <a:gd name="connsiteX66" fmla="*/ 8427439 w 9144000"/>
              <a:gd name="connsiteY66" fmla="*/ 6569158 h 6858000"/>
              <a:gd name="connsiteX67" fmla="*/ 8410341 w 9144000"/>
              <a:gd name="connsiteY67" fmla="*/ 6557679 h 6858000"/>
              <a:gd name="connsiteX68" fmla="*/ 8387913 w 9144000"/>
              <a:gd name="connsiteY68" fmla="*/ 6553453 h 6858000"/>
              <a:gd name="connsiteX69" fmla="*/ 8245203 w 9144000"/>
              <a:gd name="connsiteY69" fmla="*/ 6553106 h 6858000"/>
              <a:gd name="connsiteX70" fmla="*/ 8261546 w 9144000"/>
              <a:gd name="connsiteY70" fmla="*/ 6587178 h 6858000"/>
              <a:gd name="connsiteX71" fmla="*/ 8288505 w 9144000"/>
              <a:gd name="connsiteY71" fmla="*/ 6587178 h 6858000"/>
              <a:gd name="connsiteX72" fmla="*/ 8274156 w 9144000"/>
              <a:gd name="connsiteY72" fmla="*/ 6553106 h 6858000"/>
              <a:gd name="connsiteX73" fmla="*/ 8325053 w 9144000"/>
              <a:gd name="connsiteY73" fmla="*/ 6553092 h 6858000"/>
              <a:gd name="connsiteX74" fmla="*/ 8299363 w 9144000"/>
              <a:gd name="connsiteY74" fmla="*/ 6612222 h 6858000"/>
              <a:gd name="connsiteX75" fmla="*/ 8292395 w 9144000"/>
              <a:gd name="connsiteY75" fmla="*/ 6595883 h 6858000"/>
              <a:gd name="connsiteX76" fmla="*/ 8265650 w 9144000"/>
              <a:gd name="connsiteY76" fmla="*/ 6595883 h 6858000"/>
              <a:gd name="connsiteX77" fmla="*/ 8297582 w 9144000"/>
              <a:gd name="connsiteY77" fmla="*/ 6662548 h 6858000"/>
              <a:gd name="connsiteX78" fmla="*/ 8300545 w 9144000"/>
              <a:gd name="connsiteY78" fmla="*/ 6662548 h 6858000"/>
              <a:gd name="connsiteX79" fmla="*/ 8352283 w 9144000"/>
              <a:gd name="connsiteY79" fmla="*/ 6553092 h 6858000"/>
              <a:gd name="connsiteX80" fmla="*/ 8704282 w 9144000"/>
              <a:gd name="connsiteY80" fmla="*/ 6515554 h 6858000"/>
              <a:gd name="connsiteX81" fmla="*/ 8704282 w 9144000"/>
              <a:gd name="connsiteY81" fmla="*/ 6690482 h 6858000"/>
              <a:gd name="connsiteX82" fmla="*/ 8723671 w 9144000"/>
              <a:gd name="connsiteY82" fmla="*/ 6690482 h 6858000"/>
              <a:gd name="connsiteX83" fmla="*/ 8723671 w 9144000"/>
              <a:gd name="connsiteY83" fmla="*/ 6515554 h 6858000"/>
              <a:gd name="connsiteX84" fmla="*/ 0 w 9144000"/>
              <a:gd name="connsiteY84" fmla="*/ 0 h 6858000"/>
              <a:gd name="connsiteX85" fmla="*/ 9144000 w 9144000"/>
              <a:gd name="connsiteY85" fmla="*/ 0 h 6858000"/>
              <a:gd name="connsiteX86" fmla="*/ 9144000 w 9144000"/>
              <a:gd name="connsiteY86" fmla="*/ 6397151 h 6858000"/>
              <a:gd name="connsiteX87" fmla="*/ 9144000 w 9144000"/>
              <a:gd name="connsiteY87" fmla="*/ 6434962 h 6858000"/>
              <a:gd name="connsiteX88" fmla="*/ 9144000 w 9144000"/>
              <a:gd name="connsiteY88" fmla="*/ 6858000 h 6858000"/>
              <a:gd name="connsiteX89" fmla="*/ 8995529 w 9144000"/>
              <a:gd name="connsiteY89" fmla="*/ 6858000 h 6858000"/>
              <a:gd name="connsiteX90" fmla="*/ 7924718 w 9144000"/>
              <a:gd name="connsiteY90" fmla="*/ 6858000 h 6858000"/>
              <a:gd name="connsiteX91" fmla="*/ 0 w 9144000"/>
              <a:gd name="connsiteY91" fmla="*/ 6858000 h 6858000"/>
              <a:gd name="connsiteX92" fmla="*/ 0 w 9144000"/>
              <a:gd name="connsiteY92" fmla="*/ 6434962 h 6858000"/>
              <a:gd name="connsiteX93" fmla="*/ 0 w 9144000"/>
              <a:gd name="connsiteY93" fmla="*/ 639715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Lst>
            <a:rect l="l" t="t" r="r" b="b"/>
            <a:pathLst>
              <a:path w="9144000" h="6858000">
                <a:moveTo>
                  <a:pt x="8381735" y="6576022"/>
                </a:moveTo>
                <a:cubicBezTo>
                  <a:pt x="8387385" y="6574829"/>
                  <a:pt x="8393413" y="6575385"/>
                  <a:pt x="8398942" y="6577877"/>
                </a:cubicBezTo>
                <a:cubicBezTo>
                  <a:pt x="8402361" y="6579495"/>
                  <a:pt x="8405396" y="6581808"/>
                  <a:pt x="8407847" y="6584666"/>
                </a:cubicBezTo>
                <a:cubicBezTo>
                  <a:pt x="8410387" y="6587723"/>
                  <a:pt x="8412320" y="6591226"/>
                  <a:pt x="8413547" y="6594991"/>
                </a:cubicBezTo>
                <a:cubicBezTo>
                  <a:pt x="8414952" y="6599255"/>
                  <a:pt x="8415640" y="6603718"/>
                  <a:pt x="8415584" y="6608203"/>
                </a:cubicBezTo>
                <a:cubicBezTo>
                  <a:pt x="8415665" y="6612635"/>
                  <a:pt x="8415011" y="6617051"/>
                  <a:pt x="8413646" y="6621274"/>
                </a:cubicBezTo>
                <a:cubicBezTo>
                  <a:pt x="8412411" y="6625056"/>
                  <a:pt x="8410478" y="6628580"/>
                  <a:pt x="8407947" y="6631669"/>
                </a:cubicBezTo>
                <a:cubicBezTo>
                  <a:pt x="8399972" y="6640715"/>
                  <a:pt x="8386928" y="6643500"/>
                  <a:pt x="8375887" y="6638514"/>
                </a:cubicBezTo>
                <a:cubicBezTo>
                  <a:pt x="8372423" y="6636911"/>
                  <a:pt x="8369358" y="6634574"/>
                  <a:pt x="8366910" y="6631669"/>
                </a:cubicBezTo>
                <a:cubicBezTo>
                  <a:pt x="8364379" y="6628580"/>
                  <a:pt x="8362446" y="6625056"/>
                  <a:pt x="8361211" y="6621274"/>
                </a:cubicBezTo>
                <a:cubicBezTo>
                  <a:pt x="8359769" y="6617063"/>
                  <a:pt x="8359038" y="6612647"/>
                  <a:pt x="8359045" y="6608203"/>
                </a:cubicBezTo>
                <a:cubicBezTo>
                  <a:pt x="8358993" y="6603717"/>
                  <a:pt x="8359686" y="6599254"/>
                  <a:pt x="8361097" y="6594991"/>
                </a:cubicBezTo>
                <a:cubicBezTo>
                  <a:pt x="8362323" y="6591226"/>
                  <a:pt x="8364257" y="6587723"/>
                  <a:pt x="8366796" y="6584666"/>
                </a:cubicBezTo>
                <a:cubicBezTo>
                  <a:pt x="8370813" y="6580158"/>
                  <a:pt x="8376085" y="6577215"/>
                  <a:pt x="8381735" y="6576022"/>
                </a:cubicBezTo>
                <a:close/>
                <a:moveTo>
                  <a:pt x="8525633" y="6553486"/>
                </a:moveTo>
                <a:lnTo>
                  <a:pt x="8525633" y="6599432"/>
                </a:lnTo>
                <a:lnTo>
                  <a:pt x="8525633" y="6662773"/>
                </a:lnTo>
                <a:lnTo>
                  <a:pt x="8595623" y="6662773"/>
                </a:lnTo>
                <a:lnTo>
                  <a:pt x="8596022" y="6662773"/>
                </a:lnTo>
                <a:lnTo>
                  <a:pt x="8596022" y="6645772"/>
                </a:lnTo>
                <a:lnTo>
                  <a:pt x="8595623" y="6645772"/>
                </a:lnTo>
                <a:lnTo>
                  <a:pt x="8595623" y="6639674"/>
                </a:lnTo>
                <a:lnTo>
                  <a:pt x="8551295" y="6639674"/>
                </a:lnTo>
                <a:lnTo>
                  <a:pt x="8551295" y="6618349"/>
                </a:lnTo>
                <a:lnTo>
                  <a:pt x="8591705" y="6618349"/>
                </a:lnTo>
                <a:lnTo>
                  <a:pt x="8591705" y="6596277"/>
                </a:lnTo>
                <a:lnTo>
                  <a:pt x="8551295" y="6596277"/>
                </a:lnTo>
                <a:lnTo>
                  <a:pt x="8551295" y="6576755"/>
                </a:lnTo>
                <a:lnTo>
                  <a:pt x="8595623" y="6576755"/>
                </a:lnTo>
                <a:lnTo>
                  <a:pt x="8595623" y="6570487"/>
                </a:lnTo>
                <a:lnTo>
                  <a:pt x="8596022" y="6570487"/>
                </a:lnTo>
                <a:lnTo>
                  <a:pt x="8596022" y="6553486"/>
                </a:lnTo>
                <a:lnTo>
                  <a:pt x="8595623" y="6553486"/>
                </a:lnTo>
                <a:lnTo>
                  <a:pt x="8547362" y="6553486"/>
                </a:lnTo>
                <a:close/>
                <a:moveTo>
                  <a:pt x="8448177" y="6553486"/>
                </a:moveTo>
                <a:lnTo>
                  <a:pt x="8448177" y="6599432"/>
                </a:lnTo>
                <a:lnTo>
                  <a:pt x="8448177" y="6662773"/>
                </a:lnTo>
                <a:lnTo>
                  <a:pt x="8518167" y="6662773"/>
                </a:lnTo>
                <a:lnTo>
                  <a:pt x="8518552" y="6662773"/>
                </a:lnTo>
                <a:lnTo>
                  <a:pt x="8518552" y="6645772"/>
                </a:lnTo>
                <a:lnTo>
                  <a:pt x="8518167" y="6645772"/>
                </a:lnTo>
                <a:lnTo>
                  <a:pt x="8518167" y="6639674"/>
                </a:lnTo>
                <a:lnTo>
                  <a:pt x="8473825" y="6639674"/>
                </a:lnTo>
                <a:lnTo>
                  <a:pt x="8473825" y="6618349"/>
                </a:lnTo>
                <a:lnTo>
                  <a:pt x="8514235" y="6618349"/>
                </a:lnTo>
                <a:lnTo>
                  <a:pt x="8514235" y="6596277"/>
                </a:lnTo>
                <a:lnTo>
                  <a:pt x="8473825" y="6596277"/>
                </a:lnTo>
                <a:lnTo>
                  <a:pt x="8473825" y="6576755"/>
                </a:lnTo>
                <a:lnTo>
                  <a:pt x="8518167" y="6576755"/>
                </a:lnTo>
                <a:lnTo>
                  <a:pt x="8518167" y="6570487"/>
                </a:lnTo>
                <a:lnTo>
                  <a:pt x="8518552" y="6570487"/>
                </a:lnTo>
                <a:lnTo>
                  <a:pt x="8518552" y="6553486"/>
                </a:lnTo>
                <a:lnTo>
                  <a:pt x="8518167" y="6553486"/>
                </a:lnTo>
                <a:lnTo>
                  <a:pt x="8469892" y="6553486"/>
                </a:lnTo>
                <a:close/>
                <a:moveTo>
                  <a:pt x="8387913" y="6553453"/>
                </a:moveTo>
                <a:cubicBezTo>
                  <a:pt x="8380162" y="6553369"/>
                  <a:pt x="8372471" y="6554805"/>
                  <a:pt x="8365286" y="6557679"/>
                </a:cubicBezTo>
                <a:cubicBezTo>
                  <a:pt x="8362463" y="6558830"/>
                  <a:pt x="8359742" y="6560211"/>
                  <a:pt x="8357150" y="6561806"/>
                </a:cubicBezTo>
                <a:lnTo>
                  <a:pt x="8332784" y="6613372"/>
                </a:lnTo>
                <a:cubicBezTo>
                  <a:pt x="8333178" y="6619008"/>
                  <a:pt x="8334392" y="6624558"/>
                  <a:pt x="8336389" y="6629852"/>
                </a:cubicBezTo>
                <a:cubicBezTo>
                  <a:pt x="8341193" y="6642926"/>
                  <a:pt x="8351385" y="6653370"/>
                  <a:pt x="8364431" y="6658585"/>
                </a:cubicBezTo>
                <a:cubicBezTo>
                  <a:pt x="8371564" y="6661469"/>
                  <a:pt x="8379210" y="6662906"/>
                  <a:pt x="8386916" y="6662811"/>
                </a:cubicBezTo>
                <a:cubicBezTo>
                  <a:pt x="8394648" y="6662898"/>
                  <a:pt x="8402321" y="6661462"/>
                  <a:pt x="8409486" y="6658585"/>
                </a:cubicBezTo>
                <a:cubicBezTo>
                  <a:pt x="8416013" y="6655943"/>
                  <a:pt x="8421943" y="6652041"/>
                  <a:pt x="8426926" y="6647106"/>
                </a:cubicBezTo>
                <a:cubicBezTo>
                  <a:pt x="8431850" y="6642179"/>
                  <a:pt x="8435700" y="6636306"/>
                  <a:pt x="8438240" y="6629852"/>
                </a:cubicBezTo>
                <a:cubicBezTo>
                  <a:pt x="8440974" y="6622958"/>
                  <a:pt x="8442338" y="6615607"/>
                  <a:pt x="8442258" y="6608203"/>
                </a:cubicBezTo>
                <a:cubicBezTo>
                  <a:pt x="8442328" y="6600785"/>
                  <a:pt x="8441019" y="6593419"/>
                  <a:pt x="8438397" y="6586469"/>
                </a:cubicBezTo>
                <a:cubicBezTo>
                  <a:pt x="8435967" y="6580025"/>
                  <a:pt x="8432239" y="6574136"/>
                  <a:pt x="8427439" y="6569158"/>
                </a:cubicBezTo>
                <a:cubicBezTo>
                  <a:pt x="8422597" y="6564212"/>
                  <a:pt x="8416777" y="6560305"/>
                  <a:pt x="8410341" y="6557679"/>
                </a:cubicBezTo>
                <a:cubicBezTo>
                  <a:pt x="8403230" y="6554789"/>
                  <a:pt x="8395601" y="6553352"/>
                  <a:pt x="8387913" y="6553453"/>
                </a:cubicBezTo>
                <a:close/>
                <a:moveTo>
                  <a:pt x="8245203" y="6553106"/>
                </a:moveTo>
                <a:lnTo>
                  <a:pt x="8261546" y="6587178"/>
                </a:lnTo>
                <a:lnTo>
                  <a:pt x="8288505" y="6587178"/>
                </a:lnTo>
                <a:lnTo>
                  <a:pt x="8274156" y="6553106"/>
                </a:lnTo>
                <a:close/>
                <a:moveTo>
                  <a:pt x="8325053" y="6553092"/>
                </a:moveTo>
                <a:lnTo>
                  <a:pt x="8299363" y="6612222"/>
                </a:lnTo>
                <a:lnTo>
                  <a:pt x="8292395" y="6595883"/>
                </a:lnTo>
                <a:lnTo>
                  <a:pt x="8265650" y="6595883"/>
                </a:lnTo>
                <a:lnTo>
                  <a:pt x="8297582" y="6662548"/>
                </a:lnTo>
                <a:lnTo>
                  <a:pt x="8300545" y="6662548"/>
                </a:lnTo>
                <a:lnTo>
                  <a:pt x="8352283" y="6553092"/>
                </a:lnTo>
                <a:close/>
                <a:moveTo>
                  <a:pt x="8704282" y="6515554"/>
                </a:moveTo>
                <a:lnTo>
                  <a:pt x="8704282" y="6690482"/>
                </a:lnTo>
                <a:lnTo>
                  <a:pt x="8723671" y="6690482"/>
                </a:lnTo>
                <a:lnTo>
                  <a:pt x="8723671" y="6515554"/>
                </a:lnTo>
                <a:close/>
                <a:moveTo>
                  <a:pt x="0" y="0"/>
                </a:moveTo>
                <a:lnTo>
                  <a:pt x="9144000" y="0"/>
                </a:lnTo>
                <a:lnTo>
                  <a:pt x="9144000" y="6397151"/>
                </a:lnTo>
                <a:lnTo>
                  <a:pt x="9144000" y="6434962"/>
                </a:lnTo>
                <a:lnTo>
                  <a:pt x="9144000" y="6858000"/>
                </a:lnTo>
                <a:lnTo>
                  <a:pt x="8995529" y="6858000"/>
                </a:lnTo>
                <a:lnTo>
                  <a:pt x="7924718" y="6858000"/>
                </a:lnTo>
                <a:lnTo>
                  <a:pt x="0" y="6858000"/>
                </a:lnTo>
                <a:lnTo>
                  <a:pt x="0" y="6434962"/>
                </a:lnTo>
                <a:lnTo>
                  <a:pt x="0" y="6397151"/>
                </a:lnTo>
                <a:close/>
              </a:path>
            </a:pathLst>
          </a:custGeom>
          <a:solidFill>
            <a:schemeClr val="accent2"/>
          </a:solidFill>
        </p:spPr>
        <p:txBody>
          <a:bodyPr wrap="square" anchor="ctr">
            <a:noAutofit/>
          </a:bodyPr>
          <a:lstStyle>
            <a:lvl1pPr algn="ctr">
              <a:defRPr b="0">
                <a:solidFill>
                  <a:schemeClr val="bg1"/>
                </a:solidFill>
              </a:defRPr>
            </a:lvl1pPr>
          </a:lstStyle>
          <a:p>
            <a:r>
              <a:rPr lang="en-US" dirty="0"/>
              <a:t>Click icon to add a pre-designed graphic</a:t>
            </a:r>
            <a:br>
              <a:rPr lang="en-US" dirty="0"/>
            </a:br>
            <a:r>
              <a:rPr lang="en-US" dirty="0"/>
              <a:t>(e.g. ranking, quote, or map)</a:t>
            </a:r>
          </a:p>
        </p:txBody>
      </p:sp>
      <p:sp>
        <p:nvSpPr>
          <p:cNvPr id="5" name="Title 4">
            <a:extLst>
              <a:ext uri="{FF2B5EF4-FFF2-40B4-BE49-F238E27FC236}">
                <a16:creationId xmlns:a16="http://schemas.microsoft.com/office/drawing/2014/main" id="{4D5405C3-B529-8445-891B-5DC49F4AC2AA}"/>
              </a:ext>
            </a:extLst>
          </p:cNvPr>
          <p:cNvSpPr>
            <a:spLocks noGrp="1"/>
          </p:cNvSpPr>
          <p:nvPr userDrawn="1">
            <p:ph type="title" hasCustomPrompt="1"/>
          </p:nvPr>
        </p:nvSpPr>
        <p:spPr/>
        <p:txBody>
          <a:bodyPr/>
          <a:lstStyle>
            <a:lvl1pPr>
              <a:defRPr>
                <a:solidFill>
                  <a:schemeClr val="bg1"/>
                </a:solidFill>
              </a:defRPr>
            </a:lvl1pPr>
          </a:lstStyle>
          <a:p>
            <a:r>
              <a:rPr lang="en-US" dirty="0"/>
              <a:t>CLICK TO ADD Slide TITLE. ALL CAPS. TWO LINES max.</a:t>
            </a:r>
          </a:p>
        </p:txBody>
      </p:sp>
      <p:sp>
        <p:nvSpPr>
          <p:cNvPr id="1000" name="Footnotes Placeholder">
            <a:extLst>
              <a:ext uri="{FF2B5EF4-FFF2-40B4-BE49-F238E27FC236}">
                <a16:creationId xmlns:a16="http://schemas.microsoft.com/office/drawing/2014/main" id="{7689135C-1344-F94E-8F1C-BE454F6FBFBE}"/>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bg1"/>
                </a:solidFill>
              </a:defRPr>
            </a:lvl1pPr>
            <a:lvl2pPr marL="55563" indent="-50800">
              <a:spcBef>
                <a:spcPts val="75"/>
              </a:spcBef>
              <a:spcAft>
                <a:spcPts val="75"/>
              </a:spcAft>
              <a:buSzPct val="100000"/>
              <a:buFont typeface="System Font Regular"/>
              <a:buChar char="¹"/>
              <a:tabLst/>
              <a:defRPr sz="1100" b="0" i="0">
                <a:solidFill>
                  <a:schemeClr val="bg1"/>
                </a:solidFill>
              </a:defRPr>
            </a:lvl2pPr>
            <a:lvl3pPr marL="55563" indent="-50800">
              <a:spcBef>
                <a:spcPts val="75"/>
              </a:spcBef>
              <a:spcAft>
                <a:spcPts val="75"/>
              </a:spcAft>
              <a:buSzPct val="100000"/>
              <a:buFont typeface="System Font Regular"/>
              <a:buChar char="²"/>
              <a:tabLst/>
              <a:defRPr sz="1100">
                <a:solidFill>
                  <a:schemeClr val="bg1"/>
                </a:solidFill>
              </a:defRPr>
            </a:lvl3pPr>
            <a:lvl4pPr marL="55563" indent="-50800">
              <a:spcBef>
                <a:spcPts val="75"/>
              </a:spcBef>
              <a:spcAft>
                <a:spcPts val="75"/>
              </a:spcAft>
              <a:buSzPct val="100000"/>
              <a:buFont typeface="System Font Regular"/>
              <a:buChar char="³"/>
              <a:tabLst/>
              <a:defRPr sz="1100">
                <a:solidFill>
                  <a:schemeClr val="bg1"/>
                </a:solidFill>
              </a:defRPr>
            </a:lvl4pPr>
            <a:lvl5pPr marL="55563" indent="-50800">
              <a:spcBef>
                <a:spcPts val="75"/>
              </a:spcBef>
              <a:spcAft>
                <a:spcPts val="75"/>
              </a:spcAft>
              <a:buSzPct val="100000"/>
              <a:buFont typeface="System Font Regular"/>
              <a:buChar char="⁴"/>
              <a:tabLst/>
              <a:defRPr sz="1100">
                <a:solidFill>
                  <a:schemeClr val="bg1"/>
                </a:solidFill>
              </a:defRPr>
            </a:lvl5pPr>
            <a:lvl6pPr marL="55563" indent="-50800">
              <a:spcBef>
                <a:spcPts val="75"/>
              </a:spcBef>
              <a:spcAft>
                <a:spcPts val="75"/>
              </a:spcAft>
              <a:buSzPct val="100000"/>
              <a:buFont typeface="System Font Regular"/>
              <a:buChar char="⁵"/>
              <a:tabLst/>
              <a:defRPr sz="1100">
                <a:solidFill>
                  <a:schemeClr val="bg1"/>
                </a:solidFill>
              </a:defRPr>
            </a:lvl6pPr>
            <a:lvl7pPr marL="55563" indent="-50800">
              <a:spcBef>
                <a:spcPts val="75"/>
              </a:spcBef>
              <a:spcAft>
                <a:spcPts val="75"/>
              </a:spcAft>
              <a:buSzPct val="100000"/>
              <a:buFont typeface="System Font Regular"/>
              <a:buChar char="⁶"/>
              <a:tabLst/>
              <a:defRPr sz="1100">
                <a:solidFill>
                  <a:schemeClr val="bg1"/>
                </a:solidFill>
              </a:defRPr>
            </a:lvl7pPr>
            <a:lvl8pPr marL="55563" indent="-50800">
              <a:spcBef>
                <a:spcPts val="75"/>
              </a:spcBef>
              <a:spcAft>
                <a:spcPts val="75"/>
              </a:spcAft>
              <a:buSzPct val="100000"/>
              <a:buFont typeface="System Font Regular"/>
              <a:buChar char="⁷"/>
              <a:tabLst/>
              <a:defRPr sz="1100">
                <a:solidFill>
                  <a:schemeClr val="bg1"/>
                </a:solidFill>
              </a:defRPr>
            </a:lvl8pPr>
            <a:lvl9pPr marL="55563" indent="-50800">
              <a:spcBef>
                <a:spcPts val="75"/>
              </a:spcBef>
              <a:spcAft>
                <a:spcPts val="75"/>
              </a:spcAft>
              <a:buSzPct val="100000"/>
              <a:buFont typeface="System Font Regular"/>
              <a:buChar char="⁸"/>
              <a:tabLst/>
              <a:defRPr sz="1100">
                <a:solidFill>
                  <a:schemeClr val="bg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grpSp>
        <p:nvGrpSpPr>
          <p:cNvPr id="16" name="Group 15">
            <a:extLst>
              <a:ext uri="{FF2B5EF4-FFF2-40B4-BE49-F238E27FC236}">
                <a16:creationId xmlns:a16="http://schemas.microsoft.com/office/drawing/2014/main" id="{10A60567-C6A8-9745-A7BD-650F05617F55}"/>
              </a:ext>
            </a:extLst>
          </p:cNvPr>
          <p:cNvGrpSpPr/>
          <p:nvPr userDrawn="1"/>
        </p:nvGrpSpPr>
        <p:grpSpPr>
          <a:xfrm>
            <a:off x="12532243" y="-1"/>
            <a:ext cx="3832280" cy="6858001"/>
            <a:chOff x="9144000" y="-1"/>
            <a:chExt cx="2874210" cy="6858001"/>
          </a:xfrm>
        </p:grpSpPr>
        <p:sp>
          <p:nvSpPr>
            <p:cNvPr id="17" name="Rectangle 16">
              <a:extLst>
                <a:ext uri="{FF2B5EF4-FFF2-40B4-BE49-F238E27FC236}">
                  <a16:creationId xmlns:a16="http://schemas.microsoft.com/office/drawing/2014/main" id="{448C1A1C-69E6-2E4B-B77D-A4ECA59B3F9E}"/>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grpSp>
          <p:nvGrpSpPr>
            <p:cNvPr id="18" name="Group 17">
              <a:extLst>
                <a:ext uri="{FF2B5EF4-FFF2-40B4-BE49-F238E27FC236}">
                  <a16:creationId xmlns:a16="http://schemas.microsoft.com/office/drawing/2014/main" id="{58B4174A-1940-A14D-BE35-2361AF2DB700}"/>
                </a:ext>
              </a:extLst>
            </p:cNvPr>
            <p:cNvGrpSpPr/>
            <p:nvPr userDrawn="1"/>
          </p:nvGrpSpPr>
          <p:grpSpPr>
            <a:xfrm>
              <a:off x="9263395" y="150289"/>
              <a:ext cx="2754815" cy="6013825"/>
              <a:chOff x="9266651" y="185338"/>
              <a:chExt cx="2754815" cy="6013825"/>
            </a:xfrm>
          </p:grpSpPr>
          <p:sp>
            <p:nvSpPr>
              <p:cNvPr id="19" name="TextBox 18">
                <a:extLst>
                  <a:ext uri="{FF2B5EF4-FFF2-40B4-BE49-F238E27FC236}">
                    <a16:creationId xmlns:a16="http://schemas.microsoft.com/office/drawing/2014/main" id="{8154AD6F-FF5C-AF46-AF46-3A2F76383F84}"/>
                  </a:ext>
                </a:extLst>
              </p:cNvPr>
              <p:cNvSpPr txBox="1"/>
              <p:nvPr userDrawn="1"/>
            </p:nvSpPr>
            <p:spPr>
              <a:xfrm>
                <a:off x="9303325" y="18533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20" name="Straight Connector 19">
                <a:extLst>
                  <a:ext uri="{FF2B5EF4-FFF2-40B4-BE49-F238E27FC236}">
                    <a16:creationId xmlns:a16="http://schemas.microsoft.com/office/drawing/2014/main" id="{A473109F-0CBB-3543-B531-C9EE5039E8F3}"/>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84255D80-C41E-D843-BA4B-49C358DE9F33}"/>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3" name="Group 42">
                <a:extLst>
                  <a:ext uri="{FF2B5EF4-FFF2-40B4-BE49-F238E27FC236}">
                    <a16:creationId xmlns:a16="http://schemas.microsoft.com/office/drawing/2014/main" id="{E66BE7A5-B95E-5647-BB64-B391E7B70B4C}"/>
                  </a:ext>
                </a:extLst>
              </p:cNvPr>
              <p:cNvGrpSpPr/>
              <p:nvPr userDrawn="1"/>
            </p:nvGrpSpPr>
            <p:grpSpPr>
              <a:xfrm>
                <a:off x="9286315" y="4787848"/>
                <a:ext cx="2735151" cy="1411315"/>
                <a:chOff x="9296567" y="4910411"/>
                <a:chExt cx="2735151" cy="1411315"/>
              </a:xfrm>
            </p:grpSpPr>
            <p:sp>
              <p:nvSpPr>
                <p:cNvPr id="45" name="Rectangle 44">
                  <a:extLst>
                    <a:ext uri="{FF2B5EF4-FFF2-40B4-BE49-F238E27FC236}">
                      <a16:creationId xmlns:a16="http://schemas.microsoft.com/office/drawing/2014/main" id="{3E456B4A-35E2-1E46-AF5B-69BC4A031DFD}"/>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6" name="TextBox 45">
                  <a:extLst>
                    <a:ext uri="{FF2B5EF4-FFF2-40B4-BE49-F238E27FC236}">
                      <a16:creationId xmlns:a16="http://schemas.microsoft.com/office/drawing/2014/main" id="{5020C91E-8ECD-9446-9FD6-8317FDCC66B1}"/>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47" name="Graphic 46">
                  <a:extLst>
                    <a:ext uri="{FF2B5EF4-FFF2-40B4-BE49-F238E27FC236}">
                      <a16:creationId xmlns:a16="http://schemas.microsoft.com/office/drawing/2014/main" id="{F8B2E612-99F0-C842-8E04-621A4A3B40E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48" name="TextBox 47">
                  <a:extLst>
                    <a:ext uri="{FF2B5EF4-FFF2-40B4-BE49-F238E27FC236}">
                      <a16:creationId xmlns:a16="http://schemas.microsoft.com/office/drawing/2014/main" id="{FFF1E73D-444F-B546-A7C4-57D3717E9A5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49" name="TextBox 48">
                  <a:extLst>
                    <a:ext uri="{FF2B5EF4-FFF2-40B4-BE49-F238E27FC236}">
                      <a16:creationId xmlns:a16="http://schemas.microsoft.com/office/drawing/2014/main" id="{EA65B9F0-297D-D74A-AED0-C2DF6E16365B}"/>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0" name="TextBox 49">
                  <a:extLst>
                    <a:ext uri="{FF2B5EF4-FFF2-40B4-BE49-F238E27FC236}">
                      <a16:creationId xmlns:a16="http://schemas.microsoft.com/office/drawing/2014/main" id="{FF9CCBAC-EFF1-D64D-BAA2-00D33EB2E99E}"/>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29" name="Group 28">
                <a:extLst>
                  <a:ext uri="{FF2B5EF4-FFF2-40B4-BE49-F238E27FC236}">
                    <a16:creationId xmlns:a16="http://schemas.microsoft.com/office/drawing/2014/main" id="{599AA6FE-1950-8F41-9D7B-376A540F81F8}"/>
                  </a:ext>
                </a:extLst>
              </p:cNvPr>
              <p:cNvGrpSpPr/>
              <p:nvPr userDrawn="1"/>
            </p:nvGrpSpPr>
            <p:grpSpPr>
              <a:xfrm>
                <a:off x="9286315" y="3431192"/>
                <a:ext cx="2735151" cy="1280928"/>
                <a:chOff x="9286315" y="6976989"/>
                <a:chExt cx="2735151" cy="1280928"/>
              </a:xfrm>
            </p:grpSpPr>
            <p:sp>
              <p:nvSpPr>
                <p:cNvPr id="38" name="Rectangle 37">
                  <a:extLst>
                    <a:ext uri="{FF2B5EF4-FFF2-40B4-BE49-F238E27FC236}">
                      <a16:creationId xmlns:a16="http://schemas.microsoft.com/office/drawing/2014/main" id="{96798E0F-BB64-0746-87AC-50312AED96E1}"/>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9" name="TextBox 38">
                  <a:extLst>
                    <a:ext uri="{FF2B5EF4-FFF2-40B4-BE49-F238E27FC236}">
                      <a16:creationId xmlns:a16="http://schemas.microsoft.com/office/drawing/2014/main" id="{F9048FEE-4AC5-F346-8AA9-B96470C93BB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0" name="Graphic 39">
                  <a:extLst>
                    <a:ext uri="{FF2B5EF4-FFF2-40B4-BE49-F238E27FC236}">
                      <a16:creationId xmlns:a16="http://schemas.microsoft.com/office/drawing/2014/main" id="{DDFDEDFA-065B-6446-8C5E-888321D0CE42}"/>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1" name="TextBox 40">
                  <a:extLst>
                    <a:ext uri="{FF2B5EF4-FFF2-40B4-BE49-F238E27FC236}">
                      <a16:creationId xmlns:a16="http://schemas.microsoft.com/office/drawing/2014/main" id="{7DC42090-9A4E-1948-920E-D0251217ED8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2" name="Picture 41">
                  <a:extLst>
                    <a:ext uri="{FF2B5EF4-FFF2-40B4-BE49-F238E27FC236}">
                      <a16:creationId xmlns:a16="http://schemas.microsoft.com/office/drawing/2014/main" id="{49506D48-EE49-E344-BD58-0E7ACE18BEA4}"/>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0" name="Group 29">
                <a:extLst>
                  <a:ext uri="{FF2B5EF4-FFF2-40B4-BE49-F238E27FC236}">
                    <a16:creationId xmlns:a16="http://schemas.microsoft.com/office/drawing/2014/main" id="{8289D14B-260D-364C-8834-60C0FB3F053F}"/>
                  </a:ext>
                </a:extLst>
              </p:cNvPr>
              <p:cNvGrpSpPr/>
              <p:nvPr userDrawn="1"/>
            </p:nvGrpSpPr>
            <p:grpSpPr>
              <a:xfrm>
                <a:off x="9266651" y="510458"/>
                <a:ext cx="2617883" cy="651460"/>
                <a:chOff x="12352022" y="513115"/>
                <a:chExt cx="2617883" cy="651460"/>
              </a:xfrm>
            </p:grpSpPr>
            <p:sp>
              <p:nvSpPr>
                <p:cNvPr id="35" name="TextBox 34">
                  <a:extLst>
                    <a:ext uri="{FF2B5EF4-FFF2-40B4-BE49-F238E27FC236}">
                      <a16:creationId xmlns:a16="http://schemas.microsoft.com/office/drawing/2014/main" id="{6530850F-5903-4241-B33B-7472896369B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6" name="TextBox 35">
                  <a:extLst>
                    <a:ext uri="{FF2B5EF4-FFF2-40B4-BE49-F238E27FC236}">
                      <a16:creationId xmlns:a16="http://schemas.microsoft.com/office/drawing/2014/main" id="{B9AE25B5-349B-5C47-9854-CC58C3DFD0E6}"/>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37" name="TextBox 36">
                  <a:extLst>
                    <a:ext uri="{FF2B5EF4-FFF2-40B4-BE49-F238E27FC236}">
                      <a16:creationId xmlns:a16="http://schemas.microsoft.com/office/drawing/2014/main" id="{FBC27616-0537-A643-80CA-4C159C63CC02}"/>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31" name="TextBox 30">
                <a:extLst>
                  <a:ext uri="{FF2B5EF4-FFF2-40B4-BE49-F238E27FC236}">
                    <a16:creationId xmlns:a16="http://schemas.microsoft.com/office/drawing/2014/main" id="{02138E1E-A77D-E446-B51D-5B1FD135B9BF}"/>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2" name="TextBox 31">
                <a:extLst>
                  <a:ext uri="{FF2B5EF4-FFF2-40B4-BE49-F238E27FC236}">
                    <a16:creationId xmlns:a16="http://schemas.microsoft.com/office/drawing/2014/main" id="{620C17C2-E7A1-8A48-AD81-3A9EAACA602D}"/>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3" name="TextBox 32">
                <a:extLst>
                  <a:ext uri="{FF2B5EF4-FFF2-40B4-BE49-F238E27FC236}">
                    <a16:creationId xmlns:a16="http://schemas.microsoft.com/office/drawing/2014/main" id="{FCE72D9E-F64A-6C45-B5E4-5509FBC7C3DA}"/>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34" name="TextBox 33">
                <a:extLst>
                  <a:ext uri="{FF2B5EF4-FFF2-40B4-BE49-F238E27FC236}">
                    <a16:creationId xmlns:a16="http://schemas.microsoft.com/office/drawing/2014/main" id="{F7CB64C4-3F1A-F84B-B69A-13F4593C12B6}"/>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3" name="Date Placeholder 2">
            <a:extLst>
              <a:ext uri="{FF2B5EF4-FFF2-40B4-BE49-F238E27FC236}">
                <a16:creationId xmlns:a16="http://schemas.microsoft.com/office/drawing/2014/main" id="{996897C2-6DB8-D84B-835C-E23BE83E1A08}"/>
              </a:ext>
            </a:extLst>
          </p:cNvPr>
          <p:cNvSpPr>
            <a:spLocks noGrp="1"/>
          </p:cNvSpPr>
          <p:nvPr>
            <p:ph type="dt" sz="half" idx="101"/>
          </p:nvPr>
        </p:nvSpPr>
        <p:spPr/>
        <p:txBody>
          <a:bodyPr/>
          <a:lstStyle/>
          <a:p>
            <a:endParaRPr lang="en-US" dirty="0"/>
          </a:p>
        </p:txBody>
      </p:sp>
      <p:sp>
        <p:nvSpPr>
          <p:cNvPr id="8" name="Footer Placeholder 7">
            <a:extLst>
              <a:ext uri="{FF2B5EF4-FFF2-40B4-BE49-F238E27FC236}">
                <a16:creationId xmlns:a16="http://schemas.microsoft.com/office/drawing/2014/main" id="{0967810F-AD16-6E49-B2A3-1DA6D8B1281F}"/>
              </a:ext>
            </a:extLst>
          </p:cNvPr>
          <p:cNvSpPr>
            <a:spLocks noGrp="1"/>
          </p:cNvSpPr>
          <p:nvPr>
            <p:ph type="ftr" sz="quarter" idx="102"/>
          </p:nvPr>
        </p:nvSpPr>
        <p:spPr/>
        <p:txBody>
          <a:bodyPr/>
          <a:lstStyle/>
          <a:p>
            <a:endParaRPr lang="en-US" dirty="0"/>
          </a:p>
        </p:txBody>
      </p:sp>
      <p:sp>
        <p:nvSpPr>
          <p:cNvPr id="10" name="Slide Number Placeholder 9">
            <a:extLst>
              <a:ext uri="{FF2B5EF4-FFF2-40B4-BE49-F238E27FC236}">
                <a16:creationId xmlns:a16="http://schemas.microsoft.com/office/drawing/2014/main" id="{5E7FAC5D-4E0E-F541-A5F0-7B548D5C6943}"/>
              </a:ext>
            </a:extLst>
          </p:cNvPr>
          <p:cNvSpPr>
            <a:spLocks noGrp="1"/>
          </p:cNvSpPr>
          <p:nvPr>
            <p:ph type="sldNum" sz="quarter" idx="103"/>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spTree>
    <p:extLst>
      <p:ext uri="{BB962C8B-B14F-4D97-AF65-F5344CB8AC3E}">
        <p14:creationId xmlns:p14="http://schemas.microsoft.com/office/powerpoint/2010/main" val="117209002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Map and Chart">
    <p:spTree>
      <p:nvGrpSpPr>
        <p:cNvPr id="1" name=""/>
        <p:cNvGrpSpPr/>
        <p:nvPr/>
      </p:nvGrpSpPr>
      <p:grpSpPr>
        <a:xfrm>
          <a:off x="0" y="0"/>
          <a:ext cx="0" cy="0"/>
          <a:chOff x="0" y="0"/>
          <a:chExt cx="0" cy="0"/>
        </a:xfrm>
      </p:grpSpPr>
      <p:sp>
        <p:nvSpPr>
          <p:cNvPr id="66" name="Picture Placeholder 65">
            <a:extLst>
              <a:ext uri="{FF2B5EF4-FFF2-40B4-BE49-F238E27FC236}">
                <a16:creationId xmlns:a16="http://schemas.microsoft.com/office/drawing/2014/main" id="{47AC9F2B-9FA3-B946-AE1F-F9768BBA8DF6}"/>
              </a:ext>
            </a:extLst>
          </p:cNvPr>
          <p:cNvSpPr>
            <a:spLocks noGrp="1"/>
          </p:cNvSpPr>
          <p:nvPr>
            <p:ph type="pic" sz="quarter" idx="1002" hasCustomPrompt="1"/>
          </p:nvPr>
        </p:nvSpPr>
        <p:spPr>
          <a:xfrm>
            <a:off x="-2337" y="-5203"/>
            <a:ext cx="12196676" cy="6868407"/>
          </a:xfrm>
          <a:custGeom>
            <a:avLst/>
            <a:gdLst>
              <a:gd name="connsiteX0" fmla="*/ 8385242 w 9147507"/>
              <a:gd name="connsiteY0" fmla="*/ 6586428 h 6868407"/>
              <a:gd name="connsiteX1" fmla="*/ 8402449 w 9147507"/>
              <a:gd name="connsiteY1" fmla="*/ 6588283 h 6868407"/>
              <a:gd name="connsiteX2" fmla="*/ 8411354 w 9147507"/>
              <a:gd name="connsiteY2" fmla="*/ 6595072 h 6868407"/>
              <a:gd name="connsiteX3" fmla="*/ 8417054 w 9147507"/>
              <a:gd name="connsiteY3" fmla="*/ 6605397 h 6868407"/>
              <a:gd name="connsiteX4" fmla="*/ 8419091 w 9147507"/>
              <a:gd name="connsiteY4" fmla="*/ 6618609 h 6868407"/>
              <a:gd name="connsiteX5" fmla="*/ 8417153 w 9147507"/>
              <a:gd name="connsiteY5" fmla="*/ 6631680 h 6868407"/>
              <a:gd name="connsiteX6" fmla="*/ 8411454 w 9147507"/>
              <a:gd name="connsiteY6" fmla="*/ 6642075 h 6868407"/>
              <a:gd name="connsiteX7" fmla="*/ 8379394 w 9147507"/>
              <a:gd name="connsiteY7" fmla="*/ 6648920 h 6868407"/>
              <a:gd name="connsiteX8" fmla="*/ 8370417 w 9147507"/>
              <a:gd name="connsiteY8" fmla="*/ 6642075 h 6868407"/>
              <a:gd name="connsiteX9" fmla="*/ 8364718 w 9147507"/>
              <a:gd name="connsiteY9" fmla="*/ 6631680 h 6868407"/>
              <a:gd name="connsiteX10" fmla="*/ 8362552 w 9147507"/>
              <a:gd name="connsiteY10" fmla="*/ 6618609 h 6868407"/>
              <a:gd name="connsiteX11" fmla="*/ 8364604 w 9147507"/>
              <a:gd name="connsiteY11" fmla="*/ 6605397 h 6868407"/>
              <a:gd name="connsiteX12" fmla="*/ 8370303 w 9147507"/>
              <a:gd name="connsiteY12" fmla="*/ 6595072 h 6868407"/>
              <a:gd name="connsiteX13" fmla="*/ 8385242 w 9147507"/>
              <a:gd name="connsiteY13" fmla="*/ 6586428 h 6868407"/>
              <a:gd name="connsiteX14" fmla="*/ 8529140 w 9147507"/>
              <a:gd name="connsiteY14" fmla="*/ 6563892 h 6868407"/>
              <a:gd name="connsiteX15" fmla="*/ 8529140 w 9147507"/>
              <a:gd name="connsiteY15" fmla="*/ 6609838 h 6868407"/>
              <a:gd name="connsiteX16" fmla="*/ 8529140 w 9147507"/>
              <a:gd name="connsiteY16" fmla="*/ 6673179 h 6868407"/>
              <a:gd name="connsiteX17" fmla="*/ 8599130 w 9147507"/>
              <a:gd name="connsiteY17" fmla="*/ 6673179 h 6868407"/>
              <a:gd name="connsiteX18" fmla="*/ 8599529 w 9147507"/>
              <a:gd name="connsiteY18" fmla="*/ 6673179 h 6868407"/>
              <a:gd name="connsiteX19" fmla="*/ 8599529 w 9147507"/>
              <a:gd name="connsiteY19" fmla="*/ 6656178 h 6868407"/>
              <a:gd name="connsiteX20" fmla="*/ 8599130 w 9147507"/>
              <a:gd name="connsiteY20" fmla="*/ 6656178 h 6868407"/>
              <a:gd name="connsiteX21" fmla="*/ 8599130 w 9147507"/>
              <a:gd name="connsiteY21" fmla="*/ 6650080 h 6868407"/>
              <a:gd name="connsiteX22" fmla="*/ 8554802 w 9147507"/>
              <a:gd name="connsiteY22" fmla="*/ 6650080 h 6868407"/>
              <a:gd name="connsiteX23" fmla="*/ 8554802 w 9147507"/>
              <a:gd name="connsiteY23" fmla="*/ 6628755 h 6868407"/>
              <a:gd name="connsiteX24" fmla="*/ 8595212 w 9147507"/>
              <a:gd name="connsiteY24" fmla="*/ 6628755 h 6868407"/>
              <a:gd name="connsiteX25" fmla="*/ 8595212 w 9147507"/>
              <a:gd name="connsiteY25" fmla="*/ 6606683 h 6868407"/>
              <a:gd name="connsiteX26" fmla="*/ 8554802 w 9147507"/>
              <a:gd name="connsiteY26" fmla="*/ 6606683 h 6868407"/>
              <a:gd name="connsiteX27" fmla="*/ 8554802 w 9147507"/>
              <a:gd name="connsiteY27" fmla="*/ 6587161 h 6868407"/>
              <a:gd name="connsiteX28" fmla="*/ 8599130 w 9147507"/>
              <a:gd name="connsiteY28" fmla="*/ 6587161 h 6868407"/>
              <a:gd name="connsiteX29" fmla="*/ 8599130 w 9147507"/>
              <a:gd name="connsiteY29" fmla="*/ 6580893 h 6868407"/>
              <a:gd name="connsiteX30" fmla="*/ 8599529 w 9147507"/>
              <a:gd name="connsiteY30" fmla="*/ 6580893 h 6868407"/>
              <a:gd name="connsiteX31" fmla="*/ 8599529 w 9147507"/>
              <a:gd name="connsiteY31" fmla="*/ 6563892 h 6868407"/>
              <a:gd name="connsiteX32" fmla="*/ 8599130 w 9147507"/>
              <a:gd name="connsiteY32" fmla="*/ 6563892 h 6868407"/>
              <a:gd name="connsiteX33" fmla="*/ 8550869 w 9147507"/>
              <a:gd name="connsiteY33" fmla="*/ 6563892 h 6868407"/>
              <a:gd name="connsiteX34" fmla="*/ 8451684 w 9147507"/>
              <a:gd name="connsiteY34" fmla="*/ 6563892 h 6868407"/>
              <a:gd name="connsiteX35" fmla="*/ 8451684 w 9147507"/>
              <a:gd name="connsiteY35" fmla="*/ 6609838 h 6868407"/>
              <a:gd name="connsiteX36" fmla="*/ 8451684 w 9147507"/>
              <a:gd name="connsiteY36" fmla="*/ 6673179 h 6868407"/>
              <a:gd name="connsiteX37" fmla="*/ 8521674 w 9147507"/>
              <a:gd name="connsiteY37" fmla="*/ 6673179 h 6868407"/>
              <a:gd name="connsiteX38" fmla="*/ 8522059 w 9147507"/>
              <a:gd name="connsiteY38" fmla="*/ 6673179 h 6868407"/>
              <a:gd name="connsiteX39" fmla="*/ 8522059 w 9147507"/>
              <a:gd name="connsiteY39" fmla="*/ 6656178 h 6868407"/>
              <a:gd name="connsiteX40" fmla="*/ 8521674 w 9147507"/>
              <a:gd name="connsiteY40" fmla="*/ 6656178 h 6868407"/>
              <a:gd name="connsiteX41" fmla="*/ 8521674 w 9147507"/>
              <a:gd name="connsiteY41" fmla="*/ 6650080 h 6868407"/>
              <a:gd name="connsiteX42" fmla="*/ 8477332 w 9147507"/>
              <a:gd name="connsiteY42" fmla="*/ 6650080 h 6868407"/>
              <a:gd name="connsiteX43" fmla="*/ 8477332 w 9147507"/>
              <a:gd name="connsiteY43" fmla="*/ 6628755 h 6868407"/>
              <a:gd name="connsiteX44" fmla="*/ 8517742 w 9147507"/>
              <a:gd name="connsiteY44" fmla="*/ 6628755 h 6868407"/>
              <a:gd name="connsiteX45" fmla="*/ 8517742 w 9147507"/>
              <a:gd name="connsiteY45" fmla="*/ 6606683 h 6868407"/>
              <a:gd name="connsiteX46" fmla="*/ 8477332 w 9147507"/>
              <a:gd name="connsiteY46" fmla="*/ 6606683 h 6868407"/>
              <a:gd name="connsiteX47" fmla="*/ 8477332 w 9147507"/>
              <a:gd name="connsiteY47" fmla="*/ 6587161 h 6868407"/>
              <a:gd name="connsiteX48" fmla="*/ 8521674 w 9147507"/>
              <a:gd name="connsiteY48" fmla="*/ 6587161 h 6868407"/>
              <a:gd name="connsiteX49" fmla="*/ 8521674 w 9147507"/>
              <a:gd name="connsiteY49" fmla="*/ 6580893 h 6868407"/>
              <a:gd name="connsiteX50" fmla="*/ 8522059 w 9147507"/>
              <a:gd name="connsiteY50" fmla="*/ 6580893 h 6868407"/>
              <a:gd name="connsiteX51" fmla="*/ 8522059 w 9147507"/>
              <a:gd name="connsiteY51" fmla="*/ 6563892 h 6868407"/>
              <a:gd name="connsiteX52" fmla="*/ 8521674 w 9147507"/>
              <a:gd name="connsiteY52" fmla="*/ 6563892 h 6868407"/>
              <a:gd name="connsiteX53" fmla="*/ 8473399 w 9147507"/>
              <a:gd name="connsiteY53" fmla="*/ 6563892 h 6868407"/>
              <a:gd name="connsiteX54" fmla="*/ 8391420 w 9147507"/>
              <a:gd name="connsiteY54" fmla="*/ 6563859 h 6868407"/>
              <a:gd name="connsiteX55" fmla="*/ 8368793 w 9147507"/>
              <a:gd name="connsiteY55" fmla="*/ 6568085 h 6868407"/>
              <a:gd name="connsiteX56" fmla="*/ 8360657 w 9147507"/>
              <a:gd name="connsiteY56" fmla="*/ 6572212 h 6868407"/>
              <a:gd name="connsiteX57" fmla="*/ 8336291 w 9147507"/>
              <a:gd name="connsiteY57" fmla="*/ 6623778 h 6868407"/>
              <a:gd name="connsiteX58" fmla="*/ 8339896 w 9147507"/>
              <a:gd name="connsiteY58" fmla="*/ 6640258 h 6868407"/>
              <a:gd name="connsiteX59" fmla="*/ 8367938 w 9147507"/>
              <a:gd name="connsiteY59" fmla="*/ 6668991 h 6868407"/>
              <a:gd name="connsiteX60" fmla="*/ 8390423 w 9147507"/>
              <a:gd name="connsiteY60" fmla="*/ 6673217 h 6868407"/>
              <a:gd name="connsiteX61" fmla="*/ 8412993 w 9147507"/>
              <a:gd name="connsiteY61" fmla="*/ 6668991 h 6868407"/>
              <a:gd name="connsiteX62" fmla="*/ 8430433 w 9147507"/>
              <a:gd name="connsiteY62" fmla="*/ 6657512 h 6868407"/>
              <a:gd name="connsiteX63" fmla="*/ 8441747 w 9147507"/>
              <a:gd name="connsiteY63" fmla="*/ 6640258 h 6868407"/>
              <a:gd name="connsiteX64" fmla="*/ 8445765 w 9147507"/>
              <a:gd name="connsiteY64" fmla="*/ 6618609 h 6868407"/>
              <a:gd name="connsiteX65" fmla="*/ 8441904 w 9147507"/>
              <a:gd name="connsiteY65" fmla="*/ 6596875 h 6868407"/>
              <a:gd name="connsiteX66" fmla="*/ 8430946 w 9147507"/>
              <a:gd name="connsiteY66" fmla="*/ 6579564 h 6868407"/>
              <a:gd name="connsiteX67" fmla="*/ 8413848 w 9147507"/>
              <a:gd name="connsiteY67" fmla="*/ 6568085 h 6868407"/>
              <a:gd name="connsiteX68" fmla="*/ 8391420 w 9147507"/>
              <a:gd name="connsiteY68" fmla="*/ 6563859 h 6868407"/>
              <a:gd name="connsiteX69" fmla="*/ 8248710 w 9147507"/>
              <a:gd name="connsiteY69" fmla="*/ 6563512 h 6868407"/>
              <a:gd name="connsiteX70" fmla="*/ 8265053 w 9147507"/>
              <a:gd name="connsiteY70" fmla="*/ 6597584 h 6868407"/>
              <a:gd name="connsiteX71" fmla="*/ 8292012 w 9147507"/>
              <a:gd name="connsiteY71" fmla="*/ 6597584 h 6868407"/>
              <a:gd name="connsiteX72" fmla="*/ 8277663 w 9147507"/>
              <a:gd name="connsiteY72" fmla="*/ 6563512 h 6868407"/>
              <a:gd name="connsiteX73" fmla="*/ 8328560 w 9147507"/>
              <a:gd name="connsiteY73" fmla="*/ 6563498 h 6868407"/>
              <a:gd name="connsiteX74" fmla="*/ 8302870 w 9147507"/>
              <a:gd name="connsiteY74" fmla="*/ 6622628 h 6868407"/>
              <a:gd name="connsiteX75" fmla="*/ 8295902 w 9147507"/>
              <a:gd name="connsiteY75" fmla="*/ 6606289 h 6868407"/>
              <a:gd name="connsiteX76" fmla="*/ 8269157 w 9147507"/>
              <a:gd name="connsiteY76" fmla="*/ 6606289 h 6868407"/>
              <a:gd name="connsiteX77" fmla="*/ 8301089 w 9147507"/>
              <a:gd name="connsiteY77" fmla="*/ 6672954 h 6868407"/>
              <a:gd name="connsiteX78" fmla="*/ 8304052 w 9147507"/>
              <a:gd name="connsiteY78" fmla="*/ 6672954 h 6868407"/>
              <a:gd name="connsiteX79" fmla="*/ 8355790 w 9147507"/>
              <a:gd name="connsiteY79" fmla="*/ 6563498 h 6868407"/>
              <a:gd name="connsiteX80" fmla="*/ 8707789 w 9147507"/>
              <a:gd name="connsiteY80" fmla="*/ 6525960 h 6868407"/>
              <a:gd name="connsiteX81" fmla="*/ 8707789 w 9147507"/>
              <a:gd name="connsiteY81" fmla="*/ 6700888 h 6868407"/>
              <a:gd name="connsiteX82" fmla="*/ 8727178 w 9147507"/>
              <a:gd name="connsiteY82" fmla="*/ 6700888 h 6868407"/>
              <a:gd name="connsiteX83" fmla="*/ 8727178 w 9147507"/>
              <a:gd name="connsiteY83" fmla="*/ 6525960 h 6868407"/>
              <a:gd name="connsiteX84" fmla="*/ 3507 w 9147507"/>
              <a:gd name="connsiteY84" fmla="*/ 0 h 6868407"/>
              <a:gd name="connsiteX85" fmla="*/ 9147507 w 9147507"/>
              <a:gd name="connsiteY85" fmla="*/ 0 h 6868407"/>
              <a:gd name="connsiteX86" fmla="*/ 9147507 w 9147507"/>
              <a:gd name="connsiteY86" fmla="*/ 5003881 h 6868407"/>
              <a:gd name="connsiteX87" fmla="*/ 9147507 w 9147507"/>
              <a:gd name="connsiteY87" fmla="*/ 5873907 h 6868407"/>
              <a:gd name="connsiteX88" fmla="*/ 9147507 w 9147507"/>
              <a:gd name="connsiteY88" fmla="*/ 6210038 h 6868407"/>
              <a:gd name="connsiteX89" fmla="*/ 9147507 w 9147507"/>
              <a:gd name="connsiteY89" fmla="*/ 6327592 h 6868407"/>
              <a:gd name="connsiteX90" fmla="*/ 9147507 w 9147507"/>
              <a:gd name="connsiteY90" fmla="*/ 6868406 h 6868407"/>
              <a:gd name="connsiteX91" fmla="*/ 7642249 w 9147507"/>
              <a:gd name="connsiteY91" fmla="*/ 6868406 h 6868407"/>
              <a:gd name="connsiteX92" fmla="*/ 7642249 w 9147507"/>
              <a:gd name="connsiteY92" fmla="*/ 6868407 h 6868407"/>
              <a:gd name="connsiteX93" fmla="*/ 0 w 9147507"/>
              <a:gd name="connsiteY93" fmla="*/ 6868407 h 6868407"/>
              <a:gd name="connsiteX94" fmla="*/ 0 w 9147507"/>
              <a:gd name="connsiteY94" fmla="*/ 10407 h 6868407"/>
              <a:gd name="connsiteX95" fmla="*/ 3507 w 9147507"/>
              <a:gd name="connsiteY95" fmla="*/ 10407 h 6868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9147507" h="6868407">
                <a:moveTo>
                  <a:pt x="8385242" y="6586428"/>
                </a:moveTo>
                <a:cubicBezTo>
                  <a:pt x="8390892" y="6585235"/>
                  <a:pt x="8396920" y="6585791"/>
                  <a:pt x="8402449" y="6588283"/>
                </a:cubicBezTo>
                <a:cubicBezTo>
                  <a:pt x="8405868" y="6589901"/>
                  <a:pt x="8408903" y="6592214"/>
                  <a:pt x="8411354" y="6595072"/>
                </a:cubicBezTo>
                <a:cubicBezTo>
                  <a:pt x="8413894" y="6598129"/>
                  <a:pt x="8415827" y="6601632"/>
                  <a:pt x="8417054" y="6605397"/>
                </a:cubicBezTo>
                <a:cubicBezTo>
                  <a:pt x="8418459" y="6609661"/>
                  <a:pt x="8419147" y="6614124"/>
                  <a:pt x="8419091" y="6618609"/>
                </a:cubicBezTo>
                <a:cubicBezTo>
                  <a:pt x="8419172" y="6623041"/>
                  <a:pt x="8418518" y="6627457"/>
                  <a:pt x="8417153" y="6631680"/>
                </a:cubicBezTo>
                <a:cubicBezTo>
                  <a:pt x="8415918" y="6635462"/>
                  <a:pt x="8413985" y="6638986"/>
                  <a:pt x="8411454" y="6642075"/>
                </a:cubicBezTo>
                <a:cubicBezTo>
                  <a:pt x="8403479" y="6651121"/>
                  <a:pt x="8390435" y="6653906"/>
                  <a:pt x="8379394" y="6648920"/>
                </a:cubicBezTo>
                <a:cubicBezTo>
                  <a:pt x="8375930" y="6647317"/>
                  <a:pt x="8372865" y="6644980"/>
                  <a:pt x="8370417" y="6642075"/>
                </a:cubicBezTo>
                <a:cubicBezTo>
                  <a:pt x="8367886" y="6638986"/>
                  <a:pt x="8365953" y="6635462"/>
                  <a:pt x="8364718" y="6631680"/>
                </a:cubicBezTo>
                <a:cubicBezTo>
                  <a:pt x="8363276" y="6627469"/>
                  <a:pt x="8362545" y="6623053"/>
                  <a:pt x="8362552" y="6618609"/>
                </a:cubicBezTo>
                <a:cubicBezTo>
                  <a:pt x="8362500" y="6614123"/>
                  <a:pt x="8363193" y="6609660"/>
                  <a:pt x="8364604" y="6605397"/>
                </a:cubicBezTo>
                <a:cubicBezTo>
                  <a:pt x="8365830" y="6601632"/>
                  <a:pt x="8367764" y="6598129"/>
                  <a:pt x="8370303" y="6595072"/>
                </a:cubicBezTo>
                <a:cubicBezTo>
                  <a:pt x="8374320" y="6590564"/>
                  <a:pt x="8379592" y="6587621"/>
                  <a:pt x="8385242" y="6586428"/>
                </a:cubicBezTo>
                <a:close/>
                <a:moveTo>
                  <a:pt x="8529140" y="6563892"/>
                </a:moveTo>
                <a:lnTo>
                  <a:pt x="8529140" y="6609838"/>
                </a:lnTo>
                <a:lnTo>
                  <a:pt x="8529140" y="6673179"/>
                </a:lnTo>
                <a:lnTo>
                  <a:pt x="8599130" y="6673179"/>
                </a:lnTo>
                <a:lnTo>
                  <a:pt x="8599529" y="6673179"/>
                </a:lnTo>
                <a:lnTo>
                  <a:pt x="8599529" y="6656178"/>
                </a:lnTo>
                <a:lnTo>
                  <a:pt x="8599130" y="6656178"/>
                </a:lnTo>
                <a:lnTo>
                  <a:pt x="8599130" y="6650080"/>
                </a:lnTo>
                <a:lnTo>
                  <a:pt x="8554802" y="6650080"/>
                </a:lnTo>
                <a:lnTo>
                  <a:pt x="8554802" y="6628755"/>
                </a:lnTo>
                <a:lnTo>
                  <a:pt x="8595212" y="6628755"/>
                </a:lnTo>
                <a:lnTo>
                  <a:pt x="8595212" y="6606683"/>
                </a:lnTo>
                <a:lnTo>
                  <a:pt x="8554802" y="6606683"/>
                </a:lnTo>
                <a:lnTo>
                  <a:pt x="8554802" y="6587161"/>
                </a:lnTo>
                <a:lnTo>
                  <a:pt x="8599130" y="6587161"/>
                </a:lnTo>
                <a:lnTo>
                  <a:pt x="8599130" y="6580893"/>
                </a:lnTo>
                <a:lnTo>
                  <a:pt x="8599529" y="6580893"/>
                </a:lnTo>
                <a:lnTo>
                  <a:pt x="8599529" y="6563892"/>
                </a:lnTo>
                <a:lnTo>
                  <a:pt x="8599130" y="6563892"/>
                </a:lnTo>
                <a:lnTo>
                  <a:pt x="8550869" y="6563892"/>
                </a:lnTo>
                <a:close/>
                <a:moveTo>
                  <a:pt x="8451684" y="6563892"/>
                </a:moveTo>
                <a:lnTo>
                  <a:pt x="8451684" y="6609838"/>
                </a:lnTo>
                <a:lnTo>
                  <a:pt x="8451684" y="6673179"/>
                </a:lnTo>
                <a:lnTo>
                  <a:pt x="8521674" y="6673179"/>
                </a:lnTo>
                <a:lnTo>
                  <a:pt x="8522059" y="6673179"/>
                </a:lnTo>
                <a:lnTo>
                  <a:pt x="8522059" y="6656178"/>
                </a:lnTo>
                <a:lnTo>
                  <a:pt x="8521674" y="6656178"/>
                </a:lnTo>
                <a:lnTo>
                  <a:pt x="8521674" y="6650080"/>
                </a:lnTo>
                <a:lnTo>
                  <a:pt x="8477332" y="6650080"/>
                </a:lnTo>
                <a:lnTo>
                  <a:pt x="8477332" y="6628755"/>
                </a:lnTo>
                <a:lnTo>
                  <a:pt x="8517742" y="6628755"/>
                </a:lnTo>
                <a:lnTo>
                  <a:pt x="8517742" y="6606683"/>
                </a:lnTo>
                <a:lnTo>
                  <a:pt x="8477332" y="6606683"/>
                </a:lnTo>
                <a:lnTo>
                  <a:pt x="8477332" y="6587161"/>
                </a:lnTo>
                <a:lnTo>
                  <a:pt x="8521674" y="6587161"/>
                </a:lnTo>
                <a:lnTo>
                  <a:pt x="8521674" y="6580893"/>
                </a:lnTo>
                <a:lnTo>
                  <a:pt x="8522059" y="6580893"/>
                </a:lnTo>
                <a:lnTo>
                  <a:pt x="8522059" y="6563892"/>
                </a:lnTo>
                <a:lnTo>
                  <a:pt x="8521674" y="6563892"/>
                </a:lnTo>
                <a:lnTo>
                  <a:pt x="8473399" y="6563892"/>
                </a:lnTo>
                <a:close/>
                <a:moveTo>
                  <a:pt x="8391420" y="6563859"/>
                </a:moveTo>
                <a:cubicBezTo>
                  <a:pt x="8383669" y="6563775"/>
                  <a:pt x="8375978" y="6565211"/>
                  <a:pt x="8368793" y="6568085"/>
                </a:cubicBezTo>
                <a:cubicBezTo>
                  <a:pt x="8365970" y="6569236"/>
                  <a:pt x="8363249" y="6570617"/>
                  <a:pt x="8360657" y="6572212"/>
                </a:cubicBezTo>
                <a:lnTo>
                  <a:pt x="8336291" y="6623778"/>
                </a:lnTo>
                <a:cubicBezTo>
                  <a:pt x="8336685" y="6629414"/>
                  <a:pt x="8337899" y="6634964"/>
                  <a:pt x="8339896" y="6640258"/>
                </a:cubicBezTo>
                <a:cubicBezTo>
                  <a:pt x="8344700" y="6653332"/>
                  <a:pt x="8354892" y="6663776"/>
                  <a:pt x="8367938" y="6668991"/>
                </a:cubicBezTo>
                <a:cubicBezTo>
                  <a:pt x="8375071" y="6671875"/>
                  <a:pt x="8382717" y="6673312"/>
                  <a:pt x="8390423" y="6673217"/>
                </a:cubicBezTo>
                <a:cubicBezTo>
                  <a:pt x="8398155" y="6673304"/>
                  <a:pt x="8405828" y="6671868"/>
                  <a:pt x="8412993" y="6668991"/>
                </a:cubicBezTo>
                <a:cubicBezTo>
                  <a:pt x="8419520" y="6666349"/>
                  <a:pt x="8425450" y="6662447"/>
                  <a:pt x="8430433" y="6657512"/>
                </a:cubicBezTo>
                <a:cubicBezTo>
                  <a:pt x="8435357" y="6652585"/>
                  <a:pt x="8439207" y="6646712"/>
                  <a:pt x="8441747" y="6640258"/>
                </a:cubicBezTo>
                <a:cubicBezTo>
                  <a:pt x="8444481" y="6633364"/>
                  <a:pt x="8445845" y="6626013"/>
                  <a:pt x="8445765" y="6618609"/>
                </a:cubicBezTo>
                <a:cubicBezTo>
                  <a:pt x="8445835" y="6611191"/>
                  <a:pt x="8444526" y="6603825"/>
                  <a:pt x="8441904" y="6596875"/>
                </a:cubicBezTo>
                <a:cubicBezTo>
                  <a:pt x="8439474" y="6590431"/>
                  <a:pt x="8435746" y="6584542"/>
                  <a:pt x="8430946" y="6579564"/>
                </a:cubicBezTo>
                <a:cubicBezTo>
                  <a:pt x="8426104" y="6574618"/>
                  <a:pt x="8420284" y="6570711"/>
                  <a:pt x="8413848" y="6568085"/>
                </a:cubicBezTo>
                <a:cubicBezTo>
                  <a:pt x="8406737" y="6565195"/>
                  <a:pt x="8399108" y="6563758"/>
                  <a:pt x="8391420" y="6563859"/>
                </a:cubicBezTo>
                <a:close/>
                <a:moveTo>
                  <a:pt x="8248710" y="6563512"/>
                </a:moveTo>
                <a:lnTo>
                  <a:pt x="8265053" y="6597584"/>
                </a:lnTo>
                <a:lnTo>
                  <a:pt x="8292012" y="6597584"/>
                </a:lnTo>
                <a:lnTo>
                  <a:pt x="8277663" y="6563512"/>
                </a:lnTo>
                <a:close/>
                <a:moveTo>
                  <a:pt x="8328560" y="6563498"/>
                </a:moveTo>
                <a:lnTo>
                  <a:pt x="8302870" y="6622628"/>
                </a:lnTo>
                <a:lnTo>
                  <a:pt x="8295902" y="6606289"/>
                </a:lnTo>
                <a:lnTo>
                  <a:pt x="8269157" y="6606289"/>
                </a:lnTo>
                <a:lnTo>
                  <a:pt x="8301089" y="6672954"/>
                </a:lnTo>
                <a:lnTo>
                  <a:pt x="8304052" y="6672954"/>
                </a:lnTo>
                <a:lnTo>
                  <a:pt x="8355790" y="6563498"/>
                </a:lnTo>
                <a:close/>
                <a:moveTo>
                  <a:pt x="8707789" y="6525960"/>
                </a:moveTo>
                <a:lnTo>
                  <a:pt x="8707789" y="6700888"/>
                </a:lnTo>
                <a:lnTo>
                  <a:pt x="8727178" y="6700888"/>
                </a:lnTo>
                <a:lnTo>
                  <a:pt x="8727178" y="6525960"/>
                </a:lnTo>
                <a:close/>
                <a:moveTo>
                  <a:pt x="3507" y="0"/>
                </a:moveTo>
                <a:lnTo>
                  <a:pt x="9147507" y="0"/>
                </a:lnTo>
                <a:lnTo>
                  <a:pt x="9147507" y="5003881"/>
                </a:lnTo>
                <a:lnTo>
                  <a:pt x="9147507" y="5873907"/>
                </a:lnTo>
                <a:lnTo>
                  <a:pt x="9147507" y="6210038"/>
                </a:lnTo>
                <a:lnTo>
                  <a:pt x="9147507" y="6327592"/>
                </a:lnTo>
                <a:lnTo>
                  <a:pt x="9147507" y="6868406"/>
                </a:lnTo>
                <a:lnTo>
                  <a:pt x="7642249" y="6868406"/>
                </a:lnTo>
                <a:lnTo>
                  <a:pt x="7642249" y="6868407"/>
                </a:lnTo>
                <a:lnTo>
                  <a:pt x="0" y="6868407"/>
                </a:lnTo>
                <a:lnTo>
                  <a:pt x="0" y="10407"/>
                </a:lnTo>
                <a:lnTo>
                  <a:pt x="3507" y="10407"/>
                </a:lnTo>
                <a:close/>
              </a:path>
            </a:pathLst>
          </a:custGeom>
          <a:blipFill>
            <a:blip r:embed="rId2"/>
            <a:stretch>
              <a:fillRect/>
            </a:stretch>
          </a:blipFill>
        </p:spPr>
        <p:txBody>
          <a:bodyPr wrap="square" lIns="792000" tIns="0" rIns="5256000" anchor="ctr">
            <a:noAutofit/>
          </a:bodyPr>
          <a:lstStyle>
            <a:lvl1pPr algn="ctr">
              <a:defRPr b="0">
                <a:solidFill>
                  <a:schemeClr val="tx1">
                    <a:lumMod val="50000"/>
                    <a:lumOff val="50000"/>
                  </a:schemeClr>
                </a:solidFill>
              </a:defRPr>
            </a:lvl1pPr>
          </a:lstStyle>
          <a:p>
            <a:r>
              <a:rPr lang="en-US" dirty="0"/>
              <a:t>Click the icon at the center of the slide to add a pre-designed half-page map graphic to the slide.</a:t>
            </a:r>
            <a:br>
              <a:rPr lang="en-US" dirty="0"/>
            </a:br>
            <a:r>
              <a:rPr lang="en-US" dirty="0"/>
              <a:t>(In the Marketing Resource Database, these files will have “half slide” in the files name)</a:t>
            </a:r>
          </a:p>
        </p:txBody>
      </p:sp>
      <p:sp>
        <p:nvSpPr>
          <p:cNvPr id="9" name="Title 8">
            <a:extLst>
              <a:ext uri="{FF2B5EF4-FFF2-40B4-BE49-F238E27FC236}">
                <a16:creationId xmlns:a16="http://schemas.microsoft.com/office/drawing/2014/main" id="{A3E7C59C-7AB2-FD4B-9D3E-CA7E0D8CB2F3}"/>
              </a:ext>
            </a:extLst>
          </p:cNvPr>
          <p:cNvSpPr>
            <a:spLocks noGrp="1"/>
          </p:cNvSpPr>
          <p:nvPr userDrawn="1">
            <p:ph type="title" hasCustomPrompt="1"/>
          </p:nvPr>
        </p:nvSpPr>
        <p:spPr/>
        <p:txBody>
          <a:bodyPr/>
          <a:lstStyle>
            <a:lvl1pPr>
              <a:defRPr/>
            </a:lvl1pPr>
          </a:lstStyle>
          <a:p>
            <a:pPr lvl="0"/>
            <a:r>
              <a:rPr lang="en-US" dirty="0"/>
              <a:t>CLICK TO ADD Slide TITLE. ALL CAPS. TWO LINES max.</a:t>
            </a:r>
          </a:p>
        </p:txBody>
      </p:sp>
      <p:sp>
        <p:nvSpPr>
          <p:cNvPr id="16" name="Chart Placeholder 2">
            <a:extLst>
              <a:ext uri="{FF2B5EF4-FFF2-40B4-BE49-F238E27FC236}">
                <a16:creationId xmlns:a16="http://schemas.microsoft.com/office/drawing/2014/main" id="{078808F4-3217-FA41-8ABF-24B9D247AE5A}"/>
              </a:ext>
            </a:extLst>
          </p:cNvPr>
          <p:cNvSpPr>
            <a:spLocks noGrp="1"/>
          </p:cNvSpPr>
          <p:nvPr userDrawn="1">
            <p:ph type="chart" sz="quarter" idx="114"/>
          </p:nvPr>
        </p:nvSpPr>
        <p:spPr>
          <a:xfrm>
            <a:off x="6265208" y="1735138"/>
            <a:ext cx="5344584" cy="4430712"/>
          </a:xfrm>
        </p:spPr>
        <p:txBody>
          <a:bodyPr/>
          <a:lstStyle>
            <a:lvl1pPr>
              <a:defRPr b="0">
                <a:solidFill>
                  <a:schemeClr val="tx1">
                    <a:lumMod val="50000"/>
                    <a:lumOff val="50000"/>
                  </a:schemeClr>
                </a:solidFill>
              </a:defRPr>
            </a:lvl1pPr>
          </a:lstStyle>
          <a:p>
            <a:r>
              <a:rPr lang="en-US"/>
              <a:t>Click icon to add chart</a:t>
            </a:r>
            <a:endParaRPr lang="en-US" dirty="0"/>
          </a:p>
        </p:txBody>
      </p:sp>
      <p:sp>
        <p:nvSpPr>
          <p:cNvPr id="1000" name="Footnotes Placeholder">
            <a:extLst>
              <a:ext uri="{FF2B5EF4-FFF2-40B4-BE49-F238E27FC236}">
                <a16:creationId xmlns:a16="http://schemas.microsoft.com/office/drawing/2014/main" id="{89C8ABCA-426C-9447-AA12-B5A756649D54}"/>
              </a:ext>
            </a:extLst>
          </p:cNvPr>
          <p:cNvSpPr>
            <a:spLocks noGrp="1"/>
          </p:cNvSpPr>
          <p:nvPr userDrawn="1">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grpSp>
        <p:nvGrpSpPr>
          <p:cNvPr id="6" name="Group 5">
            <a:extLst>
              <a:ext uri="{FF2B5EF4-FFF2-40B4-BE49-F238E27FC236}">
                <a16:creationId xmlns:a16="http://schemas.microsoft.com/office/drawing/2014/main" id="{A1834941-C348-A040-9D09-770ED5F00B5B}"/>
              </a:ext>
            </a:extLst>
          </p:cNvPr>
          <p:cNvGrpSpPr/>
          <p:nvPr userDrawn="1"/>
        </p:nvGrpSpPr>
        <p:grpSpPr>
          <a:xfrm>
            <a:off x="12532244" y="-1"/>
            <a:ext cx="3948953" cy="13179981"/>
            <a:chOff x="9399182" y="-1"/>
            <a:chExt cx="2961715" cy="13179981"/>
          </a:xfrm>
        </p:grpSpPr>
        <p:sp>
          <p:nvSpPr>
            <p:cNvPr id="80" name="Rectangle 79">
              <a:extLst>
                <a:ext uri="{FF2B5EF4-FFF2-40B4-BE49-F238E27FC236}">
                  <a16:creationId xmlns:a16="http://schemas.microsoft.com/office/drawing/2014/main" id="{7F39C21F-C07C-7740-9183-FE0C02C54D48}"/>
                </a:ext>
              </a:extLst>
            </p:cNvPr>
            <p:cNvSpPr/>
            <p:nvPr userDrawn="1"/>
          </p:nvSpPr>
          <p:spPr>
            <a:xfrm>
              <a:off x="9399182" y="-1"/>
              <a:ext cx="2798651" cy="12992987"/>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73" name="Picture 72">
              <a:extLst>
                <a:ext uri="{FF2B5EF4-FFF2-40B4-BE49-F238E27FC236}">
                  <a16:creationId xmlns:a16="http://schemas.microsoft.com/office/drawing/2014/main" id="{8D2E816D-1321-604A-8779-D37820720E7E}"/>
                </a:ext>
              </a:extLst>
            </p:cNvPr>
            <p:cNvPicPr>
              <a:picLocks noChangeAspect="1"/>
            </p:cNvPicPr>
            <p:nvPr userDrawn="1"/>
          </p:nvPicPr>
          <p:blipFill rotWithShape="1">
            <a:blip r:embed="rId3"/>
            <a:srcRect r="36104"/>
            <a:stretch/>
          </p:blipFill>
          <p:spPr>
            <a:xfrm>
              <a:off x="9558497" y="1330741"/>
              <a:ext cx="2639329" cy="522522"/>
            </a:xfrm>
            <a:prstGeom prst="rect">
              <a:avLst/>
            </a:prstGeom>
          </p:spPr>
        </p:pic>
        <p:grpSp>
          <p:nvGrpSpPr>
            <p:cNvPr id="81" name="Group 80">
              <a:extLst>
                <a:ext uri="{FF2B5EF4-FFF2-40B4-BE49-F238E27FC236}">
                  <a16:creationId xmlns:a16="http://schemas.microsoft.com/office/drawing/2014/main" id="{C545234B-6DF7-7643-92C8-BA7AC4A8A953}"/>
                </a:ext>
              </a:extLst>
            </p:cNvPr>
            <p:cNvGrpSpPr/>
            <p:nvPr userDrawn="1"/>
          </p:nvGrpSpPr>
          <p:grpSpPr>
            <a:xfrm>
              <a:off x="9541497" y="162442"/>
              <a:ext cx="2819400" cy="814510"/>
              <a:chOff x="-3644733" y="165205"/>
              <a:chExt cx="2819400" cy="814510"/>
            </a:xfrm>
          </p:grpSpPr>
          <p:sp>
            <p:nvSpPr>
              <p:cNvPr id="107" name="Rectangle 106">
                <a:extLst>
                  <a:ext uri="{FF2B5EF4-FFF2-40B4-BE49-F238E27FC236}">
                    <a16:creationId xmlns:a16="http://schemas.microsoft.com/office/drawing/2014/main" id="{2F039784-C448-5543-B741-6EBF9C27FE1C}"/>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08" name="TextBox 107">
                <a:extLst>
                  <a:ext uri="{FF2B5EF4-FFF2-40B4-BE49-F238E27FC236}">
                    <a16:creationId xmlns:a16="http://schemas.microsoft.com/office/drawing/2014/main" id="{F60BC00D-BAE8-1C44-A7A3-F83307EFAE07}"/>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09" name="Picture 108">
                <a:extLst>
                  <a:ext uri="{FF2B5EF4-FFF2-40B4-BE49-F238E27FC236}">
                    <a16:creationId xmlns:a16="http://schemas.microsoft.com/office/drawing/2014/main" id="{4BF9F541-6966-324D-8295-8DC4C6ED816B}"/>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82" name="Group 81">
              <a:extLst>
                <a:ext uri="{FF2B5EF4-FFF2-40B4-BE49-F238E27FC236}">
                  <a16:creationId xmlns:a16="http://schemas.microsoft.com/office/drawing/2014/main" id="{876CC36D-CD32-7F49-83AC-D8C75EEEEBC3}"/>
                </a:ext>
              </a:extLst>
            </p:cNvPr>
            <p:cNvGrpSpPr/>
            <p:nvPr userDrawn="1"/>
          </p:nvGrpSpPr>
          <p:grpSpPr>
            <a:xfrm>
              <a:off x="9521833" y="5949873"/>
              <a:ext cx="2676002" cy="1052731"/>
              <a:chOff x="9521833" y="2036288"/>
              <a:chExt cx="2676002" cy="1052731"/>
            </a:xfrm>
          </p:grpSpPr>
          <p:sp>
            <p:nvSpPr>
              <p:cNvPr id="101" name="TextBox 100">
                <a:extLst>
                  <a:ext uri="{FF2B5EF4-FFF2-40B4-BE49-F238E27FC236}">
                    <a16:creationId xmlns:a16="http://schemas.microsoft.com/office/drawing/2014/main" id="{0C54F8FD-6A48-EF40-AD43-A10ACF4D7CF9}"/>
                  </a:ext>
                </a:extLst>
              </p:cNvPr>
              <p:cNvSpPr txBox="1"/>
              <p:nvPr userDrawn="1"/>
            </p:nvSpPr>
            <p:spPr>
              <a:xfrm>
                <a:off x="9558507" y="2036288"/>
                <a:ext cx="996668"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ADD A NEW CHART</a:t>
                </a:r>
              </a:p>
            </p:txBody>
          </p:sp>
          <p:cxnSp>
            <p:nvCxnSpPr>
              <p:cNvPr id="102" name="Straight Connector 101">
                <a:extLst>
                  <a:ext uri="{FF2B5EF4-FFF2-40B4-BE49-F238E27FC236}">
                    <a16:creationId xmlns:a16="http://schemas.microsoft.com/office/drawing/2014/main" id="{4CF1923C-FF57-604A-A528-0F8B428DC115}"/>
                  </a:ext>
                </a:extLst>
              </p:cNvPr>
              <p:cNvCxnSpPr>
                <a:cxnSpLocks/>
              </p:cNvCxnSpPr>
              <p:nvPr userDrawn="1"/>
            </p:nvCxnSpPr>
            <p:spPr>
              <a:xfrm>
                <a:off x="9558507" y="223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103" name="Group 102">
                <a:extLst>
                  <a:ext uri="{FF2B5EF4-FFF2-40B4-BE49-F238E27FC236}">
                    <a16:creationId xmlns:a16="http://schemas.microsoft.com/office/drawing/2014/main" id="{BA303ED0-59A7-B84C-A014-7496C5477C51}"/>
                  </a:ext>
                </a:extLst>
              </p:cNvPr>
              <p:cNvGrpSpPr/>
              <p:nvPr userDrawn="1"/>
            </p:nvGrpSpPr>
            <p:grpSpPr>
              <a:xfrm>
                <a:off x="9521833" y="2361408"/>
                <a:ext cx="2557391" cy="323165"/>
                <a:chOff x="12352022" y="513115"/>
                <a:chExt cx="2557391" cy="323165"/>
              </a:xfrm>
            </p:grpSpPr>
            <p:sp>
              <p:nvSpPr>
                <p:cNvPr id="105" name="TextBox 104">
                  <a:extLst>
                    <a:ext uri="{FF2B5EF4-FFF2-40B4-BE49-F238E27FC236}">
                      <a16:creationId xmlns:a16="http://schemas.microsoft.com/office/drawing/2014/main" id="{34680833-A017-FE4C-B658-3EDDEB9B2F3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06" name="TextBox 105">
                  <a:extLst>
                    <a:ext uri="{FF2B5EF4-FFF2-40B4-BE49-F238E27FC236}">
                      <a16:creationId xmlns:a16="http://schemas.microsoft.com/office/drawing/2014/main" id="{E4EC3B22-EC11-D84D-90B3-DC3B7E1CA6D3}"/>
                    </a:ext>
                  </a:extLst>
                </p:cNvPr>
                <p:cNvSpPr txBox="1"/>
                <p:nvPr userDrawn="1"/>
              </p:nvSpPr>
              <p:spPr>
                <a:xfrm>
                  <a:off x="12516615" y="513115"/>
                  <a:ext cx="2392798"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Open the </a:t>
                  </a:r>
                  <a:r>
                    <a:rPr lang="en-US" sz="1050" b="1" dirty="0"/>
                    <a:t>VEDP Template Assets file </a:t>
                  </a:r>
                  <a:r>
                    <a:rPr lang="en-US" sz="1050" dirty="0"/>
                    <a:t>and copy the desired chart type into your presentation.</a:t>
                  </a:r>
                </a:p>
              </p:txBody>
            </p:sp>
          </p:grpSp>
          <p:sp>
            <p:nvSpPr>
              <p:cNvPr id="104" name="TextBox 103">
                <a:extLst>
                  <a:ext uri="{FF2B5EF4-FFF2-40B4-BE49-F238E27FC236}">
                    <a16:creationId xmlns:a16="http://schemas.microsoft.com/office/drawing/2014/main" id="{862A8FB6-C487-2D48-A9DC-F3D0905D6BE5}"/>
                  </a:ext>
                </a:extLst>
              </p:cNvPr>
              <p:cNvSpPr txBox="1"/>
              <p:nvPr userDrawn="1"/>
            </p:nvSpPr>
            <p:spPr>
              <a:xfrm>
                <a:off x="9686426" y="2895120"/>
                <a:ext cx="2120429"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These samples slide have further instructions and have been set up so you can easily edit the data.</a:t>
                </a:r>
              </a:p>
            </p:txBody>
          </p:sp>
        </p:grpSp>
        <p:sp>
          <p:nvSpPr>
            <p:cNvPr id="83" name="TextBox 82">
              <a:extLst>
                <a:ext uri="{FF2B5EF4-FFF2-40B4-BE49-F238E27FC236}">
                  <a16:creationId xmlns:a16="http://schemas.microsoft.com/office/drawing/2014/main" id="{203EC2FF-8F5A-2547-A699-BE8FF88F9301}"/>
                </a:ext>
              </a:extLst>
            </p:cNvPr>
            <p:cNvSpPr txBox="1"/>
            <p:nvPr userDrawn="1"/>
          </p:nvSpPr>
          <p:spPr>
            <a:xfrm>
              <a:off x="9558507" y="2034287"/>
              <a:ext cx="15424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FORMAT AN EXISTING CHART</a:t>
              </a:r>
            </a:p>
          </p:txBody>
        </p:sp>
        <p:cxnSp>
          <p:nvCxnSpPr>
            <p:cNvPr id="84" name="Straight Connector 83">
              <a:extLst>
                <a:ext uri="{FF2B5EF4-FFF2-40B4-BE49-F238E27FC236}">
                  <a16:creationId xmlns:a16="http://schemas.microsoft.com/office/drawing/2014/main" id="{59E92957-8BDF-4347-81B2-9604E93AE603}"/>
                </a:ext>
              </a:extLst>
            </p:cNvPr>
            <p:cNvCxnSpPr>
              <a:cxnSpLocks/>
            </p:cNvCxnSpPr>
            <p:nvPr userDrawn="1"/>
          </p:nvCxnSpPr>
          <p:spPr>
            <a:xfrm>
              <a:off x="9558507" y="223690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36CA8A72-2DBC-5545-BC2E-B4BDCAC3FDF6}"/>
                </a:ext>
              </a:extLst>
            </p:cNvPr>
            <p:cNvSpPr txBox="1">
              <a:spLocks noChangeAspect="1"/>
            </p:cNvSpPr>
            <p:nvPr/>
          </p:nvSpPr>
          <p:spPr>
            <a:xfrm>
              <a:off x="9521833" y="238443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6" name="TextBox 85">
              <a:extLst>
                <a:ext uri="{FF2B5EF4-FFF2-40B4-BE49-F238E27FC236}">
                  <a16:creationId xmlns:a16="http://schemas.microsoft.com/office/drawing/2014/main" id="{E1C1C471-3C86-9243-8147-752CF2CED878}"/>
                </a:ext>
              </a:extLst>
            </p:cNvPr>
            <p:cNvSpPr txBox="1">
              <a:spLocks noChangeAspect="1"/>
            </p:cNvSpPr>
            <p:nvPr/>
          </p:nvSpPr>
          <p:spPr>
            <a:xfrm>
              <a:off x="9521833" y="311148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7" name="TextBox 86">
              <a:extLst>
                <a:ext uri="{FF2B5EF4-FFF2-40B4-BE49-F238E27FC236}">
                  <a16:creationId xmlns:a16="http://schemas.microsoft.com/office/drawing/2014/main" id="{594015A7-4E0F-FB48-B54B-DBDAD2AACFBF}"/>
                </a:ext>
              </a:extLst>
            </p:cNvPr>
            <p:cNvSpPr txBox="1"/>
            <p:nvPr userDrawn="1"/>
          </p:nvSpPr>
          <p:spPr>
            <a:xfrm>
              <a:off x="9686426" y="2359407"/>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the chart placeholder and then paste your existing chart.</a:t>
              </a:r>
            </a:p>
          </p:txBody>
        </p:sp>
        <p:sp>
          <p:nvSpPr>
            <p:cNvPr id="88" name="TextBox 87">
              <a:extLst>
                <a:ext uri="{FF2B5EF4-FFF2-40B4-BE49-F238E27FC236}">
                  <a16:creationId xmlns:a16="http://schemas.microsoft.com/office/drawing/2014/main" id="{55791D51-A4E3-254B-9CDC-883656B5BBB3}"/>
                </a:ext>
              </a:extLst>
            </p:cNvPr>
            <p:cNvSpPr txBox="1"/>
            <p:nvPr userDrawn="1"/>
          </p:nvSpPr>
          <p:spPr>
            <a:xfrm>
              <a:off x="9686426" y="308861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Right-click on the chart and choose “Change Chart Type…”</a:t>
              </a:r>
            </a:p>
          </p:txBody>
        </p:sp>
        <p:sp>
          <p:nvSpPr>
            <p:cNvPr id="89" name="TextBox 88">
              <a:extLst>
                <a:ext uri="{FF2B5EF4-FFF2-40B4-BE49-F238E27FC236}">
                  <a16:creationId xmlns:a16="http://schemas.microsoft.com/office/drawing/2014/main" id="{098081F0-15A2-CE4F-B597-7D0A57F05E29}"/>
                </a:ext>
              </a:extLst>
            </p:cNvPr>
            <p:cNvSpPr txBox="1">
              <a:spLocks noChangeAspect="1"/>
            </p:cNvSpPr>
            <p:nvPr userDrawn="1"/>
          </p:nvSpPr>
          <p:spPr>
            <a:xfrm>
              <a:off x="9521833" y="357447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3</a:t>
              </a:r>
            </a:p>
          </p:txBody>
        </p:sp>
        <p:sp>
          <p:nvSpPr>
            <p:cNvPr id="90" name="TextBox 89">
              <a:extLst>
                <a:ext uri="{FF2B5EF4-FFF2-40B4-BE49-F238E27FC236}">
                  <a16:creationId xmlns:a16="http://schemas.microsoft.com/office/drawing/2014/main" id="{41684A96-AE24-5949-8098-95299F59040E}"/>
                </a:ext>
              </a:extLst>
            </p:cNvPr>
            <p:cNvSpPr txBox="1"/>
            <p:nvPr userDrawn="1"/>
          </p:nvSpPr>
          <p:spPr>
            <a:xfrm>
              <a:off x="9686426" y="3551603"/>
              <a:ext cx="2453290" cy="323165"/>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Choose one of the VEDP chart styles from the ‘Templates’ category.</a:t>
              </a:r>
            </a:p>
          </p:txBody>
        </p:sp>
        <p:sp>
          <p:nvSpPr>
            <p:cNvPr id="91" name="TextBox 90">
              <a:extLst>
                <a:ext uri="{FF2B5EF4-FFF2-40B4-BE49-F238E27FC236}">
                  <a16:creationId xmlns:a16="http://schemas.microsoft.com/office/drawing/2014/main" id="{A95F9DFB-59B1-0849-A7FD-D719AC7DE165}"/>
                </a:ext>
              </a:extLst>
            </p:cNvPr>
            <p:cNvSpPr txBox="1"/>
            <p:nvPr userDrawn="1"/>
          </p:nvSpPr>
          <p:spPr>
            <a:xfrm>
              <a:off x="9674268" y="2722629"/>
              <a:ext cx="2297650"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Make sure that you have access to any linked files, or you won’t be able to apply the chart style successfully.</a:t>
              </a:r>
            </a:p>
          </p:txBody>
        </p:sp>
        <p:grpSp>
          <p:nvGrpSpPr>
            <p:cNvPr id="93" name="Group 92">
              <a:extLst>
                <a:ext uri="{FF2B5EF4-FFF2-40B4-BE49-F238E27FC236}">
                  <a16:creationId xmlns:a16="http://schemas.microsoft.com/office/drawing/2014/main" id="{0B9FBE4B-500D-DC43-91EC-3123D9EF5462}"/>
                </a:ext>
              </a:extLst>
            </p:cNvPr>
            <p:cNvGrpSpPr/>
            <p:nvPr userDrawn="1"/>
          </p:nvGrpSpPr>
          <p:grpSpPr>
            <a:xfrm>
              <a:off x="9558507" y="1119891"/>
              <a:ext cx="2639328" cy="202617"/>
              <a:chOff x="9303325" y="149270"/>
              <a:chExt cx="2639328" cy="202617"/>
            </a:xfrm>
          </p:grpSpPr>
          <p:sp>
            <p:nvSpPr>
              <p:cNvPr id="99" name="TextBox 98">
                <a:extLst>
                  <a:ext uri="{FF2B5EF4-FFF2-40B4-BE49-F238E27FC236}">
                    <a16:creationId xmlns:a16="http://schemas.microsoft.com/office/drawing/2014/main" id="{3B2F129A-3FD3-E24F-92D4-3E5C29B9DBB8}"/>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100" name="Straight Connector 99">
                <a:extLst>
                  <a:ext uri="{FF2B5EF4-FFF2-40B4-BE49-F238E27FC236}">
                    <a16:creationId xmlns:a16="http://schemas.microsoft.com/office/drawing/2014/main" id="{1476F00B-34CF-9B4A-8F55-B463B3FDB70B}"/>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94" name="Group 93">
              <a:extLst>
                <a:ext uri="{FF2B5EF4-FFF2-40B4-BE49-F238E27FC236}">
                  <a16:creationId xmlns:a16="http://schemas.microsoft.com/office/drawing/2014/main" id="{8D1C5EC9-E2AC-8041-9FC6-7AD7ADED145B}"/>
                </a:ext>
              </a:extLst>
            </p:cNvPr>
            <p:cNvGrpSpPr/>
            <p:nvPr userDrawn="1"/>
          </p:nvGrpSpPr>
          <p:grpSpPr>
            <a:xfrm>
              <a:off x="9541497" y="4046192"/>
              <a:ext cx="2735151" cy="1741977"/>
              <a:chOff x="9296567" y="4910411"/>
              <a:chExt cx="2735151" cy="1741977"/>
            </a:xfrm>
          </p:grpSpPr>
          <p:sp>
            <p:nvSpPr>
              <p:cNvPr id="95" name="Rectangle 94">
                <a:extLst>
                  <a:ext uri="{FF2B5EF4-FFF2-40B4-BE49-F238E27FC236}">
                    <a16:creationId xmlns:a16="http://schemas.microsoft.com/office/drawing/2014/main" id="{836A575A-4268-7545-9724-E5529E81C3A7}"/>
                  </a:ext>
                </a:extLst>
              </p:cNvPr>
              <p:cNvSpPr/>
              <p:nvPr userDrawn="1"/>
            </p:nvSpPr>
            <p:spPr>
              <a:xfrm>
                <a:off x="9296567" y="4910411"/>
                <a:ext cx="2735151" cy="1741977"/>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96" name="TextBox 95">
                <a:extLst>
                  <a:ext uri="{FF2B5EF4-FFF2-40B4-BE49-F238E27FC236}">
                    <a16:creationId xmlns:a16="http://schemas.microsoft.com/office/drawing/2014/main" id="{263A6D68-9AA3-584A-809D-EE6673D3B056}"/>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Re-apply chart style</a:t>
                </a:r>
              </a:p>
            </p:txBody>
          </p:sp>
          <p:pic>
            <p:nvPicPr>
              <p:cNvPr id="97" name="Graphic 96">
                <a:extLst>
                  <a:ext uri="{FF2B5EF4-FFF2-40B4-BE49-F238E27FC236}">
                    <a16:creationId xmlns:a16="http://schemas.microsoft.com/office/drawing/2014/main" id="{4AF9B51D-9E9A-F947-8F70-A6C06771D1F2}"/>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98" name="TextBox 97">
                <a:extLst>
                  <a:ext uri="{FF2B5EF4-FFF2-40B4-BE49-F238E27FC236}">
                    <a16:creationId xmlns:a16="http://schemas.microsoft.com/office/drawing/2014/main" id="{48800C5A-9825-D044-8419-0A6095892041}"/>
                  </a:ext>
                </a:extLst>
              </p:cNvPr>
              <p:cNvSpPr txBox="1"/>
              <p:nvPr userDrawn="1"/>
            </p:nvSpPr>
            <p:spPr>
              <a:xfrm>
                <a:off x="9471805" y="5300350"/>
                <a:ext cx="2399065" cy="965392"/>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dirty="0"/>
                  <a:t>In case of error, return legend entries, data labels, and/or chart formatting by re-applying the current VEDP chart style template.</a:t>
                </a:r>
              </a:p>
              <a:p>
                <a:pPr lvl="1"/>
                <a:r>
                  <a:rPr lang="en-US" sz="900" dirty="0"/>
                  <a:t>Right-click the chart and choose</a:t>
                </a:r>
                <a:br>
                  <a:rPr lang="en-US" sz="900" dirty="0"/>
                </a:br>
                <a:r>
                  <a:rPr lang="en-US" sz="900" dirty="0"/>
                  <a:t>“Change Chart Type”</a:t>
                </a:r>
              </a:p>
              <a:p>
                <a:pPr lvl="1"/>
                <a:r>
                  <a:rPr lang="en-US" sz="900" dirty="0"/>
                  <a:t>Then choose the matching VEDP chart style from the ‘Templates’ category.</a:t>
                </a:r>
              </a:p>
            </p:txBody>
          </p:sp>
        </p:grpSp>
        <p:grpSp>
          <p:nvGrpSpPr>
            <p:cNvPr id="2" name="Group 1">
              <a:extLst>
                <a:ext uri="{FF2B5EF4-FFF2-40B4-BE49-F238E27FC236}">
                  <a16:creationId xmlns:a16="http://schemas.microsoft.com/office/drawing/2014/main" id="{A4CF5DAB-1553-C04B-92A4-F1198F8EECE3}"/>
                </a:ext>
              </a:extLst>
            </p:cNvPr>
            <p:cNvGrpSpPr/>
            <p:nvPr userDrawn="1"/>
          </p:nvGrpSpPr>
          <p:grpSpPr>
            <a:xfrm>
              <a:off x="9521833" y="7166155"/>
              <a:ext cx="2754815" cy="6013825"/>
              <a:chOff x="9521833" y="-6801152"/>
              <a:chExt cx="2754815" cy="6013825"/>
            </a:xfrm>
          </p:grpSpPr>
          <p:sp>
            <p:nvSpPr>
              <p:cNvPr id="42" name="TextBox 41">
                <a:extLst>
                  <a:ext uri="{FF2B5EF4-FFF2-40B4-BE49-F238E27FC236}">
                    <a16:creationId xmlns:a16="http://schemas.microsoft.com/office/drawing/2014/main" id="{07BD5352-94B5-1940-89E6-DC02A72A4418}"/>
                  </a:ext>
                </a:extLst>
              </p:cNvPr>
              <p:cNvSpPr txBox="1"/>
              <p:nvPr userDrawn="1"/>
            </p:nvSpPr>
            <p:spPr>
              <a:xfrm>
                <a:off x="9558507" y="-6801152"/>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43" name="Straight Connector 42">
                <a:extLst>
                  <a:ext uri="{FF2B5EF4-FFF2-40B4-BE49-F238E27FC236}">
                    <a16:creationId xmlns:a16="http://schemas.microsoft.com/office/drawing/2014/main" id="{DE135D9E-6B8E-BF4A-8B52-EEAE03AC9DE2}"/>
                  </a:ext>
                </a:extLst>
              </p:cNvPr>
              <p:cNvCxnSpPr>
                <a:cxnSpLocks/>
              </p:cNvCxnSpPr>
              <p:nvPr userDrawn="1"/>
            </p:nvCxnSpPr>
            <p:spPr>
              <a:xfrm>
                <a:off x="9558507" y="-659853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C3F42BF-41FD-244D-86C9-0031DA675594}"/>
                  </a:ext>
                </a:extLst>
              </p:cNvPr>
              <p:cNvSpPr txBox="1"/>
              <p:nvPr userDrawn="1"/>
            </p:nvSpPr>
            <p:spPr>
              <a:xfrm>
                <a:off x="9686426" y="-574022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5" name="Group 64">
                <a:extLst>
                  <a:ext uri="{FF2B5EF4-FFF2-40B4-BE49-F238E27FC236}">
                    <a16:creationId xmlns:a16="http://schemas.microsoft.com/office/drawing/2014/main" id="{1AF14A82-884D-6E44-833A-66AEAE8D73E5}"/>
                  </a:ext>
                </a:extLst>
              </p:cNvPr>
              <p:cNvGrpSpPr/>
              <p:nvPr userDrawn="1"/>
            </p:nvGrpSpPr>
            <p:grpSpPr>
              <a:xfrm>
                <a:off x="9541497" y="-2198642"/>
                <a:ext cx="2735151" cy="1411315"/>
                <a:chOff x="9296567" y="4910411"/>
                <a:chExt cx="2735151" cy="1411315"/>
              </a:xfrm>
            </p:grpSpPr>
            <p:sp>
              <p:nvSpPr>
                <p:cNvPr id="67" name="Rectangle 66">
                  <a:extLst>
                    <a:ext uri="{FF2B5EF4-FFF2-40B4-BE49-F238E27FC236}">
                      <a16:creationId xmlns:a16="http://schemas.microsoft.com/office/drawing/2014/main" id="{F7A9386A-4C7E-3A41-8497-284AAB05A9F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8" name="TextBox 67">
                  <a:extLst>
                    <a:ext uri="{FF2B5EF4-FFF2-40B4-BE49-F238E27FC236}">
                      <a16:creationId xmlns:a16="http://schemas.microsoft.com/office/drawing/2014/main" id="{4233D935-4B30-F44F-9AE5-ED48766ABB3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9" name="Graphic 68">
                  <a:extLst>
                    <a:ext uri="{FF2B5EF4-FFF2-40B4-BE49-F238E27FC236}">
                      <a16:creationId xmlns:a16="http://schemas.microsoft.com/office/drawing/2014/main" id="{16F18F42-237E-5D49-9406-C82AB8706B5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70" name="TextBox 69">
                  <a:extLst>
                    <a:ext uri="{FF2B5EF4-FFF2-40B4-BE49-F238E27FC236}">
                      <a16:creationId xmlns:a16="http://schemas.microsoft.com/office/drawing/2014/main" id="{DE14BA7F-29C8-C24E-928B-592788C3333F}"/>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29C49CB8-3278-3D41-8689-3FE7FAAE598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22BE9216-4058-A445-B627-693F5A96240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47" name="Group 46">
                <a:extLst>
                  <a:ext uri="{FF2B5EF4-FFF2-40B4-BE49-F238E27FC236}">
                    <a16:creationId xmlns:a16="http://schemas.microsoft.com/office/drawing/2014/main" id="{14F294D6-B313-E949-842F-F41379956161}"/>
                  </a:ext>
                </a:extLst>
              </p:cNvPr>
              <p:cNvGrpSpPr/>
              <p:nvPr userDrawn="1"/>
            </p:nvGrpSpPr>
            <p:grpSpPr>
              <a:xfrm>
                <a:off x="9541497" y="-3555298"/>
                <a:ext cx="2735151" cy="1280928"/>
                <a:chOff x="9286315" y="6976989"/>
                <a:chExt cx="2735151" cy="1280928"/>
              </a:xfrm>
            </p:grpSpPr>
            <p:sp>
              <p:nvSpPr>
                <p:cNvPr id="60" name="Rectangle 59">
                  <a:extLst>
                    <a:ext uri="{FF2B5EF4-FFF2-40B4-BE49-F238E27FC236}">
                      <a16:creationId xmlns:a16="http://schemas.microsoft.com/office/drawing/2014/main" id="{14F654D1-DB8F-CE4F-A23A-52B9BC2BFF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1" name="TextBox 60">
                  <a:extLst>
                    <a:ext uri="{FF2B5EF4-FFF2-40B4-BE49-F238E27FC236}">
                      <a16:creationId xmlns:a16="http://schemas.microsoft.com/office/drawing/2014/main" id="{1DC4A4C9-98A4-154F-8F68-6545453B151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2" name="Graphic 61">
                  <a:extLst>
                    <a:ext uri="{FF2B5EF4-FFF2-40B4-BE49-F238E27FC236}">
                      <a16:creationId xmlns:a16="http://schemas.microsoft.com/office/drawing/2014/main" id="{09C862AD-FB96-864E-8468-306B3BB1F66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63" name="TextBox 62">
                  <a:extLst>
                    <a:ext uri="{FF2B5EF4-FFF2-40B4-BE49-F238E27FC236}">
                      <a16:creationId xmlns:a16="http://schemas.microsoft.com/office/drawing/2014/main" id="{F14F4FFA-0615-1D48-B3DF-3595FF4FE06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64" name="Picture 63">
                  <a:extLst>
                    <a:ext uri="{FF2B5EF4-FFF2-40B4-BE49-F238E27FC236}">
                      <a16:creationId xmlns:a16="http://schemas.microsoft.com/office/drawing/2014/main" id="{88F30D86-450E-F848-A211-E408470B957E}"/>
                    </a:ext>
                  </a:extLst>
                </p:cNvPr>
                <p:cNvPicPr>
                  <a:picLocks noChangeAspect="1"/>
                </p:cNvPicPr>
                <p:nvPr userDrawn="1"/>
              </p:nvPicPr>
              <p:blipFill rotWithShape="1">
                <a:blip r:embed="rId7"/>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48" name="Group 47">
                <a:extLst>
                  <a:ext uri="{FF2B5EF4-FFF2-40B4-BE49-F238E27FC236}">
                    <a16:creationId xmlns:a16="http://schemas.microsoft.com/office/drawing/2014/main" id="{02D72FD7-6279-0446-AC58-A3C3DC24D160}"/>
                  </a:ext>
                </a:extLst>
              </p:cNvPr>
              <p:cNvGrpSpPr/>
              <p:nvPr userDrawn="1"/>
            </p:nvGrpSpPr>
            <p:grpSpPr>
              <a:xfrm>
                <a:off x="9521833" y="-6476032"/>
                <a:ext cx="2617883" cy="651460"/>
                <a:chOff x="12352022" y="513115"/>
                <a:chExt cx="2617883" cy="651460"/>
              </a:xfrm>
            </p:grpSpPr>
            <p:sp>
              <p:nvSpPr>
                <p:cNvPr id="57" name="TextBox 56">
                  <a:extLst>
                    <a:ext uri="{FF2B5EF4-FFF2-40B4-BE49-F238E27FC236}">
                      <a16:creationId xmlns:a16="http://schemas.microsoft.com/office/drawing/2014/main" id="{F61D0EBF-B2C0-7046-B77D-2B9CD522884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8" name="TextBox 57">
                  <a:extLst>
                    <a:ext uri="{FF2B5EF4-FFF2-40B4-BE49-F238E27FC236}">
                      <a16:creationId xmlns:a16="http://schemas.microsoft.com/office/drawing/2014/main" id="{80E248F4-5967-3B48-BA75-443830FB430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9" name="TextBox 58">
                  <a:extLst>
                    <a:ext uri="{FF2B5EF4-FFF2-40B4-BE49-F238E27FC236}">
                      <a16:creationId xmlns:a16="http://schemas.microsoft.com/office/drawing/2014/main" id="{4458B103-16C3-734D-9D4C-08A0AD40A3F8}"/>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49" name="TextBox 48">
                <a:extLst>
                  <a:ext uri="{FF2B5EF4-FFF2-40B4-BE49-F238E27FC236}">
                    <a16:creationId xmlns:a16="http://schemas.microsoft.com/office/drawing/2014/main" id="{9F6763D5-C877-A84E-AA38-3CED305D0841}"/>
                  </a:ext>
                </a:extLst>
              </p:cNvPr>
              <p:cNvSpPr txBox="1"/>
              <p:nvPr userDrawn="1"/>
            </p:nvSpPr>
            <p:spPr>
              <a:xfrm>
                <a:off x="9674267" y="-54569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50" name="TextBox 49">
                <a:extLst>
                  <a:ext uri="{FF2B5EF4-FFF2-40B4-BE49-F238E27FC236}">
                    <a16:creationId xmlns:a16="http://schemas.microsoft.com/office/drawing/2014/main" id="{DFB47FC7-5B8F-1A47-817A-A3CF2131BD9D}"/>
                  </a:ext>
                </a:extLst>
              </p:cNvPr>
              <p:cNvSpPr txBox="1"/>
              <p:nvPr userDrawn="1"/>
            </p:nvSpPr>
            <p:spPr>
              <a:xfrm>
                <a:off x="9686426" y="-5041663"/>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51" name="TextBox 50">
                <a:extLst>
                  <a:ext uri="{FF2B5EF4-FFF2-40B4-BE49-F238E27FC236}">
                    <a16:creationId xmlns:a16="http://schemas.microsoft.com/office/drawing/2014/main" id="{5CD80403-C6E9-C346-A05A-8AE1F1F93179}"/>
                  </a:ext>
                </a:extLst>
              </p:cNvPr>
              <p:cNvSpPr txBox="1"/>
              <p:nvPr userDrawn="1"/>
            </p:nvSpPr>
            <p:spPr>
              <a:xfrm>
                <a:off x="9686426" y="-4321573"/>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52" name="TextBox 51">
                <a:extLst>
                  <a:ext uri="{FF2B5EF4-FFF2-40B4-BE49-F238E27FC236}">
                    <a16:creationId xmlns:a16="http://schemas.microsoft.com/office/drawing/2014/main" id="{6AB870E0-EE0A-D84C-A2C8-84EDC9B761D9}"/>
                  </a:ext>
                </a:extLst>
              </p:cNvPr>
              <p:cNvSpPr txBox="1"/>
              <p:nvPr userDrawn="1"/>
            </p:nvSpPr>
            <p:spPr>
              <a:xfrm>
                <a:off x="9674267" y="-389101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78" name="Text Placeholder 6">
            <a:extLst>
              <a:ext uri="{FF2B5EF4-FFF2-40B4-BE49-F238E27FC236}">
                <a16:creationId xmlns:a16="http://schemas.microsoft.com/office/drawing/2014/main" id="{49D0B9C5-5521-2646-B128-094867E34EA6}"/>
              </a:ext>
            </a:extLst>
          </p:cNvPr>
          <p:cNvSpPr>
            <a:spLocks noGrp="1"/>
          </p:cNvSpPr>
          <p:nvPr userDrawn="1">
            <p:ph type="body" sz="quarter" idx="108" hasCustomPrompt="1"/>
          </p:nvPr>
        </p:nvSpPr>
        <p:spPr>
          <a:xfrm>
            <a:off x="6265209" y="1224318"/>
            <a:ext cx="1612621" cy="386926"/>
          </a:xfrm>
          <a:blipFill dpi="0" rotWithShape="1">
            <a:blip r:embed="rId8"/>
            <a:srcRect/>
            <a:tile tx="0" ty="0" sx="100000" sy="100000" flip="xy" algn="b"/>
          </a:blipFill>
          <a:effectLst/>
        </p:spPr>
        <p:txBody>
          <a:bodyPr wrap="none" bIns="54000" anchor="b">
            <a:spAutoFit/>
          </a:bodyPr>
          <a:lstStyle>
            <a:lvl1pPr marL="3175" indent="0">
              <a:spcBef>
                <a:spcPts val="100"/>
              </a:spcBef>
              <a:spcAft>
                <a:spcPts val="0"/>
              </a:spcAft>
              <a:tabLst/>
              <a:defRPr sz="1200">
                <a:solidFill>
                  <a:schemeClr val="tx1"/>
                </a:solidFill>
              </a:defRPr>
            </a:lvl1pPr>
            <a:lvl2pPr marL="3175" indent="0">
              <a:spcAft>
                <a:spcPts val="0"/>
              </a:spcAft>
              <a:buFont typeface="Arial" panose="020B0604020202020204" pitchFamily="34" charset="0"/>
              <a:buNone/>
              <a:tabLst/>
              <a:defRPr sz="1200">
                <a:solidFill>
                  <a:schemeClr val="tx1"/>
                </a:solidFill>
              </a:defRPr>
            </a:lvl2pPr>
            <a:lvl3pPr marL="3175" indent="0">
              <a:buNone/>
              <a:tabLst/>
              <a:defRPr sz="1200">
                <a:solidFill>
                  <a:schemeClr val="tx1"/>
                </a:solidFill>
              </a:defRPr>
            </a:lvl3pPr>
            <a:lvl4pPr marL="3175" indent="0">
              <a:spcAft>
                <a:spcPts val="0"/>
              </a:spcAft>
              <a:buNone/>
              <a:tabLst/>
              <a:defRPr sz="1200">
                <a:solidFill>
                  <a:schemeClr val="tx1"/>
                </a:solidFill>
              </a:defRPr>
            </a:lvl4pPr>
            <a:lvl5pPr marL="3175" indent="0">
              <a:spcAft>
                <a:spcPts val="0"/>
              </a:spcAft>
              <a:buFont typeface="Arial" panose="020B0604020202020204" pitchFamily="34" charset="0"/>
              <a:buNone/>
              <a:tabLst/>
              <a:defRPr sz="1200">
                <a:solidFill>
                  <a:schemeClr val="tx1"/>
                </a:solidFill>
              </a:defRPr>
            </a:lvl5pPr>
            <a:lvl6pPr marL="3175" indent="0">
              <a:spcAft>
                <a:spcPts val="0"/>
              </a:spcAft>
              <a:buNone/>
              <a:tabLst/>
              <a:defRPr sz="1200">
                <a:solidFill>
                  <a:schemeClr val="tx1"/>
                </a:solidFill>
              </a:defRPr>
            </a:lvl6pPr>
            <a:lvl7pPr marL="3175" indent="0">
              <a:spcAft>
                <a:spcPts val="0"/>
              </a:spcAft>
              <a:buNone/>
              <a:tabLst/>
              <a:defRPr sz="1200">
                <a:solidFill>
                  <a:schemeClr val="tx1"/>
                </a:solidFill>
              </a:defRPr>
            </a:lvl7pPr>
            <a:lvl8pPr marL="3175" indent="0">
              <a:spcAft>
                <a:spcPts val="0"/>
              </a:spcAft>
              <a:buNone/>
              <a:tabLst/>
              <a:defRPr sz="1200">
                <a:solidFill>
                  <a:schemeClr val="tx1"/>
                </a:solidFill>
              </a:defRPr>
            </a:lvl8pPr>
            <a:lvl9pPr marL="3175" indent="0">
              <a:spcAft>
                <a:spcPts val="0"/>
              </a:spcAft>
              <a:buNone/>
              <a:tabLst/>
              <a:defRPr sz="1200">
                <a:solidFill>
                  <a:schemeClr val="tx1"/>
                </a:solidFill>
              </a:defRPr>
            </a:lvl9pPr>
          </a:lstStyle>
          <a:p>
            <a:pPr lvl="0"/>
            <a:r>
              <a:rPr lang="en-US" dirty="0"/>
              <a:t>Click to add chart title</a:t>
            </a:r>
          </a:p>
          <a:p>
            <a:pPr lvl="1"/>
            <a:r>
              <a:rPr lang="en-US" dirty="0"/>
              <a:t>Second level</a:t>
            </a:r>
          </a:p>
        </p:txBody>
      </p:sp>
      <p:sp>
        <p:nvSpPr>
          <p:cNvPr id="3" name="Date Placeholder 2">
            <a:extLst>
              <a:ext uri="{FF2B5EF4-FFF2-40B4-BE49-F238E27FC236}">
                <a16:creationId xmlns:a16="http://schemas.microsoft.com/office/drawing/2014/main" id="{4124FA82-5551-674F-8ABF-17E6898F90B7}"/>
              </a:ext>
            </a:extLst>
          </p:cNvPr>
          <p:cNvSpPr>
            <a:spLocks noGrp="1"/>
          </p:cNvSpPr>
          <p:nvPr userDrawn="1">
            <p:ph type="dt" sz="half" idx="115"/>
          </p:nvPr>
        </p:nvSpPr>
        <p:spPr/>
        <p:txBody>
          <a:bodyPr/>
          <a:lstStyle/>
          <a:p>
            <a:endParaRPr lang="en-US" dirty="0"/>
          </a:p>
        </p:txBody>
      </p:sp>
      <p:sp>
        <p:nvSpPr>
          <p:cNvPr id="4" name="Footer Placeholder 3">
            <a:extLst>
              <a:ext uri="{FF2B5EF4-FFF2-40B4-BE49-F238E27FC236}">
                <a16:creationId xmlns:a16="http://schemas.microsoft.com/office/drawing/2014/main" id="{08857F84-3938-184A-B69E-D20F1F0ED888}"/>
              </a:ext>
            </a:extLst>
          </p:cNvPr>
          <p:cNvSpPr>
            <a:spLocks noGrp="1"/>
          </p:cNvSpPr>
          <p:nvPr userDrawn="1">
            <p:ph type="ftr" sz="quarter" idx="116"/>
          </p:nvPr>
        </p:nvSpPr>
        <p:spPr/>
        <p:txBody>
          <a:bodyPr/>
          <a:lstStyle/>
          <a:p>
            <a:endParaRPr lang="en-US" dirty="0"/>
          </a:p>
        </p:txBody>
      </p:sp>
      <p:sp>
        <p:nvSpPr>
          <p:cNvPr id="5" name="Slide Number Placeholder 4">
            <a:extLst>
              <a:ext uri="{FF2B5EF4-FFF2-40B4-BE49-F238E27FC236}">
                <a16:creationId xmlns:a16="http://schemas.microsoft.com/office/drawing/2014/main" id="{55145EE2-42E0-FD4B-84FE-BBCF42195267}"/>
              </a:ext>
            </a:extLst>
          </p:cNvPr>
          <p:cNvSpPr>
            <a:spLocks noGrp="1"/>
          </p:cNvSpPr>
          <p:nvPr userDrawn="1">
            <p:ph type="sldNum" sz="quarter" idx="11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Tree>
    <p:extLst>
      <p:ext uri="{BB962C8B-B14F-4D97-AF65-F5344CB8AC3E}">
        <p14:creationId xmlns:p14="http://schemas.microsoft.com/office/powerpoint/2010/main" val="348951430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Map and Content">
    <p:spTree>
      <p:nvGrpSpPr>
        <p:cNvPr id="1" name=""/>
        <p:cNvGrpSpPr/>
        <p:nvPr/>
      </p:nvGrpSpPr>
      <p:grpSpPr>
        <a:xfrm>
          <a:off x="0" y="0"/>
          <a:ext cx="0" cy="0"/>
          <a:chOff x="0" y="0"/>
          <a:chExt cx="0" cy="0"/>
        </a:xfrm>
      </p:grpSpPr>
      <p:sp>
        <p:nvSpPr>
          <p:cNvPr id="91" name="Picture Placeholder 90">
            <a:extLst>
              <a:ext uri="{FF2B5EF4-FFF2-40B4-BE49-F238E27FC236}">
                <a16:creationId xmlns:a16="http://schemas.microsoft.com/office/drawing/2014/main" id="{5813E178-2C8A-7D4D-A0E0-3B5D1960D360}"/>
              </a:ext>
            </a:extLst>
          </p:cNvPr>
          <p:cNvSpPr>
            <a:spLocks noGrp="1"/>
          </p:cNvSpPr>
          <p:nvPr>
            <p:ph type="pic" sz="quarter" idx="1002" hasCustomPrompt="1"/>
          </p:nvPr>
        </p:nvSpPr>
        <p:spPr>
          <a:xfrm>
            <a:off x="-9681" y="-5203"/>
            <a:ext cx="12196676" cy="6868407"/>
          </a:xfrm>
          <a:custGeom>
            <a:avLst/>
            <a:gdLst>
              <a:gd name="connsiteX0" fmla="*/ 8385242 w 9147507"/>
              <a:gd name="connsiteY0" fmla="*/ 6586428 h 6868407"/>
              <a:gd name="connsiteX1" fmla="*/ 8402449 w 9147507"/>
              <a:gd name="connsiteY1" fmla="*/ 6588283 h 6868407"/>
              <a:gd name="connsiteX2" fmla="*/ 8411354 w 9147507"/>
              <a:gd name="connsiteY2" fmla="*/ 6595072 h 6868407"/>
              <a:gd name="connsiteX3" fmla="*/ 8417054 w 9147507"/>
              <a:gd name="connsiteY3" fmla="*/ 6605397 h 6868407"/>
              <a:gd name="connsiteX4" fmla="*/ 8419091 w 9147507"/>
              <a:gd name="connsiteY4" fmla="*/ 6618609 h 6868407"/>
              <a:gd name="connsiteX5" fmla="*/ 8417153 w 9147507"/>
              <a:gd name="connsiteY5" fmla="*/ 6631680 h 6868407"/>
              <a:gd name="connsiteX6" fmla="*/ 8411454 w 9147507"/>
              <a:gd name="connsiteY6" fmla="*/ 6642075 h 6868407"/>
              <a:gd name="connsiteX7" fmla="*/ 8379394 w 9147507"/>
              <a:gd name="connsiteY7" fmla="*/ 6648920 h 6868407"/>
              <a:gd name="connsiteX8" fmla="*/ 8370417 w 9147507"/>
              <a:gd name="connsiteY8" fmla="*/ 6642075 h 6868407"/>
              <a:gd name="connsiteX9" fmla="*/ 8364718 w 9147507"/>
              <a:gd name="connsiteY9" fmla="*/ 6631680 h 6868407"/>
              <a:gd name="connsiteX10" fmla="*/ 8362552 w 9147507"/>
              <a:gd name="connsiteY10" fmla="*/ 6618609 h 6868407"/>
              <a:gd name="connsiteX11" fmla="*/ 8364604 w 9147507"/>
              <a:gd name="connsiteY11" fmla="*/ 6605397 h 6868407"/>
              <a:gd name="connsiteX12" fmla="*/ 8370303 w 9147507"/>
              <a:gd name="connsiteY12" fmla="*/ 6595072 h 6868407"/>
              <a:gd name="connsiteX13" fmla="*/ 8385242 w 9147507"/>
              <a:gd name="connsiteY13" fmla="*/ 6586428 h 6868407"/>
              <a:gd name="connsiteX14" fmla="*/ 8529140 w 9147507"/>
              <a:gd name="connsiteY14" fmla="*/ 6563892 h 6868407"/>
              <a:gd name="connsiteX15" fmla="*/ 8529140 w 9147507"/>
              <a:gd name="connsiteY15" fmla="*/ 6609838 h 6868407"/>
              <a:gd name="connsiteX16" fmla="*/ 8529140 w 9147507"/>
              <a:gd name="connsiteY16" fmla="*/ 6673179 h 6868407"/>
              <a:gd name="connsiteX17" fmla="*/ 8599130 w 9147507"/>
              <a:gd name="connsiteY17" fmla="*/ 6673179 h 6868407"/>
              <a:gd name="connsiteX18" fmla="*/ 8599529 w 9147507"/>
              <a:gd name="connsiteY18" fmla="*/ 6673179 h 6868407"/>
              <a:gd name="connsiteX19" fmla="*/ 8599529 w 9147507"/>
              <a:gd name="connsiteY19" fmla="*/ 6656178 h 6868407"/>
              <a:gd name="connsiteX20" fmla="*/ 8599130 w 9147507"/>
              <a:gd name="connsiteY20" fmla="*/ 6656178 h 6868407"/>
              <a:gd name="connsiteX21" fmla="*/ 8599130 w 9147507"/>
              <a:gd name="connsiteY21" fmla="*/ 6650080 h 6868407"/>
              <a:gd name="connsiteX22" fmla="*/ 8554802 w 9147507"/>
              <a:gd name="connsiteY22" fmla="*/ 6650080 h 6868407"/>
              <a:gd name="connsiteX23" fmla="*/ 8554802 w 9147507"/>
              <a:gd name="connsiteY23" fmla="*/ 6628755 h 6868407"/>
              <a:gd name="connsiteX24" fmla="*/ 8595212 w 9147507"/>
              <a:gd name="connsiteY24" fmla="*/ 6628755 h 6868407"/>
              <a:gd name="connsiteX25" fmla="*/ 8595212 w 9147507"/>
              <a:gd name="connsiteY25" fmla="*/ 6606683 h 6868407"/>
              <a:gd name="connsiteX26" fmla="*/ 8554802 w 9147507"/>
              <a:gd name="connsiteY26" fmla="*/ 6606683 h 6868407"/>
              <a:gd name="connsiteX27" fmla="*/ 8554802 w 9147507"/>
              <a:gd name="connsiteY27" fmla="*/ 6587161 h 6868407"/>
              <a:gd name="connsiteX28" fmla="*/ 8599130 w 9147507"/>
              <a:gd name="connsiteY28" fmla="*/ 6587161 h 6868407"/>
              <a:gd name="connsiteX29" fmla="*/ 8599130 w 9147507"/>
              <a:gd name="connsiteY29" fmla="*/ 6580893 h 6868407"/>
              <a:gd name="connsiteX30" fmla="*/ 8599529 w 9147507"/>
              <a:gd name="connsiteY30" fmla="*/ 6580893 h 6868407"/>
              <a:gd name="connsiteX31" fmla="*/ 8599529 w 9147507"/>
              <a:gd name="connsiteY31" fmla="*/ 6563892 h 6868407"/>
              <a:gd name="connsiteX32" fmla="*/ 8599130 w 9147507"/>
              <a:gd name="connsiteY32" fmla="*/ 6563892 h 6868407"/>
              <a:gd name="connsiteX33" fmla="*/ 8550869 w 9147507"/>
              <a:gd name="connsiteY33" fmla="*/ 6563892 h 6868407"/>
              <a:gd name="connsiteX34" fmla="*/ 8451684 w 9147507"/>
              <a:gd name="connsiteY34" fmla="*/ 6563892 h 6868407"/>
              <a:gd name="connsiteX35" fmla="*/ 8451684 w 9147507"/>
              <a:gd name="connsiteY35" fmla="*/ 6609838 h 6868407"/>
              <a:gd name="connsiteX36" fmla="*/ 8451684 w 9147507"/>
              <a:gd name="connsiteY36" fmla="*/ 6673179 h 6868407"/>
              <a:gd name="connsiteX37" fmla="*/ 8521674 w 9147507"/>
              <a:gd name="connsiteY37" fmla="*/ 6673179 h 6868407"/>
              <a:gd name="connsiteX38" fmla="*/ 8522059 w 9147507"/>
              <a:gd name="connsiteY38" fmla="*/ 6673179 h 6868407"/>
              <a:gd name="connsiteX39" fmla="*/ 8522059 w 9147507"/>
              <a:gd name="connsiteY39" fmla="*/ 6656178 h 6868407"/>
              <a:gd name="connsiteX40" fmla="*/ 8521674 w 9147507"/>
              <a:gd name="connsiteY40" fmla="*/ 6656178 h 6868407"/>
              <a:gd name="connsiteX41" fmla="*/ 8521674 w 9147507"/>
              <a:gd name="connsiteY41" fmla="*/ 6650080 h 6868407"/>
              <a:gd name="connsiteX42" fmla="*/ 8477332 w 9147507"/>
              <a:gd name="connsiteY42" fmla="*/ 6650080 h 6868407"/>
              <a:gd name="connsiteX43" fmla="*/ 8477332 w 9147507"/>
              <a:gd name="connsiteY43" fmla="*/ 6628755 h 6868407"/>
              <a:gd name="connsiteX44" fmla="*/ 8517742 w 9147507"/>
              <a:gd name="connsiteY44" fmla="*/ 6628755 h 6868407"/>
              <a:gd name="connsiteX45" fmla="*/ 8517742 w 9147507"/>
              <a:gd name="connsiteY45" fmla="*/ 6606683 h 6868407"/>
              <a:gd name="connsiteX46" fmla="*/ 8477332 w 9147507"/>
              <a:gd name="connsiteY46" fmla="*/ 6606683 h 6868407"/>
              <a:gd name="connsiteX47" fmla="*/ 8477332 w 9147507"/>
              <a:gd name="connsiteY47" fmla="*/ 6587161 h 6868407"/>
              <a:gd name="connsiteX48" fmla="*/ 8521674 w 9147507"/>
              <a:gd name="connsiteY48" fmla="*/ 6587161 h 6868407"/>
              <a:gd name="connsiteX49" fmla="*/ 8521674 w 9147507"/>
              <a:gd name="connsiteY49" fmla="*/ 6580893 h 6868407"/>
              <a:gd name="connsiteX50" fmla="*/ 8522059 w 9147507"/>
              <a:gd name="connsiteY50" fmla="*/ 6580893 h 6868407"/>
              <a:gd name="connsiteX51" fmla="*/ 8522059 w 9147507"/>
              <a:gd name="connsiteY51" fmla="*/ 6563892 h 6868407"/>
              <a:gd name="connsiteX52" fmla="*/ 8521674 w 9147507"/>
              <a:gd name="connsiteY52" fmla="*/ 6563892 h 6868407"/>
              <a:gd name="connsiteX53" fmla="*/ 8473399 w 9147507"/>
              <a:gd name="connsiteY53" fmla="*/ 6563892 h 6868407"/>
              <a:gd name="connsiteX54" fmla="*/ 8391420 w 9147507"/>
              <a:gd name="connsiteY54" fmla="*/ 6563859 h 6868407"/>
              <a:gd name="connsiteX55" fmla="*/ 8368793 w 9147507"/>
              <a:gd name="connsiteY55" fmla="*/ 6568085 h 6868407"/>
              <a:gd name="connsiteX56" fmla="*/ 8360657 w 9147507"/>
              <a:gd name="connsiteY56" fmla="*/ 6572212 h 6868407"/>
              <a:gd name="connsiteX57" fmla="*/ 8336291 w 9147507"/>
              <a:gd name="connsiteY57" fmla="*/ 6623778 h 6868407"/>
              <a:gd name="connsiteX58" fmla="*/ 8339896 w 9147507"/>
              <a:gd name="connsiteY58" fmla="*/ 6640258 h 6868407"/>
              <a:gd name="connsiteX59" fmla="*/ 8367938 w 9147507"/>
              <a:gd name="connsiteY59" fmla="*/ 6668991 h 6868407"/>
              <a:gd name="connsiteX60" fmla="*/ 8390423 w 9147507"/>
              <a:gd name="connsiteY60" fmla="*/ 6673217 h 6868407"/>
              <a:gd name="connsiteX61" fmla="*/ 8412993 w 9147507"/>
              <a:gd name="connsiteY61" fmla="*/ 6668991 h 6868407"/>
              <a:gd name="connsiteX62" fmla="*/ 8430433 w 9147507"/>
              <a:gd name="connsiteY62" fmla="*/ 6657512 h 6868407"/>
              <a:gd name="connsiteX63" fmla="*/ 8441747 w 9147507"/>
              <a:gd name="connsiteY63" fmla="*/ 6640258 h 6868407"/>
              <a:gd name="connsiteX64" fmla="*/ 8445765 w 9147507"/>
              <a:gd name="connsiteY64" fmla="*/ 6618609 h 6868407"/>
              <a:gd name="connsiteX65" fmla="*/ 8441904 w 9147507"/>
              <a:gd name="connsiteY65" fmla="*/ 6596875 h 6868407"/>
              <a:gd name="connsiteX66" fmla="*/ 8430946 w 9147507"/>
              <a:gd name="connsiteY66" fmla="*/ 6579564 h 6868407"/>
              <a:gd name="connsiteX67" fmla="*/ 8413848 w 9147507"/>
              <a:gd name="connsiteY67" fmla="*/ 6568085 h 6868407"/>
              <a:gd name="connsiteX68" fmla="*/ 8391420 w 9147507"/>
              <a:gd name="connsiteY68" fmla="*/ 6563859 h 6868407"/>
              <a:gd name="connsiteX69" fmla="*/ 8248710 w 9147507"/>
              <a:gd name="connsiteY69" fmla="*/ 6563512 h 6868407"/>
              <a:gd name="connsiteX70" fmla="*/ 8265053 w 9147507"/>
              <a:gd name="connsiteY70" fmla="*/ 6597584 h 6868407"/>
              <a:gd name="connsiteX71" fmla="*/ 8292012 w 9147507"/>
              <a:gd name="connsiteY71" fmla="*/ 6597584 h 6868407"/>
              <a:gd name="connsiteX72" fmla="*/ 8277663 w 9147507"/>
              <a:gd name="connsiteY72" fmla="*/ 6563512 h 6868407"/>
              <a:gd name="connsiteX73" fmla="*/ 8328560 w 9147507"/>
              <a:gd name="connsiteY73" fmla="*/ 6563498 h 6868407"/>
              <a:gd name="connsiteX74" fmla="*/ 8302870 w 9147507"/>
              <a:gd name="connsiteY74" fmla="*/ 6622628 h 6868407"/>
              <a:gd name="connsiteX75" fmla="*/ 8295902 w 9147507"/>
              <a:gd name="connsiteY75" fmla="*/ 6606289 h 6868407"/>
              <a:gd name="connsiteX76" fmla="*/ 8269157 w 9147507"/>
              <a:gd name="connsiteY76" fmla="*/ 6606289 h 6868407"/>
              <a:gd name="connsiteX77" fmla="*/ 8301089 w 9147507"/>
              <a:gd name="connsiteY77" fmla="*/ 6672954 h 6868407"/>
              <a:gd name="connsiteX78" fmla="*/ 8304052 w 9147507"/>
              <a:gd name="connsiteY78" fmla="*/ 6672954 h 6868407"/>
              <a:gd name="connsiteX79" fmla="*/ 8355790 w 9147507"/>
              <a:gd name="connsiteY79" fmla="*/ 6563498 h 6868407"/>
              <a:gd name="connsiteX80" fmla="*/ 8707789 w 9147507"/>
              <a:gd name="connsiteY80" fmla="*/ 6525960 h 6868407"/>
              <a:gd name="connsiteX81" fmla="*/ 8707789 w 9147507"/>
              <a:gd name="connsiteY81" fmla="*/ 6700888 h 6868407"/>
              <a:gd name="connsiteX82" fmla="*/ 8727178 w 9147507"/>
              <a:gd name="connsiteY82" fmla="*/ 6700888 h 6868407"/>
              <a:gd name="connsiteX83" fmla="*/ 8727178 w 9147507"/>
              <a:gd name="connsiteY83" fmla="*/ 6525960 h 6868407"/>
              <a:gd name="connsiteX84" fmla="*/ 3507 w 9147507"/>
              <a:gd name="connsiteY84" fmla="*/ 0 h 6868407"/>
              <a:gd name="connsiteX85" fmla="*/ 9147507 w 9147507"/>
              <a:gd name="connsiteY85" fmla="*/ 0 h 6868407"/>
              <a:gd name="connsiteX86" fmla="*/ 9147507 w 9147507"/>
              <a:gd name="connsiteY86" fmla="*/ 5003881 h 6868407"/>
              <a:gd name="connsiteX87" fmla="*/ 9147507 w 9147507"/>
              <a:gd name="connsiteY87" fmla="*/ 5873907 h 6868407"/>
              <a:gd name="connsiteX88" fmla="*/ 9147507 w 9147507"/>
              <a:gd name="connsiteY88" fmla="*/ 6210038 h 6868407"/>
              <a:gd name="connsiteX89" fmla="*/ 9147507 w 9147507"/>
              <a:gd name="connsiteY89" fmla="*/ 6327592 h 6868407"/>
              <a:gd name="connsiteX90" fmla="*/ 9147507 w 9147507"/>
              <a:gd name="connsiteY90" fmla="*/ 6868406 h 6868407"/>
              <a:gd name="connsiteX91" fmla="*/ 7642249 w 9147507"/>
              <a:gd name="connsiteY91" fmla="*/ 6868406 h 6868407"/>
              <a:gd name="connsiteX92" fmla="*/ 7642249 w 9147507"/>
              <a:gd name="connsiteY92" fmla="*/ 6868407 h 6868407"/>
              <a:gd name="connsiteX93" fmla="*/ 0 w 9147507"/>
              <a:gd name="connsiteY93" fmla="*/ 6868407 h 6868407"/>
              <a:gd name="connsiteX94" fmla="*/ 0 w 9147507"/>
              <a:gd name="connsiteY94" fmla="*/ 10407 h 6868407"/>
              <a:gd name="connsiteX95" fmla="*/ 3507 w 9147507"/>
              <a:gd name="connsiteY95" fmla="*/ 10407 h 68684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9147507" h="6868407">
                <a:moveTo>
                  <a:pt x="8385242" y="6586428"/>
                </a:moveTo>
                <a:cubicBezTo>
                  <a:pt x="8390892" y="6585235"/>
                  <a:pt x="8396920" y="6585791"/>
                  <a:pt x="8402449" y="6588283"/>
                </a:cubicBezTo>
                <a:cubicBezTo>
                  <a:pt x="8405868" y="6589901"/>
                  <a:pt x="8408903" y="6592214"/>
                  <a:pt x="8411354" y="6595072"/>
                </a:cubicBezTo>
                <a:cubicBezTo>
                  <a:pt x="8413894" y="6598129"/>
                  <a:pt x="8415827" y="6601632"/>
                  <a:pt x="8417054" y="6605397"/>
                </a:cubicBezTo>
                <a:cubicBezTo>
                  <a:pt x="8418459" y="6609661"/>
                  <a:pt x="8419147" y="6614124"/>
                  <a:pt x="8419091" y="6618609"/>
                </a:cubicBezTo>
                <a:cubicBezTo>
                  <a:pt x="8419172" y="6623041"/>
                  <a:pt x="8418518" y="6627457"/>
                  <a:pt x="8417153" y="6631680"/>
                </a:cubicBezTo>
                <a:cubicBezTo>
                  <a:pt x="8415918" y="6635462"/>
                  <a:pt x="8413985" y="6638986"/>
                  <a:pt x="8411454" y="6642075"/>
                </a:cubicBezTo>
                <a:cubicBezTo>
                  <a:pt x="8403479" y="6651121"/>
                  <a:pt x="8390435" y="6653906"/>
                  <a:pt x="8379394" y="6648920"/>
                </a:cubicBezTo>
                <a:cubicBezTo>
                  <a:pt x="8375930" y="6647317"/>
                  <a:pt x="8372865" y="6644980"/>
                  <a:pt x="8370417" y="6642075"/>
                </a:cubicBezTo>
                <a:cubicBezTo>
                  <a:pt x="8367886" y="6638986"/>
                  <a:pt x="8365953" y="6635462"/>
                  <a:pt x="8364718" y="6631680"/>
                </a:cubicBezTo>
                <a:cubicBezTo>
                  <a:pt x="8363276" y="6627469"/>
                  <a:pt x="8362545" y="6623053"/>
                  <a:pt x="8362552" y="6618609"/>
                </a:cubicBezTo>
                <a:cubicBezTo>
                  <a:pt x="8362500" y="6614123"/>
                  <a:pt x="8363193" y="6609660"/>
                  <a:pt x="8364604" y="6605397"/>
                </a:cubicBezTo>
                <a:cubicBezTo>
                  <a:pt x="8365830" y="6601632"/>
                  <a:pt x="8367764" y="6598129"/>
                  <a:pt x="8370303" y="6595072"/>
                </a:cubicBezTo>
                <a:cubicBezTo>
                  <a:pt x="8374320" y="6590564"/>
                  <a:pt x="8379592" y="6587621"/>
                  <a:pt x="8385242" y="6586428"/>
                </a:cubicBezTo>
                <a:close/>
                <a:moveTo>
                  <a:pt x="8529140" y="6563892"/>
                </a:moveTo>
                <a:lnTo>
                  <a:pt x="8529140" y="6609838"/>
                </a:lnTo>
                <a:lnTo>
                  <a:pt x="8529140" y="6673179"/>
                </a:lnTo>
                <a:lnTo>
                  <a:pt x="8599130" y="6673179"/>
                </a:lnTo>
                <a:lnTo>
                  <a:pt x="8599529" y="6673179"/>
                </a:lnTo>
                <a:lnTo>
                  <a:pt x="8599529" y="6656178"/>
                </a:lnTo>
                <a:lnTo>
                  <a:pt x="8599130" y="6656178"/>
                </a:lnTo>
                <a:lnTo>
                  <a:pt x="8599130" y="6650080"/>
                </a:lnTo>
                <a:lnTo>
                  <a:pt x="8554802" y="6650080"/>
                </a:lnTo>
                <a:lnTo>
                  <a:pt x="8554802" y="6628755"/>
                </a:lnTo>
                <a:lnTo>
                  <a:pt x="8595212" y="6628755"/>
                </a:lnTo>
                <a:lnTo>
                  <a:pt x="8595212" y="6606683"/>
                </a:lnTo>
                <a:lnTo>
                  <a:pt x="8554802" y="6606683"/>
                </a:lnTo>
                <a:lnTo>
                  <a:pt x="8554802" y="6587161"/>
                </a:lnTo>
                <a:lnTo>
                  <a:pt x="8599130" y="6587161"/>
                </a:lnTo>
                <a:lnTo>
                  <a:pt x="8599130" y="6580893"/>
                </a:lnTo>
                <a:lnTo>
                  <a:pt x="8599529" y="6580893"/>
                </a:lnTo>
                <a:lnTo>
                  <a:pt x="8599529" y="6563892"/>
                </a:lnTo>
                <a:lnTo>
                  <a:pt x="8599130" y="6563892"/>
                </a:lnTo>
                <a:lnTo>
                  <a:pt x="8550869" y="6563892"/>
                </a:lnTo>
                <a:close/>
                <a:moveTo>
                  <a:pt x="8451684" y="6563892"/>
                </a:moveTo>
                <a:lnTo>
                  <a:pt x="8451684" y="6609838"/>
                </a:lnTo>
                <a:lnTo>
                  <a:pt x="8451684" y="6673179"/>
                </a:lnTo>
                <a:lnTo>
                  <a:pt x="8521674" y="6673179"/>
                </a:lnTo>
                <a:lnTo>
                  <a:pt x="8522059" y="6673179"/>
                </a:lnTo>
                <a:lnTo>
                  <a:pt x="8522059" y="6656178"/>
                </a:lnTo>
                <a:lnTo>
                  <a:pt x="8521674" y="6656178"/>
                </a:lnTo>
                <a:lnTo>
                  <a:pt x="8521674" y="6650080"/>
                </a:lnTo>
                <a:lnTo>
                  <a:pt x="8477332" y="6650080"/>
                </a:lnTo>
                <a:lnTo>
                  <a:pt x="8477332" y="6628755"/>
                </a:lnTo>
                <a:lnTo>
                  <a:pt x="8517742" y="6628755"/>
                </a:lnTo>
                <a:lnTo>
                  <a:pt x="8517742" y="6606683"/>
                </a:lnTo>
                <a:lnTo>
                  <a:pt x="8477332" y="6606683"/>
                </a:lnTo>
                <a:lnTo>
                  <a:pt x="8477332" y="6587161"/>
                </a:lnTo>
                <a:lnTo>
                  <a:pt x="8521674" y="6587161"/>
                </a:lnTo>
                <a:lnTo>
                  <a:pt x="8521674" y="6580893"/>
                </a:lnTo>
                <a:lnTo>
                  <a:pt x="8522059" y="6580893"/>
                </a:lnTo>
                <a:lnTo>
                  <a:pt x="8522059" y="6563892"/>
                </a:lnTo>
                <a:lnTo>
                  <a:pt x="8521674" y="6563892"/>
                </a:lnTo>
                <a:lnTo>
                  <a:pt x="8473399" y="6563892"/>
                </a:lnTo>
                <a:close/>
                <a:moveTo>
                  <a:pt x="8391420" y="6563859"/>
                </a:moveTo>
                <a:cubicBezTo>
                  <a:pt x="8383669" y="6563775"/>
                  <a:pt x="8375978" y="6565211"/>
                  <a:pt x="8368793" y="6568085"/>
                </a:cubicBezTo>
                <a:cubicBezTo>
                  <a:pt x="8365970" y="6569236"/>
                  <a:pt x="8363249" y="6570617"/>
                  <a:pt x="8360657" y="6572212"/>
                </a:cubicBezTo>
                <a:lnTo>
                  <a:pt x="8336291" y="6623778"/>
                </a:lnTo>
                <a:cubicBezTo>
                  <a:pt x="8336685" y="6629414"/>
                  <a:pt x="8337899" y="6634964"/>
                  <a:pt x="8339896" y="6640258"/>
                </a:cubicBezTo>
                <a:cubicBezTo>
                  <a:pt x="8344700" y="6653332"/>
                  <a:pt x="8354892" y="6663776"/>
                  <a:pt x="8367938" y="6668991"/>
                </a:cubicBezTo>
                <a:cubicBezTo>
                  <a:pt x="8375071" y="6671875"/>
                  <a:pt x="8382717" y="6673312"/>
                  <a:pt x="8390423" y="6673217"/>
                </a:cubicBezTo>
                <a:cubicBezTo>
                  <a:pt x="8398155" y="6673304"/>
                  <a:pt x="8405828" y="6671868"/>
                  <a:pt x="8412993" y="6668991"/>
                </a:cubicBezTo>
                <a:cubicBezTo>
                  <a:pt x="8419520" y="6666349"/>
                  <a:pt x="8425450" y="6662447"/>
                  <a:pt x="8430433" y="6657512"/>
                </a:cubicBezTo>
                <a:cubicBezTo>
                  <a:pt x="8435357" y="6652585"/>
                  <a:pt x="8439207" y="6646712"/>
                  <a:pt x="8441747" y="6640258"/>
                </a:cubicBezTo>
                <a:cubicBezTo>
                  <a:pt x="8444481" y="6633364"/>
                  <a:pt x="8445845" y="6626013"/>
                  <a:pt x="8445765" y="6618609"/>
                </a:cubicBezTo>
                <a:cubicBezTo>
                  <a:pt x="8445835" y="6611191"/>
                  <a:pt x="8444526" y="6603825"/>
                  <a:pt x="8441904" y="6596875"/>
                </a:cubicBezTo>
                <a:cubicBezTo>
                  <a:pt x="8439474" y="6590431"/>
                  <a:pt x="8435746" y="6584542"/>
                  <a:pt x="8430946" y="6579564"/>
                </a:cubicBezTo>
                <a:cubicBezTo>
                  <a:pt x="8426104" y="6574618"/>
                  <a:pt x="8420284" y="6570711"/>
                  <a:pt x="8413848" y="6568085"/>
                </a:cubicBezTo>
                <a:cubicBezTo>
                  <a:pt x="8406737" y="6565195"/>
                  <a:pt x="8399108" y="6563758"/>
                  <a:pt x="8391420" y="6563859"/>
                </a:cubicBezTo>
                <a:close/>
                <a:moveTo>
                  <a:pt x="8248710" y="6563512"/>
                </a:moveTo>
                <a:lnTo>
                  <a:pt x="8265053" y="6597584"/>
                </a:lnTo>
                <a:lnTo>
                  <a:pt x="8292012" y="6597584"/>
                </a:lnTo>
                <a:lnTo>
                  <a:pt x="8277663" y="6563512"/>
                </a:lnTo>
                <a:close/>
                <a:moveTo>
                  <a:pt x="8328560" y="6563498"/>
                </a:moveTo>
                <a:lnTo>
                  <a:pt x="8302870" y="6622628"/>
                </a:lnTo>
                <a:lnTo>
                  <a:pt x="8295902" y="6606289"/>
                </a:lnTo>
                <a:lnTo>
                  <a:pt x="8269157" y="6606289"/>
                </a:lnTo>
                <a:lnTo>
                  <a:pt x="8301089" y="6672954"/>
                </a:lnTo>
                <a:lnTo>
                  <a:pt x="8304052" y="6672954"/>
                </a:lnTo>
                <a:lnTo>
                  <a:pt x="8355790" y="6563498"/>
                </a:lnTo>
                <a:close/>
                <a:moveTo>
                  <a:pt x="8707789" y="6525960"/>
                </a:moveTo>
                <a:lnTo>
                  <a:pt x="8707789" y="6700888"/>
                </a:lnTo>
                <a:lnTo>
                  <a:pt x="8727178" y="6700888"/>
                </a:lnTo>
                <a:lnTo>
                  <a:pt x="8727178" y="6525960"/>
                </a:lnTo>
                <a:close/>
                <a:moveTo>
                  <a:pt x="3507" y="0"/>
                </a:moveTo>
                <a:lnTo>
                  <a:pt x="9147507" y="0"/>
                </a:lnTo>
                <a:lnTo>
                  <a:pt x="9147507" y="5003881"/>
                </a:lnTo>
                <a:lnTo>
                  <a:pt x="9147507" y="5873907"/>
                </a:lnTo>
                <a:lnTo>
                  <a:pt x="9147507" y="6210038"/>
                </a:lnTo>
                <a:lnTo>
                  <a:pt x="9147507" y="6327592"/>
                </a:lnTo>
                <a:lnTo>
                  <a:pt x="9147507" y="6868406"/>
                </a:lnTo>
                <a:lnTo>
                  <a:pt x="7642249" y="6868406"/>
                </a:lnTo>
                <a:lnTo>
                  <a:pt x="7642249" y="6868407"/>
                </a:lnTo>
                <a:lnTo>
                  <a:pt x="0" y="6868407"/>
                </a:lnTo>
                <a:lnTo>
                  <a:pt x="0" y="10407"/>
                </a:lnTo>
                <a:lnTo>
                  <a:pt x="3507" y="10407"/>
                </a:lnTo>
                <a:close/>
              </a:path>
            </a:pathLst>
          </a:custGeom>
          <a:blipFill>
            <a:blip r:embed="rId2"/>
            <a:stretch>
              <a:fillRect/>
            </a:stretch>
          </a:blipFill>
        </p:spPr>
        <p:txBody>
          <a:bodyPr wrap="square" lIns="792000" tIns="0" rIns="5256000" anchor="ctr">
            <a:noAutofit/>
          </a:bodyPr>
          <a:lstStyle>
            <a:lvl1pPr algn="ctr">
              <a:defRPr b="0">
                <a:solidFill>
                  <a:schemeClr val="tx1">
                    <a:lumMod val="50000"/>
                    <a:lumOff val="50000"/>
                  </a:schemeClr>
                </a:solidFill>
              </a:defRPr>
            </a:lvl1pPr>
          </a:lstStyle>
          <a:p>
            <a:r>
              <a:rPr lang="en-US" dirty="0"/>
              <a:t>Click the icon at the center of the slide to add a pre-designed half-page map graphic to the slide.</a:t>
            </a:r>
            <a:br>
              <a:rPr lang="en-US" dirty="0"/>
            </a:br>
            <a:r>
              <a:rPr lang="en-US" dirty="0"/>
              <a:t>(In the Marketing Resource Database, these files will have “half slide” in the files name)</a:t>
            </a:r>
          </a:p>
        </p:txBody>
      </p:sp>
      <p:sp>
        <p:nvSpPr>
          <p:cNvPr id="9" name="Title 8">
            <a:extLst>
              <a:ext uri="{FF2B5EF4-FFF2-40B4-BE49-F238E27FC236}">
                <a16:creationId xmlns:a16="http://schemas.microsoft.com/office/drawing/2014/main" id="{A3E7C59C-7AB2-FD4B-9D3E-CA7E0D8CB2F3}"/>
              </a:ext>
            </a:extLst>
          </p:cNvPr>
          <p:cNvSpPr>
            <a:spLocks noGrp="1"/>
          </p:cNvSpPr>
          <p:nvPr userDrawn="1">
            <p:ph type="title" hasCustomPrompt="1"/>
          </p:nvPr>
        </p:nvSpPr>
        <p:spPr/>
        <p:txBody>
          <a:bodyPr/>
          <a:lstStyle>
            <a:lvl1pPr>
              <a:defRPr/>
            </a:lvl1pPr>
          </a:lstStyle>
          <a:p>
            <a:pPr lvl="0"/>
            <a:r>
              <a:rPr lang="en-US" dirty="0"/>
              <a:t>CLICK TO ADD Slide TITLE. ALL CAPS. TWO LINES max.</a:t>
            </a:r>
          </a:p>
        </p:txBody>
      </p:sp>
      <p:sp>
        <p:nvSpPr>
          <p:cNvPr id="1000" name="Footnotes Placeholder">
            <a:extLst>
              <a:ext uri="{FF2B5EF4-FFF2-40B4-BE49-F238E27FC236}">
                <a16:creationId xmlns:a16="http://schemas.microsoft.com/office/drawing/2014/main" id="{89C8ABCA-426C-9447-AA12-B5A756649D54}"/>
              </a:ext>
            </a:extLst>
          </p:cNvPr>
          <p:cNvSpPr>
            <a:spLocks noGrp="1"/>
          </p:cNvSpPr>
          <p:nvPr userDrawn="1">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73" name="Content Placeholder 13">
            <a:extLst>
              <a:ext uri="{FF2B5EF4-FFF2-40B4-BE49-F238E27FC236}">
                <a16:creationId xmlns:a16="http://schemas.microsoft.com/office/drawing/2014/main" id="{BD8F7771-D5FD-5E48-914F-1B0C8281DAF2}"/>
              </a:ext>
            </a:extLst>
          </p:cNvPr>
          <p:cNvSpPr>
            <a:spLocks noGrp="1"/>
          </p:cNvSpPr>
          <p:nvPr userDrawn="1">
            <p:ph sz="quarter" idx="105"/>
          </p:nvPr>
        </p:nvSpPr>
        <p:spPr>
          <a:xfrm>
            <a:off x="6271363" y="1233489"/>
            <a:ext cx="5344901"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a:extLst>
              <a:ext uri="{FF2B5EF4-FFF2-40B4-BE49-F238E27FC236}">
                <a16:creationId xmlns:a16="http://schemas.microsoft.com/office/drawing/2014/main" id="{5D662E80-C602-AD49-88C5-4C7981BFDF51}"/>
              </a:ext>
            </a:extLst>
          </p:cNvPr>
          <p:cNvSpPr>
            <a:spLocks noGrp="1"/>
          </p:cNvSpPr>
          <p:nvPr userDrawn="1">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AAA8D22F-CD71-0048-A44D-45D040CB3EA8}"/>
              </a:ext>
            </a:extLst>
          </p:cNvPr>
          <p:cNvSpPr>
            <a:spLocks noGrp="1"/>
          </p:cNvSpPr>
          <p:nvPr userDrawn="1">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392EC2F9-9D32-434C-8F82-E8D200FC4895}"/>
              </a:ext>
            </a:extLst>
          </p:cNvPr>
          <p:cNvSpPr>
            <a:spLocks noGrp="1"/>
          </p:cNvSpPr>
          <p:nvPr userDrawn="1">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 name="Group 2">
            <a:extLst>
              <a:ext uri="{FF2B5EF4-FFF2-40B4-BE49-F238E27FC236}">
                <a16:creationId xmlns:a16="http://schemas.microsoft.com/office/drawing/2014/main" id="{8B57B4F9-541A-FA47-94AB-4A76E2D84EBB}"/>
              </a:ext>
            </a:extLst>
          </p:cNvPr>
          <p:cNvGrpSpPr/>
          <p:nvPr userDrawn="1"/>
        </p:nvGrpSpPr>
        <p:grpSpPr>
          <a:xfrm>
            <a:off x="12532243" y="-1"/>
            <a:ext cx="3965960" cy="12489650"/>
            <a:chOff x="9399182" y="-1"/>
            <a:chExt cx="2974470" cy="12489650"/>
          </a:xfrm>
        </p:grpSpPr>
        <p:sp>
          <p:nvSpPr>
            <p:cNvPr id="80" name="Rectangle 79">
              <a:extLst>
                <a:ext uri="{FF2B5EF4-FFF2-40B4-BE49-F238E27FC236}">
                  <a16:creationId xmlns:a16="http://schemas.microsoft.com/office/drawing/2014/main" id="{7F39C21F-C07C-7740-9183-FE0C02C54D48}"/>
                </a:ext>
              </a:extLst>
            </p:cNvPr>
            <p:cNvSpPr/>
            <p:nvPr userDrawn="1"/>
          </p:nvSpPr>
          <p:spPr>
            <a:xfrm>
              <a:off x="9399182" y="-1"/>
              <a:ext cx="2798651" cy="12323299"/>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75" name="Picture 74">
              <a:extLst>
                <a:ext uri="{FF2B5EF4-FFF2-40B4-BE49-F238E27FC236}">
                  <a16:creationId xmlns:a16="http://schemas.microsoft.com/office/drawing/2014/main" id="{62DE5BAE-3274-6547-A846-0E36742248D0}"/>
                </a:ext>
              </a:extLst>
            </p:cNvPr>
            <p:cNvPicPr>
              <a:picLocks noChangeAspect="1"/>
            </p:cNvPicPr>
            <p:nvPr userDrawn="1"/>
          </p:nvPicPr>
          <p:blipFill rotWithShape="1">
            <a:blip r:embed="rId3"/>
            <a:srcRect r="41694"/>
            <a:stretch/>
          </p:blipFill>
          <p:spPr>
            <a:xfrm>
              <a:off x="9558506" y="1322104"/>
              <a:ext cx="2639328" cy="995540"/>
            </a:xfrm>
            <a:prstGeom prst="rect">
              <a:avLst/>
            </a:prstGeom>
          </p:spPr>
        </p:pic>
        <p:grpSp>
          <p:nvGrpSpPr>
            <p:cNvPr id="131" name="Group 130">
              <a:extLst>
                <a:ext uri="{FF2B5EF4-FFF2-40B4-BE49-F238E27FC236}">
                  <a16:creationId xmlns:a16="http://schemas.microsoft.com/office/drawing/2014/main" id="{EA8A0D49-B3FC-114E-BD4F-A224D345C631}"/>
                </a:ext>
              </a:extLst>
            </p:cNvPr>
            <p:cNvGrpSpPr/>
            <p:nvPr userDrawn="1"/>
          </p:nvGrpSpPr>
          <p:grpSpPr>
            <a:xfrm>
              <a:off x="9541497" y="162442"/>
              <a:ext cx="2819400" cy="814510"/>
              <a:chOff x="-3644733" y="165205"/>
              <a:chExt cx="2819400" cy="814510"/>
            </a:xfrm>
          </p:grpSpPr>
          <p:sp>
            <p:nvSpPr>
              <p:cNvPr id="136" name="Rectangle 135">
                <a:extLst>
                  <a:ext uri="{FF2B5EF4-FFF2-40B4-BE49-F238E27FC236}">
                    <a16:creationId xmlns:a16="http://schemas.microsoft.com/office/drawing/2014/main" id="{9B430B4D-00A5-0E44-AEFA-4FF0C5C67CB2}"/>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37" name="TextBox 136">
                <a:extLst>
                  <a:ext uri="{FF2B5EF4-FFF2-40B4-BE49-F238E27FC236}">
                    <a16:creationId xmlns:a16="http://schemas.microsoft.com/office/drawing/2014/main" id="{1A92EEBC-DB6D-1349-822C-5E9062E5C64A}"/>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38" name="Picture 137">
                <a:extLst>
                  <a:ext uri="{FF2B5EF4-FFF2-40B4-BE49-F238E27FC236}">
                    <a16:creationId xmlns:a16="http://schemas.microsoft.com/office/drawing/2014/main" id="{2B5D82AA-15DA-6F48-B821-49645A8B7DD3}"/>
                  </a:ext>
                </a:extLst>
              </p:cNvPr>
              <p:cNvPicPr>
                <a:picLocks noChangeAspect="1"/>
              </p:cNvPicPr>
              <p:nvPr userDrawn="1"/>
            </p:nvPicPr>
            <p:blipFill rotWithShape="1">
              <a:blip r:embed="rId4"/>
              <a:srcRect l="8882" t="5165" r="-1"/>
              <a:stretch/>
            </p:blipFill>
            <p:spPr>
              <a:xfrm>
                <a:off x="-3491292" y="414013"/>
                <a:ext cx="324017" cy="289055"/>
              </a:xfrm>
              <a:prstGeom prst="roundRect">
                <a:avLst/>
              </a:prstGeom>
            </p:spPr>
          </p:pic>
        </p:grpSp>
        <p:grpSp>
          <p:nvGrpSpPr>
            <p:cNvPr id="133" name="Group 132">
              <a:extLst>
                <a:ext uri="{FF2B5EF4-FFF2-40B4-BE49-F238E27FC236}">
                  <a16:creationId xmlns:a16="http://schemas.microsoft.com/office/drawing/2014/main" id="{C9C4E2FC-B406-D849-816A-FE7024AFBE6E}"/>
                </a:ext>
              </a:extLst>
            </p:cNvPr>
            <p:cNvGrpSpPr/>
            <p:nvPr userDrawn="1"/>
          </p:nvGrpSpPr>
          <p:grpSpPr>
            <a:xfrm>
              <a:off x="9558507" y="1119891"/>
              <a:ext cx="2639328" cy="202617"/>
              <a:chOff x="9303325" y="149270"/>
              <a:chExt cx="2639328" cy="202617"/>
            </a:xfrm>
          </p:grpSpPr>
          <p:sp>
            <p:nvSpPr>
              <p:cNvPr id="134" name="TextBox 133">
                <a:extLst>
                  <a:ext uri="{FF2B5EF4-FFF2-40B4-BE49-F238E27FC236}">
                    <a16:creationId xmlns:a16="http://schemas.microsoft.com/office/drawing/2014/main" id="{105231A2-EDEC-3E4B-91A8-B78EAD4061BD}"/>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135" name="Straight Connector 134">
                <a:extLst>
                  <a:ext uri="{FF2B5EF4-FFF2-40B4-BE49-F238E27FC236}">
                    <a16:creationId xmlns:a16="http://schemas.microsoft.com/office/drawing/2014/main" id="{72E3E04B-C66B-DE46-870F-2C26FF6D7F12}"/>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02553D65-8D5E-9043-AA8A-EB0588AA8551}"/>
                </a:ext>
              </a:extLst>
            </p:cNvPr>
            <p:cNvGrpSpPr/>
            <p:nvPr userDrawn="1"/>
          </p:nvGrpSpPr>
          <p:grpSpPr>
            <a:xfrm>
              <a:off x="9541497" y="3679950"/>
              <a:ext cx="2735151" cy="2655095"/>
              <a:chOff x="9541497" y="11478235"/>
              <a:chExt cx="2735151" cy="2655095"/>
            </a:xfrm>
          </p:grpSpPr>
          <p:grpSp>
            <p:nvGrpSpPr>
              <p:cNvPr id="111" name="Group 110">
                <a:extLst>
                  <a:ext uri="{FF2B5EF4-FFF2-40B4-BE49-F238E27FC236}">
                    <a16:creationId xmlns:a16="http://schemas.microsoft.com/office/drawing/2014/main" id="{9B9C9F49-49E7-CA4E-849A-BB97B8486113}"/>
                  </a:ext>
                </a:extLst>
              </p:cNvPr>
              <p:cNvGrpSpPr/>
              <p:nvPr userDrawn="1"/>
            </p:nvGrpSpPr>
            <p:grpSpPr>
              <a:xfrm>
                <a:off x="9541497" y="11478235"/>
                <a:ext cx="2735151" cy="2655095"/>
                <a:chOff x="9296567" y="4910411"/>
                <a:chExt cx="2735151" cy="2655095"/>
              </a:xfrm>
            </p:grpSpPr>
            <p:sp>
              <p:nvSpPr>
                <p:cNvPr id="126" name="Rectangle 125">
                  <a:extLst>
                    <a:ext uri="{FF2B5EF4-FFF2-40B4-BE49-F238E27FC236}">
                      <a16:creationId xmlns:a16="http://schemas.microsoft.com/office/drawing/2014/main" id="{8025FD44-3660-E343-B0A6-B6F6EDF3C8C6}"/>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27" name="TextBox 126">
                  <a:extLst>
                    <a:ext uri="{FF2B5EF4-FFF2-40B4-BE49-F238E27FC236}">
                      <a16:creationId xmlns:a16="http://schemas.microsoft.com/office/drawing/2014/main" id="{FE31536B-440B-8046-88B3-2642529016B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Automatic paragraph spacing</a:t>
                  </a:r>
                </a:p>
              </p:txBody>
            </p:sp>
            <p:pic>
              <p:nvPicPr>
                <p:cNvPr id="128" name="Graphic 127">
                  <a:extLst>
                    <a:ext uri="{FF2B5EF4-FFF2-40B4-BE49-F238E27FC236}">
                      <a16:creationId xmlns:a16="http://schemas.microsoft.com/office/drawing/2014/main" id="{A16034BD-6983-5C4A-9FEC-2CE8E81F5009}"/>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129" name="TextBox 128">
                  <a:extLst>
                    <a:ext uri="{FF2B5EF4-FFF2-40B4-BE49-F238E27FC236}">
                      <a16:creationId xmlns:a16="http://schemas.microsoft.com/office/drawing/2014/main" id="{2ABC9F07-580A-7E4A-B11B-F111FDC350F5}"/>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dirty="0"/>
                    <a:t>This template automatically adds paragraph spacing between first-level text paragraphs. When pasting in content, remember to delete any extra blank lines from your text.</a:t>
                  </a:r>
                </a:p>
              </p:txBody>
            </p:sp>
          </p:grpSp>
          <p:grpSp>
            <p:nvGrpSpPr>
              <p:cNvPr id="114" name="Group 113">
                <a:extLst>
                  <a:ext uri="{FF2B5EF4-FFF2-40B4-BE49-F238E27FC236}">
                    <a16:creationId xmlns:a16="http://schemas.microsoft.com/office/drawing/2014/main" id="{09B499C6-2BCA-D941-836C-075460C0EC17}"/>
                  </a:ext>
                </a:extLst>
              </p:cNvPr>
              <p:cNvGrpSpPr/>
              <p:nvPr userDrawn="1"/>
            </p:nvGrpSpPr>
            <p:grpSpPr>
              <a:xfrm>
                <a:off x="9832250" y="12492855"/>
                <a:ext cx="2074000" cy="1627918"/>
                <a:chOff x="9832250" y="3617325"/>
                <a:chExt cx="2074000" cy="1627918"/>
              </a:xfrm>
            </p:grpSpPr>
            <p:pic>
              <p:nvPicPr>
                <p:cNvPr id="117" name="Picture 116">
                  <a:extLst>
                    <a:ext uri="{FF2B5EF4-FFF2-40B4-BE49-F238E27FC236}">
                      <a16:creationId xmlns:a16="http://schemas.microsoft.com/office/drawing/2014/main" id="{AABA3998-6D10-4545-A7DF-6ED794AC719C}"/>
                    </a:ext>
                  </a:extLst>
                </p:cNvPr>
                <p:cNvPicPr>
                  <a:picLocks noChangeAspect="1"/>
                </p:cNvPicPr>
                <p:nvPr userDrawn="1"/>
              </p:nvPicPr>
              <p:blipFill>
                <a:blip r:embed="rId7"/>
                <a:stretch>
                  <a:fillRect/>
                </a:stretch>
              </p:blipFill>
              <p:spPr>
                <a:xfrm>
                  <a:off x="10075660" y="3617325"/>
                  <a:ext cx="1830590" cy="1627918"/>
                </a:xfrm>
                <a:prstGeom prst="rect">
                  <a:avLst/>
                </a:prstGeom>
              </p:spPr>
            </p:pic>
            <p:cxnSp>
              <p:nvCxnSpPr>
                <p:cNvPr id="118" name="Straight Connector 117">
                  <a:extLst>
                    <a:ext uri="{FF2B5EF4-FFF2-40B4-BE49-F238E27FC236}">
                      <a16:creationId xmlns:a16="http://schemas.microsoft.com/office/drawing/2014/main" id="{2EEFBFC1-6C0D-0348-B560-CF141A2017FC}"/>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9ADBFB77-76D0-6444-AB28-A01243DE58E9}"/>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20" name="TextBox 119">
                  <a:extLst>
                    <a:ext uri="{FF2B5EF4-FFF2-40B4-BE49-F238E27FC236}">
                      <a16:creationId xmlns:a16="http://schemas.microsoft.com/office/drawing/2014/main" id="{798FC946-C3A9-DA4D-8EB6-7E9386F341B4}"/>
                    </a:ext>
                  </a:extLst>
                </p:cNvPr>
                <p:cNvSpPr txBox="1"/>
                <p:nvPr userDrawn="1"/>
              </p:nvSpPr>
              <p:spPr>
                <a:xfrm>
                  <a:off x="9832250" y="3828243"/>
                  <a:ext cx="257282"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sp>
              <p:nvSpPr>
                <p:cNvPr id="121" name="TextBox 120">
                  <a:extLst>
                    <a:ext uri="{FF2B5EF4-FFF2-40B4-BE49-F238E27FC236}">
                      <a16:creationId xmlns:a16="http://schemas.microsoft.com/office/drawing/2014/main" id="{2A28E02E-BC50-B343-919D-78A769FA9250}"/>
                    </a:ext>
                  </a:extLst>
                </p:cNvPr>
                <p:cNvSpPr txBox="1"/>
                <p:nvPr userDrawn="1"/>
              </p:nvSpPr>
              <p:spPr>
                <a:xfrm>
                  <a:off x="9832250" y="4721742"/>
                  <a:ext cx="257282" cy="184666"/>
                </a:xfrm>
                <a:prstGeom prst="rect">
                  <a:avLst/>
                </a:prstGeom>
              </p:spPr>
              <p:txBody>
                <a:bodyPr vert="horz" wrap="none" lIns="0" tIns="0" rIns="0" bIns="0" rtlCol="0" anchor="t">
                  <a:spAutoFit/>
                </a:bodyPr>
                <a:lstStyle/>
                <a:p>
                  <a:pPr algn="r"/>
                  <a:r>
                    <a:rPr lang="en-US" sz="600" dirty="0">
                      <a:solidFill>
                        <a:schemeClr val="tx1">
                          <a:lumMod val="50000"/>
                          <a:lumOff val="50000"/>
                        </a:schemeClr>
                      </a:solidFill>
                      <a:latin typeface="Arial" charset="0"/>
                      <a:ea typeface="Arial" charset="0"/>
                      <a:cs typeface="Arial" charset="0"/>
                    </a:rPr>
                    <a:t>Automatic</a:t>
                  </a:r>
                  <a:br>
                    <a:rPr lang="en-US" sz="600" dirty="0">
                      <a:solidFill>
                        <a:schemeClr val="tx1">
                          <a:lumMod val="50000"/>
                          <a:lumOff val="50000"/>
                        </a:schemeClr>
                      </a:solidFill>
                      <a:latin typeface="Arial" charset="0"/>
                      <a:ea typeface="Arial" charset="0"/>
                      <a:cs typeface="Arial" charset="0"/>
                    </a:rPr>
                  </a:br>
                  <a:r>
                    <a:rPr lang="en-US" sz="600" dirty="0">
                      <a:solidFill>
                        <a:schemeClr val="tx1">
                          <a:lumMod val="50000"/>
                          <a:lumOff val="50000"/>
                        </a:schemeClr>
                      </a:solidFill>
                      <a:latin typeface="Arial" charset="0"/>
                      <a:ea typeface="Arial" charset="0"/>
                      <a:cs typeface="Arial" charset="0"/>
                    </a:rPr>
                    <a:t>space</a:t>
                  </a:r>
                </a:p>
              </p:txBody>
            </p:sp>
          </p:grpSp>
        </p:grpSp>
        <p:grpSp>
          <p:nvGrpSpPr>
            <p:cNvPr id="2" name="Group 1">
              <a:extLst>
                <a:ext uri="{FF2B5EF4-FFF2-40B4-BE49-F238E27FC236}">
                  <a16:creationId xmlns:a16="http://schemas.microsoft.com/office/drawing/2014/main" id="{A4CF5DAB-1553-C04B-92A4-F1198F8EECE3}"/>
                </a:ext>
              </a:extLst>
            </p:cNvPr>
            <p:cNvGrpSpPr/>
            <p:nvPr userDrawn="1"/>
          </p:nvGrpSpPr>
          <p:grpSpPr>
            <a:xfrm>
              <a:off x="9521833" y="6475824"/>
              <a:ext cx="2754815" cy="6013825"/>
              <a:chOff x="9521833" y="-6801152"/>
              <a:chExt cx="2754815" cy="6013825"/>
            </a:xfrm>
          </p:grpSpPr>
          <p:sp>
            <p:nvSpPr>
              <p:cNvPr id="42" name="TextBox 41">
                <a:extLst>
                  <a:ext uri="{FF2B5EF4-FFF2-40B4-BE49-F238E27FC236}">
                    <a16:creationId xmlns:a16="http://schemas.microsoft.com/office/drawing/2014/main" id="{07BD5352-94B5-1940-89E6-DC02A72A4418}"/>
                  </a:ext>
                </a:extLst>
              </p:cNvPr>
              <p:cNvSpPr txBox="1"/>
              <p:nvPr userDrawn="1"/>
            </p:nvSpPr>
            <p:spPr>
              <a:xfrm>
                <a:off x="9558507" y="-6801152"/>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43" name="Straight Connector 42">
                <a:extLst>
                  <a:ext uri="{FF2B5EF4-FFF2-40B4-BE49-F238E27FC236}">
                    <a16:creationId xmlns:a16="http://schemas.microsoft.com/office/drawing/2014/main" id="{DE135D9E-6B8E-BF4A-8B52-EEAE03AC9DE2}"/>
                  </a:ext>
                </a:extLst>
              </p:cNvPr>
              <p:cNvCxnSpPr>
                <a:cxnSpLocks/>
              </p:cNvCxnSpPr>
              <p:nvPr userDrawn="1"/>
            </p:nvCxnSpPr>
            <p:spPr>
              <a:xfrm>
                <a:off x="9558507" y="-659853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6C3F42BF-41FD-244D-86C9-0031DA675594}"/>
                  </a:ext>
                </a:extLst>
              </p:cNvPr>
              <p:cNvSpPr txBox="1"/>
              <p:nvPr userDrawn="1"/>
            </p:nvSpPr>
            <p:spPr>
              <a:xfrm>
                <a:off x="9686426" y="-574022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5" name="Group 64">
                <a:extLst>
                  <a:ext uri="{FF2B5EF4-FFF2-40B4-BE49-F238E27FC236}">
                    <a16:creationId xmlns:a16="http://schemas.microsoft.com/office/drawing/2014/main" id="{1AF14A82-884D-6E44-833A-66AEAE8D73E5}"/>
                  </a:ext>
                </a:extLst>
              </p:cNvPr>
              <p:cNvGrpSpPr/>
              <p:nvPr userDrawn="1"/>
            </p:nvGrpSpPr>
            <p:grpSpPr>
              <a:xfrm>
                <a:off x="9541497" y="-2198642"/>
                <a:ext cx="2735151" cy="1411315"/>
                <a:chOff x="9296567" y="4910411"/>
                <a:chExt cx="2735151" cy="1411315"/>
              </a:xfrm>
            </p:grpSpPr>
            <p:sp>
              <p:nvSpPr>
                <p:cNvPr id="67" name="Rectangle 66">
                  <a:extLst>
                    <a:ext uri="{FF2B5EF4-FFF2-40B4-BE49-F238E27FC236}">
                      <a16:creationId xmlns:a16="http://schemas.microsoft.com/office/drawing/2014/main" id="{F7A9386A-4C7E-3A41-8497-284AAB05A9F1}"/>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8" name="TextBox 67">
                  <a:extLst>
                    <a:ext uri="{FF2B5EF4-FFF2-40B4-BE49-F238E27FC236}">
                      <a16:creationId xmlns:a16="http://schemas.microsoft.com/office/drawing/2014/main" id="{4233D935-4B30-F44F-9AE5-ED48766ABB3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9" name="Graphic 68">
                  <a:extLst>
                    <a:ext uri="{FF2B5EF4-FFF2-40B4-BE49-F238E27FC236}">
                      <a16:creationId xmlns:a16="http://schemas.microsoft.com/office/drawing/2014/main" id="{16F18F42-237E-5D49-9406-C82AB8706B57}"/>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56790" y="5049494"/>
                  <a:ext cx="155227" cy="155227"/>
                </a:xfrm>
                <a:prstGeom prst="rect">
                  <a:avLst/>
                </a:prstGeom>
              </p:spPr>
            </p:pic>
            <p:sp>
              <p:nvSpPr>
                <p:cNvPr id="70" name="TextBox 69">
                  <a:extLst>
                    <a:ext uri="{FF2B5EF4-FFF2-40B4-BE49-F238E27FC236}">
                      <a16:creationId xmlns:a16="http://schemas.microsoft.com/office/drawing/2014/main" id="{DE14BA7F-29C8-C24E-928B-592788C3333F}"/>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29C49CB8-3278-3D41-8689-3FE7FAAE5983}"/>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22BE9216-4058-A445-B627-693F5A96240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47" name="Group 46">
                <a:extLst>
                  <a:ext uri="{FF2B5EF4-FFF2-40B4-BE49-F238E27FC236}">
                    <a16:creationId xmlns:a16="http://schemas.microsoft.com/office/drawing/2014/main" id="{14F294D6-B313-E949-842F-F41379956161}"/>
                  </a:ext>
                </a:extLst>
              </p:cNvPr>
              <p:cNvGrpSpPr/>
              <p:nvPr userDrawn="1"/>
            </p:nvGrpSpPr>
            <p:grpSpPr>
              <a:xfrm>
                <a:off x="9541497" y="-3555298"/>
                <a:ext cx="2735151" cy="1280928"/>
                <a:chOff x="9286315" y="6976989"/>
                <a:chExt cx="2735151" cy="1280928"/>
              </a:xfrm>
            </p:grpSpPr>
            <p:sp>
              <p:nvSpPr>
                <p:cNvPr id="60" name="Rectangle 59">
                  <a:extLst>
                    <a:ext uri="{FF2B5EF4-FFF2-40B4-BE49-F238E27FC236}">
                      <a16:creationId xmlns:a16="http://schemas.microsoft.com/office/drawing/2014/main" id="{14F654D1-DB8F-CE4F-A23A-52B9BC2BFFEA}"/>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1" name="TextBox 60">
                  <a:extLst>
                    <a:ext uri="{FF2B5EF4-FFF2-40B4-BE49-F238E27FC236}">
                      <a16:creationId xmlns:a16="http://schemas.microsoft.com/office/drawing/2014/main" id="{1DC4A4C9-98A4-154F-8F68-6545453B1513}"/>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2" name="Graphic 61">
                  <a:extLst>
                    <a:ext uri="{FF2B5EF4-FFF2-40B4-BE49-F238E27FC236}">
                      <a16:creationId xmlns:a16="http://schemas.microsoft.com/office/drawing/2014/main" id="{09C862AD-FB96-864E-8468-306B3BB1F66C}"/>
                    </a:ext>
                  </a:extLst>
                </p:cNvPr>
                <p:cNvPicPr>
                  <a:picLocks noChangeAspect="1"/>
                </p:cNvPicPr>
                <p:nvPr userDrawn="1"/>
              </p:nvPicPr>
              <p:blipFill>
                <a:blip r:embed="rId5">
                  <a:extLst>
                    <a:ext uri="{96DAC541-7B7A-43D3-8B79-37D633B846F1}">
                      <asvg:svgBlip xmlns:asvg="http://schemas.microsoft.com/office/drawing/2016/SVG/main" r:embed="rId6"/>
                    </a:ext>
                  </a:extLst>
                </a:blip>
                <a:stretch>
                  <a:fillRect/>
                </a:stretch>
              </p:blipFill>
              <p:spPr>
                <a:xfrm>
                  <a:off x="9446538" y="7116071"/>
                  <a:ext cx="155227" cy="155227"/>
                </a:xfrm>
                <a:prstGeom prst="rect">
                  <a:avLst/>
                </a:prstGeom>
              </p:spPr>
            </p:pic>
            <p:sp>
              <p:nvSpPr>
                <p:cNvPr id="63" name="TextBox 62">
                  <a:extLst>
                    <a:ext uri="{FF2B5EF4-FFF2-40B4-BE49-F238E27FC236}">
                      <a16:creationId xmlns:a16="http://schemas.microsoft.com/office/drawing/2014/main" id="{F14F4FFA-0615-1D48-B3DF-3595FF4FE063}"/>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64" name="Picture 63">
                  <a:extLst>
                    <a:ext uri="{FF2B5EF4-FFF2-40B4-BE49-F238E27FC236}">
                      <a16:creationId xmlns:a16="http://schemas.microsoft.com/office/drawing/2014/main" id="{88F30D86-450E-F848-A211-E408470B957E}"/>
                    </a:ext>
                  </a:extLst>
                </p:cNvPr>
                <p:cNvPicPr>
                  <a:picLocks noChangeAspect="1"/>
                </p:cNvPicPr>
                <p:nvPr userDrawn="1"/>
              </p:nvPicPr>
              <p:blipFill rotWithShape="1">
                <a:blip r:embed="rId8"/>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48" name="Group 47">
                <a:extLst>
                  <a:ext uri="{FF2B5EF4-FFF2-40B4-BE49-F238E27FC236}">
                    <a16:creationId xmlns:a16="http://schemas.microsoft.com/office/drawing/2014/main" id="{02D72FD7-6279-0446-AC58-A3C3DC24D160}"/>
                  </a:ext>
                </a:extLst>
              </p:cNvPr>
              <p:cNvGrpSpPr/>
              <p:nvPr userDrawn="1"/>
            </p:nvGrpSpPr>
            <p:grpSpPr>
              <a:xfrm>
                <a:off x="9521833" y="-6476032"/>
                <a:ext cx="2617883" cy="651460"/>
                <a:chOff x="12352022" y="513115"/>
                <a:chExt cx="2617883" cy="651460"/>
              </a:xfrm>
            </p:grpSpPr>
            <p:sp>
              <p:nvSpPr>
                <p:cNvPr id="57" name="TextBox 56">
                  <a:extLst>
                    <a:ext uri="{FF2B5EF4-FFF2-40B4-BE49-F238E27FC236}">
                      <a16:creationId xmlns:a16="http://schemas.microsoft.com/office/drawing/2014/main" id="{F61D0EBF-B2C0-7046-B77D-2B9CD5228843}"/>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8" name="TextBox 57">
                  <a:extLst>
                    <a:ext uri="{FF2B5EF4-FFF2-40B4-BE49-F238E27FC236}">
                      <a16:creationId xmlns:a16="http://schemas.microsoft.com/office/drawing/2014/main" id="{80E248F4-5967-3B48-BA75-443830FB430F}"/>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9" name="TextBox 58">
                  <a:extLst>
                    <a:ext uri="{FF2B5EF4-FFF2-40B4-BE49-F238E27FC236}">
                      <a16:creationId xmlns:a16="http://schemas.microsoft.com/office/drawing/2014/main" id="{4458B103-16C3-734D-9D4C-08A0AD40A3F8}"/>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49" name="TextBox 48">
                <a:extLst>
                  <a:ext uri="{FF2B5EF4-FFF2-40B4-BE49-F238E27FC236}">
                    <a16:creationId xmlns:a16="http://schemas.microsoft.com/office/drawing/2014/main" id="{9F6763D5-C877-A84E-AA38-3CED305D0841}"/>
                  </a:ext>
                </a:extLst>
              </p:cNvPr>
              <p:cNvSpPr txBox="1"/>
              <p:nvPr userDrawn="1"/>
            </p:nvSpPr>
            <p:spPr>
              <a:xfrm>
                <a:off x="9674267" y="-54569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50" name="TextBox 49">
                <a:extLst>
                  <a:ext uri="{FF2B5EF4-FFF2-40B4-BE49-F238E27FC236}">
                    <a16:creationId xmlns:a16="http://schemas.microsoft.com/office/drawing/2014/main" id="{DFB47FC7-5B8F-1A47-817A-A3CF2131BD9D}"/>
                  </a:ext>
                </a:extLst>
              </p:cNvPr>
              <p:cNvSpPr txBox="1"/>
              <p:nvPr userDrawn="1"/>
            </p:nvSpPr>
            <p:spPr>
              <a:xfrm>
                <a:off x="9686426" y="-5041663"/>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51" name="TextBox 50">
                <a:extLst>
                  <a:ext uri="{FF2B5EF4-FFF2-40B4-BE49-F238E27FC236}">
                    <a16:creationId xmlns:a16="http://schemas.microsoft.com/office/drawing/2014/main" id="{5CD80403-C6E9-C346-A05A-8AE1F1F93179}"/>
                  </a:ext>
                </a:extLst>
              </p:cNvPr>
              <p:cNvSpPr txBox="1"/>
              <p:nvPr userDrawn="1"/>
            </p:nvSpPr>
            <p:spPr>
              <a:xfrm>
                <a:off x="9686426" y="-4321573"/>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52" name="TextBox 51">
                <a:extLst>
                  <a:ext uri="{FF2B5EF4-FFF2-40B4-BE49-F238E27FC236}">
                    <a16:creationId xmlns:a16="http://schemas.microsoft.com/office/drawing/2014/main" id="{6AB870E0-EE0A-D84C-A2C8-84EDC9B761D9}"/>
                  </a:ext>
                </a:extLst>
              </p:cNvPr>
              <p:cNvSpPr txBox="1"/>
              <p:nvPr userDrawn="1"/>
            </p:nvSpPr>
            <p:spPr>
              <a:xfrm>
                <a:off x="9674267" y="-389101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nvGrpSpPr>
            <p:cNvPr id="56" name="Group 55">
              <a:extLst>
                <a:ext uri="{FF2B5EF4-FFF2-40B4-BE49-F238E27FC236}">
                  <a16:creationId xmlns:a16="http://schemas.microsoft.com/office/drawing/2014/main" id="{51C8198C-DD7F-BA46-8818-A422C4B5DDAB}"/>
                </a:ext>
              </a:extLst>
            </p:cNvPr>
            <p:cNvGrpSpPr/>
            <p:nvPr userDrawn="1"/>
          </p:nvGrpSpPr>
          <p:grpSpPr>
            <a:xfrm>
              <a:off x="9554253" y="2414886"/>
              <a:ext cx="2819399" cy="1181890"/>
              <a:chOff x="9541498" y="3352649"/>
              <a:chExt cx="2819399" cy="1181890"/>
            </a:xfrm>
          </p:grpSpPr>
          <p:grpSp>
            <p:nvGrpSpPr>
              <p:cNvPr id="66" name="Group 65">
                <a:extLst>
                  <a:ext uri="{FF2B5EF4-FFF2-40B4-BE49-F238E27FC236}">
                    <a16:creationId xmlns:a16="http://schemas.microsoft.com/office/drawing/2014/main" id="{51461867-39BD-8443-858A-89E8E720E047}"/>
                  </a:ext>
                </a:extLst>
              </p:cNvPr>
              <p:cNvGrpSpPr/>
              <p:nvPr userDrawn="1"/>
            </p:nvGrpSpPr>
            <p:grpSpPr>
              <a:xfrm>
                <a:off x="9541498" y="3352649"/>
                <a:ext cx="2735150" cy="1181890"/>
                <a:chOff x="9541498" y="3751132"/>
                <a:chExt cx="2735150" cy="1181890"/>
              </a:xfrm>
            </p:grpSpPr>
            <p:grpSp>
              <p:nvGrpSpPr>
                <p:cNvPr id="76" name="Group 75">
                  <a:extLst>
                    <a:ext uri="{FF2B5EF4-FFF2-40B4-BE49-F238E27FC236}">
                      <a16:creationId xmlns:a16="http://schemas.microsoft.com/office/drawing/2014/main" id="{B43C4940-84D3-BE4D-B6C7-B9F4069E6AF2}"/>
                    </a:ext>
                  </a:extLst>
                </p:cNvPr>
                <p:cNvGrpSpPr/>
                <p:nvPr userDrawn="1"/>
              </p:nvGrpSpPr>
              <p:grpSpPr>
                <a:xfrm>
                  <a:off x="9541498" y="3751132"/>
                  <a:ext cx="2735150" cy="1181890"/>
                  <a:chOff x="9296568" y="4910411"/>
                  <a:chExt cx="2735150" cy="1181890"/>
                </a:xfrm>
              </p:grpSpPr>
              <p:sp>
                <p:nvSpPr>
                  <p:cNvPr id="78" name="Rectangle 77">
                    <a:extLst>
                      <a:ext uri="{FF2B5EF4-FFF2-40B4-BE49-F238E27FC236}">
                        <a16:creationId xmlns:a16="http://schemas.microsoft.com/office/drawing/2014/main" id="{9D64EC32-DC56-1A4F-B329-EFB7AD05123D}"/>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9" name="TextBox 78">
                    <a:extLst>
                      <a:ext uri="{FF2B5EF4-FFF2-40B4-BE49-F238E27FC236}">
                        <a16:creationId xmlns:a16="http://schemas.microsoft.com/office/drawing/2014/main" id="{98AC335A-B89B-6A4C-9272-D47CD0D06EC8}"/>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81" name="TextBox 80">
                    <a:extLst>
                      <a:ext uri="{FF2B5EF4-FFF2-40B4-BE49-F238E27FC236}">
                        <a16:creationId xmlns:a16="http://schemas.microsoft.com/office/drawing/2014/main" id="{278ECCAF-CE58-9C43-BD97-C451117E731F}"/>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77" name="Graphic 76">
                  <a:extLst>
                    <a:ext uri="{FF2B5EF4-FFF2-40B4-BE49-F238E27FC236}">
                      <a16:creationId xmlns:a16="http://schemas.microsoft.com/office/drawing/2014/main" id="{AB366EEA-B03C-9046-8AD6-59CC9C8CE5A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686425" y="3891259"/>
                  <a:ext cx="170340" cy="170340"/>
                </a:xfrm>
                <a:prstGeom prst="rect">
                  <a:avLst/>
                </a:prstGeom>
              </p:spPr>
            </p:pic>
          </p:grpSp>
          <p:pic>
            <p:nvPicPr>
              <p:cNvPr id="74" name="Picture 73">
                <a:extLst>
                  <a:ext uri="{FF2B5EF4-FFF2-40B4-BE49-F238E27FC236}">
                    <a16:creationId xmlns:a16="http://schemas.microsoft.com/office/drawing/2014/main" id="{699DEED4-35C2-9441-873F-AAED33354F6B}"/>
                  </a:ext>
                </a:extLst>
              </p:cNvPr>
              <p:cNvPicPr>
                <a:picLocks noChangeAspect="1"/>
              </p:cNvPicPr>
              <p:nvPr userDrawn="1"/>
            </p:nvPicPr>
            <p:blipFill rotWithShape="1">
              <a:blip r:embed="rId11"/>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76412392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wo Graphic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FE0F2A22-DC4A-E346-AE87-FB4ED4577753}"/>
              </a:ext>
            </a:extLst>
          </p:cNvPr>
          <p:cNvSpPr>
            <a:spLocks noGrp="1"/>
          </p:cNvSpPr>
          <p:nvPr>
            <p:ph type="pic" sz="quarter" idx="13" hasCustomPrompt="1"/>
          </p:nvPr>
        </p:nvSpPr>
        <p:spPr>
          <a:xfrm>
            <a:off x="575711" y="2218124"/>
            <a:ext cx="5255999" cy="2955675"/>
          </a:xfrm>
          <a:solidFill>
            <a:srgbClr val="E8F3FD"/>
          </a:solidFill>
        </p:spPr>
        <p:txBody>
          <a:bodyPr anchor="ctr"/>
          <a:lstStyle>
            <a:lvl1pPr algn="ctr">
              <a:defRPr b="0">
                <a:solidFill>
                  <a:schemeClr val="tx1">
                    <a:lumMod val="50000"/>
                    <a:lumOff val="50000"/>
                  </a:schemeClr>
                </a:solidFill>
              </a:defRPr>
            </a:lvl1pPr>
          </a:lstStyle>
          <a:p>
            <a:r>
              <a:rPr lang="en-US" dirty="0"/>
              <a:t>Click to add a pre-designed</a:t>
            </a:r>
            <a:br>
              <a:rPr lang="en-US" dirty="0"/>
            </a:br>
            <a:r>
              <a:rPr lang="en-US" dirty="0"/>
              <a:t>ranking or quote graphic</a:t>
            </a:r>
          </a:p>
        </p:txBody>
      </p:sp>
      <p:sp>
        <p:nvSpPr>
          <p:cNvPr id="9" name="Picture Placeholder 7">
            <a:extLst>
              <a:ext uri="{FF2B5EF4-FFF2-40B4-BE49-F238E27FC236}">
                <a16:creationId xmlns:a16="http://schemas.microsoft.com/office/drawing/2014/main" id="{1640ADA5-7398-B640-ADDD-6DF2A63EF342}"/>
              </a:ext>
            </a:extLst>
          </p:cNvPr>
          <p:cNvSpPr>
            <a:spLocks noGrp="1"/>
          </p:cNvSpPr>
          <p:nvPr>
            <p:ph type="pic" sz="quarter" idx="14" hasCustomPrompt="1"/>
          </p:nvPr>
        </p:nvSpPr>
        <p:spPr>
          <a:xfrm>
            <a:off x="6361038" y="2217970"/>
            <a:ext cx="5255229" cy="2955983"/>
          </a:xfrm>
          <a:solidFill>
            <a:srgbClr val="E8F3FD"/>
          </a:solidFill>
        </p:spPr>
        <p:txBody>
          <a:bodyPr anchor="ctr"/>
          <a:lstStyle>
            <a:lvl1pPr algn="ctr">
              <a:defRPr b="0">
                <a:solidFill>
                  <a:schemeClr val="tx1">
                    <a:lumMod val="50000"/>
                    <a:lumOff val="50000"/>
                  </a:schemeClr>
                </a:solidFill>
              </a:defRPr>
            </a:lvl1pPr>
          </a:lstStyle>
          <a:p>
            <a:r>
              <a:rPr lang="en-US" dirty="0"/>
              <a:t>Click to add a pre-designed</a:t>
            </a:r>
            <a:br>
              <a:rPr lang="en-US" dirty="0"/>
            </a:br>
            <a:r>
              <a:rPr lang="en-US" dirty="0"/>
              <a:t>ranking or quote graphic</a:t>
            </a:r>
          </a:p>
        </p:txBody>
      </p:sp>
      <p:cxnSp>
        <p:nvCxnSpPr>
          <p:cNvPr id="10" name="Straight Connector 9">
            <a:extLst>
              <a:ext uri="{FF2B5EF4-FFF2-40B4-BE49-F238E27FC236}">
                <a16:creationId xmlns:a16="http://schemas.microsoft.com/office/drawing/2014/main" id="{6C7DBB08-85DE-1A46-BB43-C98D1EBB9768}"/>
              </a:ext>
            </a:extLst>
          </p:cNvPr>
          <p:cNvCxnSpPr>
            <a:cxnSpLocks/>
          </p:cNvCxnSpPr>
          <p:nvPr userDrawn="1"/>
        </p:nvCxnSpPr>
        <p:spPr>
          <a:xfrm>
            <a:off x="6096000" y="2217970"/>
            <a:ext cx="0" cy="2955983"/>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2" name="Title 11">
            <a:extLst>
              <a:ext uri="{FF2B5EF4-FFF2-40B4-BE49-F238E27FC236}">
                <a16:creationId xmlns:a16="http://schemas.microsoft.com/office/drawing/2014/main" id="{90A94CCC-95A0-1A46-97DB-01C300149D6E}"/>
              </a:ext>
            </a:extLst>
          </p:cNvPr>
          <p:cNvSpPr>
            <a:spLocks noGrp="1"/>
          </p:cNvSpPr>
          <p:nvPr>
            <p:ph type="title" hasCustomPrompt="1"/>
          </p:nvPr>
        </p:nvSpPr>
        <p:spPr/>
        <p:txBody>
          <a:bodyPr/>
          <a:lstStyle/>
          <a:p>
            <a:r>
              <a:rPr lang="en-US" dirty="0"/>
              <a:t>CLICK TO ADD Slide TITLE. ALL CAPS. TWO LINES max.</a:t>
            </a:r>
          </a:p>
        </p:txBody>
      </p:sp>
      <p:sp>
        <p:nvSpPr>
          <p:cNvPr id="1000" name="Footnotes Placeholder">
            <a:extLst>
              <a:ext uri="{FF2B5EF4-FFF2-40B4-BE49-F238E27FC236}">
                <a16:creationId xmlns:a16="http://schemas.microsoft.com/office/drawing/2014/main" id="{38EB76C2-EC49-D74D-8138-42F36071D111}"/>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5" name="Date Placeholder 4">
            <a:extLst>
              <a:ext uri="{FF2B5EF4-FFF2-40B4-BE49-F238E27FC236}">
                <a16:creationId xmlns:a16="http://schemas.microsoft.com/office/drawing/2014/main" id="{88AC8874-ADB0-E745-A95D-BC630D73D54E}"/>
              </a:ext>
            </a:extLst>
          </p:cNvPr>
          <p:cNvSpPr>
            <a:spLocks noGrp="1"/>
          </p:cNvSpPr>
          <p:nvPr>
            <p:ph type="dt" sz="half" idx="101"/>
          </p:nvPr>
        </p:nvSpPr>
        <p:spPr/>
        <p:txBody>
          <a:bodyPr/>
          <a:lstStyle/>
          <a:p>
            <a:endParaRPr lang="en-US" dirty="0"/>
          </a:p>
        </p:txBody>
      </p:sp>
      <p:sp>
        <p:nvSpPr>
          <p:cNvPr id="6" name="Footer Placeholder 5">
            <a:extLst>
              <a:ext uri="{FF2B5EF4-FFF2-40B4-BE49-F238E27FC236}">
                <a16:creationId xmlns:a16="http://schemas.microsoft.com/office/drawing/2014/main" id="{C165C2A2-356A-7548-BE96-5A0D200A7CD7}"/>
              </a:ext>
            </a:extLst>
          </p:cNvPr>
          <p:cNvSpPr>
            <a:spLocks noGrp="1"/>
          </p:cNvSpPr>
          <p:nvPr>
            <p:ph type="ftr" sz="quarter" idx="102"/>
          </p:nvPr>
        </p:nvSpPr>
        <p:spPr/>
        <p:txBody>
          <a:bodyPr/>
          <a:lstStyle/>
          <a:p>
            <a:endParaRPr lang="en-US" dirty="0"/>
          </a:p>
        </p:txBody>
      </p:sp>
      <p:sp>
        <p:nvSpPr>
          <p:cNvPr id="7" name="Slide Number Placeholder 6">
            <a:extLst>
              <a:ext uri="{FF2B5EF4-FFF2-40B4-BE49-F238E27FC236}">
                <a16:creationId xmlns:a16="http://schemas.microsoft.com/office/drawing/2014/main" id="{AB83E43E-DF9D-AB4F-843F-9C58B110211E}"/>
              </a:ext>
            </a:extLst>
          </p:cNvPr>
          <p:cNvSpPr>
            <a:spLocks noGrp="1"/>
          </p:cNvSpPr>
          <p:nvPr>
            <p:ph type="sldNum" sz="quarter" idx="1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7" name="Group 36">
            <a:extLst>
              <a:ext uri="{FF2B5EF4-FFF2-40B4-BE49-F238E27FC236}">
                <a16:creationId xmlns:a16="http://schemas.microsoft.com/office/drawing/2014/main" id="{A4BF7355-4363-8343-BF89-F6DDE86B3E19}"/>
              </a:ext>
            </a:extLst>
          </p:cNvPr>
          <p:cNvGrpSpPr/>
          <p:nvPr userDrawn="1"/>
        </p:nvGrpSpPr>
        <p:grpSpPr>
          <a:xfrm>
            <a:off x="12532243" y="-1"/>
            <a:ext cx="3832280" cy="6858001"/>
            <a:chOff x="9144000" y="-1"/>
            <a:chExt cx="2874210" cy="6858001"/>
          </a:xfrm>
        </p:grpSpPr>
        <p:sp>
          <p:nvSpPr>
            <p:cNvPr id="44" name="Rectangle 43">
              <a:extLst>
                <a:ext uri="{FF2B5EF4-FFF2-40B4-BE49-F238E27FC236}">
                  <a16:creationId xmlns:a16="http://schemas.microsoft.com/office/drawing/2014/main" id="{DC3EFD55-F84B-3140-8A09-E694BBDB477A}"/>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grpSp>
          <p:nvGrpSpPr>
            <p:cNvPr id="45" name="Group 44">
              <a:extLst>
                <a:ext uri="{FF2B5EF4-FFF2-40B4-BE49-F238E27FC236}">
                  <a16:creationId xmlns:a16="http://schemas.microsoft.com/office/drawing/2014/main" id="{F52CEB7A-9DDD-2846-8CDB-25FF2BD4E0F2}"/>
                </a:ext>
              </a:extLst>
            </p:cNvPr>
            <p:cNvGrpSpPr/>
            <p:nvPr userDrawn="1"/>
          </p:nvGrpSpPr>
          <p:grpSpPr>
            <a:xfrm>
              <a:off x="9263395" y="150289"/>
              <a:ext cx="2754815" cy="6013825"/>
              <a:chOff x="9266651" y="185338"/>
              <a:chExt cx="2754815" cy="6013825"/>
            </a:xfrm>
          </p:grpSpPr>
          <p:sp>
            <p:nvSpPr>
              <p:cNvPr id="46" name="TextBox 45">
                <a:extLst>
                  <a:ext uri="{FF2B5EF4-FFF2-40B4-BE49-F238E27FC236}">
                    <a16:creationId xmlns:a16="http://schemas.microsoft.com/office/drawing/2014/main" id="{9C639E71-F95A-7A4A-BCA4-1C7279BE09D4}"/>
                  </a:ext>
                </a:extLst>
              </p:cNvPr>
              <p:cNvSpPr txBox="1"/>
              <p:nvPr userDrawn="1"/>
            </p:nvSpPr>
            <p:spPr>
              <a:xfrm>
                <a:off x="9303325" y="185338"/>
                <a:ext cx="181179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 RANKING GRAPHIC</a:t>
                </a:r>
              </a:p>
            </p:txBody>
          </p:sp>
          <p:cxnSp>
            <p:nvCxnSpPr>
              <p:cNvPr id="47" name="Straight Connector 46">
                <a:extLst>
                  <a:ext uri="{FF2B5EF4-FFF2-40B4-BE49-F238E27FC236}">
                    <a16:creationId xmlns:a16="http://schemas.microsoft.com/office/drawing/2014/main" id="{3454B777-88A5-A54A-8688-8CCFBB2CBB56}"/>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386A5866-BE39-6A48-AE63-C492C5C420BC}"/>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9" name="Group 48">
                <a:extLst>
                  <a:ext uri="{FF2B5EF4-FFF2-40B4-BE49-F238E27FC236}">
                    <a16:creationId xmlns:a16="http://schemas.microsoft.com/office/drawing/2014/main" id="{FBDBCBCD-7B16-ED4B-89CB-3BAB8B70B23B}"/>
                  </a:ext>
                </a:extLst>
              </p:cNvPr>
              <p:cNvGrpSpPr/>
              <p:nvPr userDrawn="1"/>
            </p:nvGrpSpPr>
            <p:grpSpPr>
              <a:xfrm>
                <a:off x="9286315" y="4787848"/>
                <a:ext cx="2735151" cy="1411315"/>
                <a:chOff x="9296567" y="4910411"/>
                <a:chExt cx="2735151" cy="1411315"/>
              </a:xfrm>
            </p:grpSpPr>
            <p:sp>
              <p:nvSpPr>
                <p:cNvPr id="64" name="Rectangle 63">
                  <a:extLst>
                    <a:ext uri="{FF2B5EF4-FFF2-40B4-BE49-F238E27FC236}">
                      <a16:creationId xmlns:a16="http://schemas.microsoft.com/office/drawing/2014/main" id="{7707291B-F5C5-E84D-BB87-EC256B761F2F}"/>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5" name="TextBox 64">
                  <a:extLst>
                    <a:ext uri="{FF2B5EF4-FFF2-40B4-BE49-F238E27FC236}">
                      <a16:creationId xmlns:a16="http://schemas.microsoft.com/office/drawing/2014/main" id="{47E811E1-3D01-0242-B581-B3D0E2D9E8C8}"/>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6" name="Graphic 65">
                  <a:extLst>
                    <a:ext uri="{FF2B5EF4-FFF2-40B4-BE49-F238E27FC236}">
                      <a16:creationId xmlns:a16="http://schemas.microsoft.com/office/drawing/2014/main" id="{CC7533CE-AAD6-6A4F-B604-501FBC22F2F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67" name="TextBox 66">
                  <a:extLst>
                    <a:ext uri="{FF2B5EF4-FFF2-40B4-BE49-F238E27FC236}">
                      <a16:creationId xmlns:a16="http://schemas.microsoft.com/office/drawing/2014/main" id="{DEFC58F9-83F9-F24E-8CFB-85C42B9FF28B}"/>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8" name="TextBox 67">
                  <a:extLst>
                    <a:ext uri="{FF2B5EF4-FFF2-40B4-BE49-F238E27FC236}">
                      <a16:creationId xmlns:a16="http://schemas.microsoft.com/office/drawing/2014/main" id="{4343EFA7-F04B-AD4C-B49F-773E72FEEA0C}"/>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9" name="TextBox 68">
                  <a:extLst>
                    <a:ext uri="{FF2B5EF4-FFF2-40B4-BE49-F238E27FC236}">
                      <a16:creationId xmlns:a16="http://schemas.microsoft.com/office/drawing/2014/main" id="{74414D03-81D7-8041-8A2A-5F8A32095DD0}"/>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50" name="Group 49">
                <a:extLst>
                  <a:ext uri="{FF2B5EF4-FFF2-40B4-BE49-F238E27FC236}">
                    <a16:creationId xmlns:a16="http://schemas.microsoft.com/office/drawing/2014/main" id="{49F75BF1-C2B3-B54F-8730-6D9E5FA3B42F}"/>
                  </a:ext>
                </a:extLst>
              </p:cNvPr>
              <p:cNvGrpSpPr/>
              <p:nvPr userDrawn="1"/>
            </p:nvGrpSpPr>
            <p:grpSpPr>
              <a:xfrm>
                <a:off x="9286315" y="3431192"/>
                <a:ext cx="2735151" cy="1280928"/>
                <a:chOff x="9286315" y="6976989"/>
                <a:chExt cx="2735151" cy="1280928"/>
              </a:xfrm>
            </p:grpSpPr>
            <p:sp>
              <p:nvSpPr>
                <p:cNvPr id="59" name="Rectangle 58">
                  <a:extLst>
                    <a:ext uri="{FF2B5EF4-FFF2-40B4-BE49-F238E27FC236}">
                      <a16:creationId xmlns:a16="http://schemas.microsoft.com/office/drawing/2014/main" id="{390CF49D-B56E-F246-9B8F-7253ADBF55CF}"/>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0" name="TextBox 59">
                  <a:extLst>
                    <a:ext uri="{FF2B5EF4-FFF2-40B4-BE49-F238E27FC236}">
                      <a16:creationId xmlns:a16="http://schemas.microsoft.com/office/drawing/2014/main" id="{5CA0CD73-90A4-5947-9FED-FC045B6A96DB}"/>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61" name="Graphic 60">
                  <a:extLst>
                    <a:ext uri="{FF2B5EF4-FFF2-40B4-BE49-F238E27FC236}">
                      <a16:creationId xmlns:a16="http://schemas.microsoft.com/office/drawing/2014/main" id="{8566AC83-205E-F840-8065-FAD2AD96F82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62" name="TextBox 61">
                  <a:extLst>
                    <a:ext uri="{FF2B5EF4-FFF2-40B4-BE49-F238E27FC236}">
                      <a16:creationId xmlns:a16="http://schemas.microsoft.com/office/drawing/2014/main" id="{DDEB2D73-0AF0-D34E-88C1-C738A08E9937}"/>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63" name="Picture 62">
                  <a:extLst>
                    <a:ext uri="{FF2B5EF4-FFF2-40B4-BE49-F238E27FC236}">
                      <a16:creationId xmlns:a16="http://schemas.microsoft.com/office/drawing/2014/main" id="{CA429C1D-9A21-394C-A2DC-7BF8A319EFA6}"/>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51" name="Group 50">
                <a:extLst>
                  <a:ext uri="{FF2B5EF4-FFF2-40B4-BE49-F238E27FC236}">
                    <a16:creationId xmlns:a16="http://schemas.microsoft.com/office/drawing/2014/main" id="{49CCA4E1-8EF5-2549-84B1-9E3BBF0438EA}"/>
                  </a:ext>
                </a:extLst>
              </p:cNvPr>
              <p:cNvGrpSpPr/>
              <p:nvPr userDrawn="1"/>
            </p:nvGrpSpPr>
            <p:grpSpPr>
              <a:xfrm>
                <a:off x="9266651" y="510458"/>
                <a:ext cx="2617883" cy="651460"/>
                <a:chOff x="12352022" y="513115"/>
                <a:chExt cx="2617883" cy="651460"/>
              </a:xfrm>
            </p:grpSpPr>
            <p:sp>
              <p:nvSpPr>
                <p:cNvPr id="56" name="TextBox 55">
                  <a:extLst>
                    <a:ext uri="{FF2B5EF4-FFF2-40B4-BE49-F238E27FC236}">
                      <a16:creationId xmlns:a16="http://schemas.microsoft.com/office/drawing/2014/main" id="{C2E305A8-FA70-5E42-8141-397DA68944F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7" name="TextBox 56">
                  <a:extLst>
                    <a:ext uri="{FF2B5EF4-FFF2-40B4-BE49-F238E27FC236}">
                      <a16:creationId xmlns:a16="http://schemas.microsoft.com/office/drawing/2014/main" id="{7ED7D884-C4B1-7941-88D0-3BC49DC1632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8" name="TextBox 57">
                  <a:extLst>
                    <a:ext uri="{FF2B5EF4-FFF2-40B4-BE49-F238E27FC236}">
                      <a16:creationId xmlns:a16="http://schemas.microsoft.com/office/drawing/2014/main" id="{FEBB71D5-7B19-FE4A-8102-B363C4A42F30}"/>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52" name="TextBox 51">
                <a:extLst>
                  <a:ext uri="{FF2B5EF4-FFF2-40B4-BE49-F238E27FC236}">
                    <a16:creationId xmlns:a16="http://schemas.microsoft.com/office/drawing/2014/main" id="{A1548EEE-06E3-CC41-9F8E-0DDC2A665391}"/>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53" name="TextBox 52">
                <a:extLst>
                  <a:ext uri="{FF2B5EF4-FFF2-40B4-BE49-F238E27FC236}">
                    <a16:creationId xmlns:a16="http://schemas.microsoft.com/office/drawing/2014/main" id="{73BFC1D0-EE7B-E04D-8255-6C212EF19379}"/>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54" name="TextBox 53">
                <a:extLst>
                  <a:ext uri="{FF2B5EF4-FFF2-40B4-BE49-F238E27FC236}">
                    <a16:creationId xmlns:a16="http://schemas.microsoft.com/office/drawing/2014/main" id="{AFBE415B-053E-814E-B121-87F6ADDFE554}"/>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55" name="TextBox 54">
                <a:extLst>
                  <a:ext uri="{FF2B5EF4-FFF2-40B4-BE49-F238E27FC236}">
                    <a16:creationId xmlns:a16="http://schemas.microsoft.com/office/drawing/2014/main" id="{41737B6D-EC46-E844-88B0-2E9EB831AD16}"/>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165970581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Four Rankings">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6C7DBB08-85DE-1A46-BB43-C98D1EBB9768}"/>
              </a:ext>
            </a:extLst>
          </p:cNvPr>
          <p:cNvCxnSpPr>
            <a:cxnSpLocks/>
          </p:cNvCxnSpPr>
          <p:nvPr userDrawn="1"/>
        </p:nvCxnSpPr>
        <p:spPr>
          <a:xfrm>
            <a:off x="6096000" y="1233488"/>
            <a:ext cx="0" cy="4932362"/>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0BDB01CD-2962-8340-88FB-839DBE47CB09}"/>
              </a:ext>
            </a:extLst>
          </p:cNvPr>
          <p:cNvCxnSpPr>
            <a:cxnSpLocks/>
          </p:cNvCxnSpPr>
          <p:nvPr userDrawn="1"/>
        </p:nvCxnSpPr>
        <p:spPr>
          <a:xfrm flipH="1">
            <a:off x="575735" y="3699669"/>
            <a:ext cx="11040532" cy="0"/>
          </a:xfrm>
          <a:prstGeom prst="line">
            <a:avLst/>
          </a:prstGeom>
          <a:ln w="19050">
            <a:solidFill>
              <a:schemeClr val="bg1">
                <a:lumMod val="95000"/>
              </a:schemeClr>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1A6A8005-7996-1E40-9EA1-933A3B5C30FA}"/>
              </a:ext>
            </a:extLst>
          </p:cNvPr>
          <p:cNvSpPr/>
          <p:nvPr userDrawn="1"/>
        </p:nvSpPr>
        <p:spPr>
          <a:xfrm>
            <a:off x="5907753" y="3558484"/>
            <a:ext cx="376497" cy="2823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2" name="Title 11">
            <a:extLst>
              <a:ext uri="{FF2B5EF4-FFF2-40B4-BE49-F238E27FC236}">
                <a16:creationId xmlns:a16="http://schemas.microsoft.com/office/drawing/2014/main" id="{90A94CCC-95A0-1A46-97DB-01C300149D6E}"/>
              </a:ext>
            </a:extLst>
          </p:cNvPr>
          <p:cNvSpPr>
            <a:spLocks noGrp="1"/>
          </p:cNvSpPr>
          <p:nvPr>
            <p:ph type="title" hasCustomPrompt="1"/>
          </p:nvPr>
        </p:nvSpPr>
        <p:spPr/>
        <p:txBody>
          <a:bodyPr/>
          <a:lstStyle/>
          <a:p>
            <a:r>
              <a:rPr lang="en-US" dirty="0"/>
              <a:t>CLICK TO ADD Slide TITLE. ALL CAPS. TWO LINES max.</a:t>
            </a:r>
          </a:p>
        </p:txBody>
      </p:sp>
      <p:sp>
        <p:nvSpPr>
          <p:cNvPr id="1000" name="Footnotes Placeholder">
            <a:extLst>
              <a:ext uri="{FF2B5EF4-FFF2-40B4-BE49-F238E27FC236}">
                <a16:creationId xmlns:a16="http://schemas.microsoft.com/office/drawing/2014/main" id="{91EC1F1B-FF90-E74E-B72A-B7A125D22585}"/>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grpSp>
        <p:nvGrpSpPr>
          <p:cNvPr id="19" name="Group 18">
            <a:extLst>
              <a:ext uri="{FF2B5EF4-FFF2-40B4-BE49-F238E27FC236}">
                <a16:creationId xmlns:a16="http://schemas.microsoft.com/office/drawing/2014/main" id="{B46CC54C-7B68-E241-9642-3F0AEBCE1D3E}"/>
              </a:ext>
            </a:extLst>
          </p:cNvPr>
          <p:cNvGrpSpPr/>
          <p:nvPr userDrawn="1"/>
        </p:nvGrpSpPr>
        <p:grpSpPr>
          <a:xfrm>
            <a:off x="12532243" y="-1"/>
            <a:ext cx="3832280" cy="6858001"/>
            <a:chOff x="9144000" y="-1"/>
            <a:chExt cx="2874210" cy="6858001"/>
          </a:xfrm>
        </p:grpSpPr>
        <p:sp>
          <p:nvSpPr>
            <p:cNvPr id="20" name="Rectangle 19">
              <a:extLst>
                <a:ext uri="{FF2B5EF4-FFF2-40B4-BE49-F238E27FC236}">
                  <a16:creationId xmlns:a16="http://schemas.microsoft.com/office/drawing/2014/main" id="{ACAF3989-9001-1D42-BFD2-B3EE44E569C1}"/>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grpSp>
          <p:nvGrpSpPr>
            <p:cNvPr id="21" name="Group 20">
              <a:extLst>
                <a:ext uri="{FF2B5EF4-FFF2-40B4-BE49-F238E27FC236}">
                  <a16:creationId xmlns:a16="http://schemas.microsoft.com/office/drawing/2014/main" id="{A3F2572A-15DB-CA44-97F0-4402CF54CD81}"/>
                </a:ext>
              </a:extLst>
            </p:cNvPr>
            <p:cNvGrpSpPr/>
            <p:nvPr userDrawn="1"/>
          </p:nvGrpSpPr>
          <p:grpSpPr>
            <a:xfrm>
              <a:off x="9263395" y="150289"/>
              <a:ext cx="2754815" cy="6013825"/>
              <a:chOff x="9266651" y="185338"/>
              <a:chExt cx="2754815" cy="6013825"/>
            </a:xfrm>
          </p:grpSpPr>
          <p:sp>
            <p:nvSpPr>
              <p:cNvPr id="22" name="TextBox 21">
                <a:extLst>
                  <a:ext uri="{FF2B5EF4-FFF2-40B4-BE49-F238E27FC236}">
                    <a16:creationId xmlns:a16="http://schemas.microsoft.com/office/drawing/2014/main" id="{A831107F-3B71-A246-94F0-2CE3B86E6490}"/>
                  </a:ext>
                </a:extLst>
              </p:cNvPr>
              <p:cNvSpPr txBox="1"/>
              <p:nvPr userDrawn="1"/>
            </p:nvSpPr>
            <p:spPr>
              <a:xfrm>
                <a:off x="9303325" y="185338"/>
                <a:ext cx="181179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 RANKING GRAPHIC</a:t>
                </a:r>
              </a:p>
            </p:txBody>
          </p:sp>
          <p:cxnSp>
            <p:nvCxnSpPr>
              <p:cNvPr id="26" name="Straight Connector 25">
                <a:extLst>
                  <a:ext uri="{FF2B5EF4-FFF2-40B4-BE49-F238E27FC236}">
                    <a16:creationId xmlns:a16="http://schemas.microsoft.com/office/drawing/2014/main" id="{9DCE2AC9-948B-6D42-B58B-27F86BD2882E}"/>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FF9B6675-437C-2442-A0FD-A32F3ECBBE63}"/>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44" name="Group 43">
                <a:extLst>
                  <a:ext uri="{FF2B5EF4-FFF2-40B4-BE49-F238E27FC236}">
                    <a16:creationId xmlns:a16="http://schemas.microsoft.com/office/drawing/2014/main" id="{68EEA0A5-F3D7-6E42-8D40-78F80F4B8729}"/>
                  </a:ext>
                </a:extLst>
              </p:cNvPr>
              <p:cNvGrpSpPr/>
              <p:nvPr userDrawn="1"/>
            </p:nvGrpSpPr>
            <p:grpSpPr>
              <a:xfrm>
                <a:off x="9286315" y="4787848"/>
                <a:ext cx="2735151" cy="1411315"/>
                <a:chOff x="9296567" y="4910411"/>
                <a:chExt cx="2735151" cy="1411315"/>
              </a:xfrm>
            </p:grpSpPr>
            <p:sp>
              <p:nvSpPr>
                <p:cNvPr id="46" name="Rectangle 45">
                  <a:extLst>
                    <a:ext uri="{FF2B5EF4-FFF2-40B4-BE49-F238E27FC236}">
                      <a16:creationId xmlns:a16="http://schemas.microsoft.com/office/drawing/2014/main" id="{FFE7198E-18DB-3D4C-ACF1-59FA0D8A732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7" name="TextBox 46">
                  <a:extLst>
                    <a:ext uri="{FF2B5EF4-FFF2-40B4-BE49-F238E27FC236}">
                      <a16:creationId xmlns:a16="http://schemas.microsoft.com/office/drawing/2014/main" id="{21063239-8381-314C-B8AB-56546C63F8A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48" name="Graphic 47">
                  <a:extLst>
                    <a:ext uri="{FF2B5EF4-FFF2-40B4-BE49-F238E27FC236}">
                      <a16:creationId xmlns:a16="http://schemas.microsoft.com/office/drawing/2014/main" id="{59CE261D-316E-0443-9C75-851826E0F947}"/>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56790" y="5049494"/>
                  <a:ext cx="155227" cy="155227"/>
                </a:xfrm>
                <a:prstGeom prst="rect">
                  <a:avLst/>
                </a:prstGeom>
              </p:spPr>
            </p:pic>
            <p:sp>
              <p:nvSpPr>
                <p:cNvPr id="49" name="TextBox 48">
                  <a:extLst>
                    <a:ext uri="{FF2B5EF4-FFF2-40B4-BE49-F238E27FC236}">
                      <a16:creationId xmlns:a16="http://schemas.microsoft.com/office/drawing/2014/main" id="{687D252E-574D-6641-B186-9B6BF591E53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0" name="TextBox 49">
                  <a:extLst>
                    <a:ext uri="{FF2B5EF4-FFF2-40B4-BE49-F238E27FC236}">
                      <a16:creationId xmlns:a16="http://schemas.microsoft.com/office/drawing/2014/main" id="{7DEC1CC5-BF48-CE46-B863-0760ACFFC917}"/>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1" name="TextBox 50">
                  <a:extLst>
                    <a:ext uri="{FF2B5EF4-FFF2-40B4-BE49-F238E27FC236}">
                      <a16:creationId xmlns:a16="http://schemas.microsoft.com/office/drawing/2014/main" id="{3A57F9FD-D4F2-DA46-AD18-8A912DFB1910}"/>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29" name="Group 28">
                <a:extLst>
                  <a:ext uri="{FF2B5EF4-FFF2-40B4-BE49-F238E27FC236}">
                    <a16:creationId xmlns:a16="http://schemas.microsoft.com/office/drawing/2014/main" id="{AE16DB9C-E5B2-884A-9565-EEAF0C5CF9BF}"/>
                  </a:ext>
                </a:extLst>
              </p:cNvPr>
              <p:cNvGrpSpPr/>
              <p:nvPr userDrawn="1"/>
            </p:nvGrpSpPr>
            <p:grpSpPr>
              <a:xfrm>
                <a:off x="9286315" y="3431192"/>
                <a:ext cx="2735151" cy="1280928"/>
                <a:chOff x="9286315" y="6976989"/>
                <a:chExt cx="2735151" cy="1280928"/>
              </a:xfrm>
            </p:grpSpPr>
            <p:sp>
              <p:nvSpPr>
                <p:cNvPr id="39" name="Rectangle 38">
                  <a:extLst>
                    <a:ext uri="{FF2B5EF4-FFF2-40B4-BE49-F238E27FC236}">
                      <a16:creationId xmlns:a16="http://schemas.microsoft.com/office/drawing/2014/main" id="{25D76DD2-29C7-BD42-9BE9-1550F8B7BDF1}"/>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0" name="TextBox 39">
                  <a:extLst>
                    <a:ext uri="{FF2B5EF4-FFF2-40B4-BE49-F238E27FC236}">
                      <a16:creationId xmlns:a16="http://schemas.microsoft.com/office/drawing/2014/main" id="{E7045288-2B1C-4240-9A09-B89800D81B9D}"/>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1" name="Graphic 40">
                  <a:extLst>
                    <a:ext uri="{FF2B5EF4-FFF2-40B4-BE49-F238E27FC236}">
                      <a16:creationId xmlns:a16="http://schemas.microsoft.com/office/drawing/2014/main" id="{9C95FF09-8F95-C741-80C5-9454ECCF66FF}"/>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9446538" y="7116071"/>
                  <a:ext cx="155227" cy="155227"/>
                </a:xfrm>
                <a:prstGeom prst="rect">
                  <a:avLst/>
                </a:prstGeom>
              </p:spPr>
            </p:pic>
            <p:sp>
              <p:nvSpPr>
                <p:cNvPr id="42" name="TextBox 41">
                  <a:extLst>
                    <a:ext uri="{FF2B5EF4-FFF2-40B4-BE49-F238E27FC236}">
                      <a16:creationId xmlns:a16="http://schemas.microsoft.com/office/drawing/2014/main" id="{C04D2D0F-4866-1448-921A-43934368B081}"/>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3" name="Picture 42">
                  <a:extLst>
                    <a:ext uri="{FF2B5EF4-FFF2-40B4-BE49-F238E27FC236}">
                      <a16:creationId xmlns:a16="http://schemas.microsoft.com/office/drawing/2014/main" id="{2DACD82A-9A31-2640-A95E-910937801137}"/>
                    </a:ext>
                  </a:extLst>
                </p:cNvPr>
                <p:cNvPicPr>
                  <a:picLocks noChangeAspect="1"/>
                </p:cNvPicPr>
                <p:nvPr userDrawn="1"/>
              </p:nvPicPr>
              <p:blipFill rotWithShape="1">
                <a:blip r:embed="rId4"/>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1" name="Group 30">
                <a:extLst>
                  <a:ext uri="{FF2B5EF4-FFF2-40B4-BE49-F238E27FC236}">
                    <a16:creationId xmlns:a16="http://schemas.microsoft.com/office/drawing/2014/main" id="{143CC937-04D8-DE45-8D1A-A0DB7A99D293}"/>
                  </a:ext>
                </a:extLst>
              </p:cNvPr>
              <p:cNvGrpSpPr/>
              <p:nvPr userDrawn="1"/>
            </p:nvGrpSpPr>
            <p:grpSpPr>
              <a:xfrm>
                <a:off x="9266651" y="510458"/>
                <a:ext cx="2617883" cy="651460"/>
                <a:chOff x="12352022" y="513115"/>
                <a:chExt cx="2617883" cy="651460"/>
              </a:xfrm>
            </p:grpSpPr>
            <p:sp>
              <p:nvSpPr>
                <p:cNvPr id="36" name="TextBox 35">
                  <a:extLst>
                    <a:ext uri="{FF2B5EF4-FFF2-40B4-BE49-F238E27FC236}">
                      <a16:creationId xmlns:a16="http://schemas.microsoft.com/office/drawing/2014/main" id="{820E4047-347B-0646-A5C0-9C67844D04A0}"/>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37" name="TextBox 36">
                  <a:extLst>
                    <a:ext uri="{FF2B5EF4-FFF2-40B4-BE49-F238E27FC236}">
                      <a16:creationId xmlns:a16="http://schemas.microsoft.com/office/drawing/2014/main" id="{141E9D61-4264-1F40-8A29-25D967620479}"/>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38" name="TextBox 37">
                  <a:extLst>
                    <a:ext uri="{FF2B5EF4-FFF2-40B4-BE49-F238E27FC236}">
                      <a16:creationId xmlns:a16="http://schemas.microsoft.com/office/drawing/2014/main" id="{D0A5D692-BC3D-524B-9835-3D96650DE31A}"/>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32" name="TextBox 31">
                <a:extLst>
                  <a:ext uri="{FF2B5EF4-FFF2-40B4-BE49-F238E27FC236}">
                    <a16:creationId xmlns:a16="http://schemas.microsoft.com/office/drawing/2014/main" id="{3C323880-D720-CB4D-BE01-DE5BBD7897E2}"/>
                  </a:ext>
                </a:extLst>
              </p:cNvPr>
              <p:cNvSpPr txBox="1"/>
              <p:nvPr userDrawn="1"/>
            </p:nvSpPr>
            <p:spPr>
              <a:xfrm>
                <a:off x="9419085" y="152957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3" name="TextBox 32">
                <a:extLst>
                  <a:ext uri="{FF2B5EF4-FFF2-40B4-BE49-F238E27FC236}">
                    <a16:creationId xmlns:a16="http://schemas.microsoft.com/office/drawing/2014/main" id="{9EF3C03E-D1A7-144E-BB81-4551B13F525D}"/>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4" name="TextBox 33">
                <a:extLst>
                  <a:ext uri="{FF2B5EF4-FFF2-40B4-BE49-F238E27FC236}">
                    <a16:creationId xmlns:a16="http://schemas.microsoft.com/office/drawing/2014/main" id="{E99FADFB-AEE1-B940-8414-BC0369A1F7EF}"/>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35" name="TextBox 34">
                <a:extLst>
                  <a:ext uri="{FF2B5EF4-FFF2-40B4-BE49-F238E27FC236}">
                    <a16:creationId xmlns:a16="http://schemas.microsoft.com/office/drawing/2014/main" id="{DE441ADD-F33A-BB4A-B90B-1DE478BAD320}"/>
                  </a:ext>
                </a:extLst>
              </p:cNvPr>
              <p:cNvSpPr txBox="1"/>
              <p:nvPr userDrawn="1"/>
            </p:nvSpPr>
            <p:spPr>
              <a:xfrm>
                <a:off x="9419085" y="309548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
        <p:nvSpPr>
          <p:cNvPr id="5" name="Date Placeholder 4">
            <a:extLst>
              <a:ext uri="{FF2B5EF4-FFF2-40B4-BE49-F238E27FC236}">
                <a16:creationId xmlns:a16="http://schemas.microsoft.com/office/drawing/2014/main" id="{57736864-A696-CE41-ABC2-ABC572DF6E7C}"/>
              </a:ext>
            </a:extLst>
          </p:cNvPr>
          <p:cNvSpPr>
            <a:spLocks noGrp="1"/>
          </p:cNvSpPr>
          <p:nvPr>
            <p:ph type="dt" sz="half" idx="104"/>
          </p:nvPr>
        </p:nvSpPr>
        <p:spPr/>
        <p:txBody>
          <a:bodyPr/>
          <a:lstStyle/>
          <a:p>
            <a:endParaRPr lang="en-US" dirty="0"/>
          </a:p>
        </p:txBody>
      </p:sp>
      <p:sp>
        <p:nvSpPr>
          <p:cNvPr id="6" name="Footer Placeholder 5">
            <a:extLst>
              <a:ext uri="{FF2B5EF4-FFF2-40B4-BE49-F238E27FC236}">
                <a16:creationId xmlns:a16="http://schemas.microsoft.com/office/drawing/2014/main" id="{32336FBA-2F01-B14F-8747-8F105CF5439F}"/>
              </a:ext>
            </a:extLst>
          </p:cNvPr>
          <p:cNvSpPr>
            <a:spLocks noGrp="1"/>
          </p:cNvSpPr>
          <p:nvPr>
            <p:ph type="ftr" sz="quarter" idx="105"/>
          </p:nvPr>
        </p:nvSpPr>
        <p:spPr/>
        <p:txBody>
          <a:bodyPr/>
          <a:lstStyle/>
          <a:p>
            <a:endParaRPr lang="en-US" dirty="0"/>
          </a:p>
        </p:txBody>
      </p:sp>
      <p:sp>
        <p:nvSpPr>
          <p:cNvPr id="7" name="Slide Number Placeholder 6">
            <a:extLst>
              <a:ext uri="{FF2B5EF4-FFF2-40B4-BE49-F238E27FC236}">
                <a16:creationId xmlns:a16="http://schemas.microsoft.com/office/drawing/2014/main" id="{C712BF78-99E1-2F48-8801-14B42F731A25}"/>
              </a:ext>
            </a:extLst>
          </p:cNvPr>
          <p:cNvSpPr>
            <a:spLocks noGrp="1"/>
          </p:cNvSpPr>
          <p:nvPr>
            <p:ph type="sldNum" sz="quarter" idx="106"/>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60" name="Picture Placeholder 59">
            <a:extLst>
              <a:ext uri="{FF2B5EF4-FFF2-40B4-BE49-F238E27FC236}">
                <a16:creationId xmlns:a16="http://schemas.microsoft.com/office/drawing/2014/main" id="{1B8EE01B-6230-DE4D-94BD-23EB640CF275}"/>
              </a:ext>
            </a:extLst>
          </p:cNvPr>
          <p:cNvSpPr>
            <a:spLocks noGrp="1"/>
          </p:cNvSpPr>
          <p:nvPr>
            <p:ph type="pic" sz="quarter" idx="13" hasCustomPrompt="1"/>
          </p:nvPr>
        </p:nvSpPr>
        <p:spPr>
          <a:xfrm>
            <a:off x="575710" y="939471"/>
            <a:ext cx="4908388" cy="2760199"/>
          </a:xfrm>
          <a:custGeom>
            <a:avLst/>
            <a:gdLst>
              <a:gd name="connsiteX0" fmla="*/ 0 w 3681291"/>
              <a:gd name="connsiteY0" fmla="*/ 2756057 h 2760199"/>
              <a:gd name="connsiteX1" fmla="*/ 4143 w 3681291"/>
              <a:gd name="connsiteY1" fmla="*/ 2756057 h 2760199"/>
              <a:gd name="connsiteX2" fmla="*/ 4143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3 w 3681291"/>
              <a:gd name="connsiteY9" fmla="*/ 0 h 2760199"/>
              <a:gd name="connsiteX10" fmla="*/ 4143 w 3681291"/>
              <a:gd name="connsiteY10" fmla="*/ 4143 h 2760199"/>
              <a:gd name="connsiteX11" fmla="*/ 0 w 3681291"/>
              <a:gd name="connsiteY11" fmla="*/ 4143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3" y="2756057"/>
                </a:lnTo>
                <a:lnTo>
                  <a:pt x="4143" y="2760199"/>
                </a:lnTo>
                <a:lnTo>
                  <a:pt x="0" y="2760199"/>
                </a:lnTo>
                <a:close/>
                <a:moveTo>
                  <a:pt x="0" y="440325"/>
                </a:moveTo>
                <a:lnTo>
                  <a:pt x="3681291" y="440325"/>
                </a:lnTo>
                <a:lnTo>
                  <a:pt x="3681291" y="2478925"/>
                </a:lnTo>
                <a:lnTo>
                  <a:pt x="0" y="2478925"/>
                </a:lnTo>
                <a:close/>
                <a:moveTo>
                  <a:pt x="0" y="0"/>
                </a:moveTo>
                <a:lnTo>
                  <a:pt x="4143" y="0"/>
                </a:lnTo>
                <a:lnTo>
                  <a:pt x="4143" y="4143"/>
                </a:lnTo>
                <a:lnTo>
                  <a:pt x="0" y="4143"/>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
        <p:nvSpPr>
          <p:cNvPr id="61" name="Picture Placeholder 60">
            <a:extLst>
              <a:ext uri="{FF2B5EF4-FFF2-40B4-BE49-F238E27FC236}">
                <a16:creationId xmlns:a16="http://schemas.microsoft.com/office/drawing/2014/main" id="{BF1E3154-23CD-9D4A-9429-B3D20217993C}"/>
              </a:ext>
            </a:extLst>
          </p:cNvPr>
          <p:cNvSpPr>
            <a:spLocks noGrp="1"/>
          </p:cNvSpPr>
          <p:nvPr>
            <p:ph type="pic" sz="quarter" idx="102" hasCustomPrompt="1"/>
          </p:nvPr>
        </p:nvSpPr>
        <p:spPr>
          <a:xfrm>
            <a:off x="6277833" y="939471"/>
            <a:ext cx="4908388" cy="2760199"/>
          </a:xfrm>
          <a:custGeom>
            <a:avLst/>
            <a:gdLst>
              <a:gd name="connsiteX0" fmla="*/ 0 w 3681291"/>
              <a:gd name="connsiteY0" fmla="*/ 2756057 h 2760199"/>
              <a:gd name="connsiteX1" fmla="*/ 4142 w 3681291"/>
              <a:gd name="connsiteY1" fmla="*/ 2756057 h 2760199"/>
              <a:gd name="connsiteX2" fmla="*/ 4142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2 w 3681291"/>
              <a:gd name="connsiteY9" fmla="*/ 0 h 2760199"/>
              <a:gd name="connsiteX10" fmla="*/ 4142 w 3681291"/>
              <a:gd name="connsiteY10" fmla="*/ 4143 h 2760199"/>
              <a:gd name="connsiteX11" fmla="*/ 0 w 3681291"/>
              <a:gd name="connsiteY11" fmla="*/ 4143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2" y="2756057"/>
                </a:lnTo>
                <a:lnTo>
                  <a:pt x="4142" y="2760199"/>
                </a:lnTo>
                <a:lnTo>
                  <a:pt x="0" y="2760199"/>
                </a:lnTo>
                <a:close/>
                <a:moveTo>
                  <a:pt x="0" y="440325"/>
                </a:moveTo>
                <a:lnTo>
                  <a:pt x="3681291" y="440325"/>
                </a:lnTo>
                <a:lnTo>
                  <a:pt x="3681291" y="2478925"/>
                </a:lnTo>
                <a:lnTo>
                  <a:pt x="0" y="2478925"/>
                </a:lnTo>
                <a:close/>
                <a:moveTo>
                  <a:pt x="0" y="0"/>
                </a:moveTo>
                <a:lnTo>
                  <a:pt x="4142" y="0"/>
                </a:lnTo>
                <a:lnTo>
                  <a:pt x="4142" y="4143"/>
                </a:lnTo>
                <a:lnTo>
                  <a:pt x="0" y="4143"/>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
        <p:nvSpPr>
          <p:cNvPr id="62" name="Picture Placeholder 61">
            <a:extLst>
              <a:ext uri="{FF2B5EF4-FFF2-40B4-BE49-F238E27FC236}">
                <a16:creationId xmlns:a16="http://schemas.microsoft.com/office/drawing/2014/main" id="{FF6A229A-95CC-4546-92E9-8BEC486139C2}"/>
              </a:ext>
            </a:extLst>
          </p:cNvPr>
          <p:cNvSpPr>
            <a:spLocks noGrp="1"/>
          </p:cNvSpPr>
          <p:nvPr>
            <p:ph type="pic" sz="quarter" idx="101" hasCustomPrompt="1"/>
          </p:nvPr>
        </p:nvSpPr>
        <p:spPr>
          <a:xfrm>
            <a:off x="575710" y="3403916"/>
            <a:ext cx="4908388" cy="2760199"/>
          </a:xfrm>
          <a:custGeom>
            <a:avLst/>
            <a:gdLst>
              <a:gd name="connsiteX0" fmla="*/ 0 w 3681291"/>
              <a:gd name="connsiteY0" fmla="*/ 2756057 h 2760199"/>
              <a:gd name="connsiteX1" fmla="*/ 4143 w 3681291"/>
              <a:gd name="connsiteY1" fmla="*/ 2756057 h 2760199"/>
              <a:gd name="connsiteX2" fmla="*/ 4143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3 w 3681291"/>
              <a:gd name="connsiteY9" fmla="*/ 0 h 2760199"/>
              <a:gd name="connsiteX10" fmla="*/ 4143 w 3681291"/>
              <a:gd name="connsiteY10" fmla="*/ 4142 h 2760199"/>
              <a:gd name="connsiteX11" fmla="*/ 0 w 3681291"/>
              <a:gd name="connsiteY11" fmla="*/ 4142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3" y="2756057"/>
                </a:lnTo>
                <a:lnTo>
                  <a:pt x="4143" y="2760199"/>
                </a:lnTo>
                <a:lnTo>
                  <a:pt x="0" y="2760199"/>
                </a:lnTo>
                <a:close/>
                <a:moveTo>
                  <a:pt x="0" y="440325"/>
                </a:moveTo>
                <a:lnTo>
                  <a:pt x="3681291" y="440325"/>
                </a:lnTo>
                <a:lnTo>
                  <a:pt x="3681291" y="2478925"/>
                </a:lnTo>
                <a:lnTo>
                  <a:pt x="0" y="2478925"/>
                </a:lnTo>
                <a:close/>
                <a:moveTo>
                  <a:pt x="0" y="0"/>
                </a:moveTo>
                <a:lnTo>
                  <a:pt x="4143" y="0"/>
                </a:lnTo>
                <a:lnTo>
                  <a:pt x="4143" y="4142"/>
                </a:lnTo>
                <a:lnTo>
                  <a:pt x="0" y="4142"/>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
        <p:nvSpPr>
          <p:cNvPr id="63" name="Picture Placeholder 62">
            <a:extLst>
              <a:ext uri="{FF2B5EF4-FFF2-40B4-BE49-F238E27FC236}">
                <a16:creationId xmlns:a16="http://schemas.microsoft.com/office/drawing/2014/main" id="{E1B6409D-D1DD-2941-8A39-63C9D178D519}"/>
              </a:ext>
            </a:extLst>
          </p:cNvPr>
          <p:cNvSpPr>
            <a:spLocks noGrp="1"/>
          </p:cNvSpPr>
          <p:nvPr>
            <p:ph type="pic" sz="quarter" idx="103" hasCustomPrompt="1"/>
          </p:nvPr>
        </p:nvSpPr>
        <p:spPr>
          <a:xfrm>
            <a:off x="6277833" y="3403916"/>
            <a:ext cx="4908388" cy="2760199"/>
          </a:xfrm>
          <a:custGeom>
            <a:avLst/>
            <a:gdLst>
              <a:gd name="connsiteX0" fmla="*/ 0 w 3681291"/>
              <a:gd name="connsiteY0" fmla="*/ 2756057 h 2760199"/>
              <a:gd name="connsiteX1" fmla="*/ 4142 w 3681291"/>
              <a:gd name="connsiteY1" fmla="*/ 2756057 h 2760199"/>
              <a:gd name="connsiteX2" fmla="*/ 4142 w 3681291"/>
              <a:gd name="connsiteY2" fmla="*/ 2760199 h 2760199"/>
              <a:gd name="connsiteX3" fmla="*/ 0 w 3681291"/>
              <a:gd name="connsiteY3" fmla="*/ 2760199 h 2760199"/>
              <a:gd name="connsiteX4" fmla="*/ 0 w 3681291"/>
              <a:gd name="connsiteY4" fmla="*/ 440325 h 2760199"/>
              <a:gd name="connsiteX5" fmla="*/ 3681291 w 3681291"/>
              <a:gd name="connsiteY5" fmla="*/ 440325 h 2760199"/>
              <a:gd name="connsiteX6" fmla="*/ 3681291 w 3681291"/>
              <a:gd name="connsiteY6" fmla="*/ 2478925 h 2760199"/>
              <a:gd name="connsiteX7" fmla="*/ 0 w 3681291"/>
              <a:gd name="connsiteY7" fmla="*/ 2478925 h 2760199"/>
              <a:gd name="connsiteX8" fmla="*/ 0 w 3681291"/>
              <a:gd name="connsiteY8" fmla="*/ 0 h 2760199"/>
              <a:gd name="connsiteX9" fmla="*/ 4142 w 3681291"/>
              <a:gd name="connsiteY9" fmla="*/ 0 h 2760199"/>
              <a:gd name="connsiteX10" fmla="*/ 4142 w 3681291"/>
              <a:gd name="connsiteY10" fmla="*/ 4142 h 2760199"/>
              <a:gd name="connsiteX11" fmla="*/ 0 w 3681291"/>
              <a:gd name="connsiteY11" fmla="*/ 4142 h 27601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681291" h="2760199">
                <a:moveTo>
                  <a:pt x="0" y="2756057"/>
                </a:moveTo>
                <a:lnTo>
                  <a:pt x="4142" y="2756057"/>
                </a:lnTo>
                <a:lnTo>
                  <a:pt x="4142" y="2760199"/>
                </a:lnTo>
                <a:lnTo>
                  <a:pt x="0" y="2760199"/>
                </a:lnTo>
                <a:close/>
                <a:moveTo>
                  <a:pt x="0" y="440325"/>
                </a:moveTo>
                <a:lnTo>
                  <a:pt x="3681291" y="440325"/>
                </a:lnTo>
                <a:lnTo>
                  <a:pt x="3681291" y="2478925"/>
                </a:lnTo>
                <a:lnTo>
                  <a:pt x="0" y="2478925"/>
                </a:lnTo>
                <a:close/>
                <a:moveTo>
                  <a:pt x="0" y="0"/>
                </a:moveTo>
                <a:lnTo>
                  <a:pt x="4142" y="0"/>
                </a:lnTo>
                <a:lnTo>
                  <a:pt x="4142" y="4142"/>
                </a:lnTo>
                <a:lnTo>
                  <a:pt x="0" y="4142"/>
                </a:lnTo>
                <a:close/>
              </a:path>
            </a:pathLst>
          </a:custGeom>
          <a:solidFill>
            <a:srgbClr val="E8F3FD"/>
          </a:solidFill>
        </p:spPr>
        <p:txBody>
          <a:bodyPr wrap="square" bIns="900000" anchor="ctr">
            <a:noAutofit/>
          </a:bodyPr>
          <a:lstStyle>
            <a:lvl1pPr algn="ctr">
              <a:defRPr b="0">
                <a:solidFill>
                  <a:schemeClr val="tx1">
                    <a:lumMod val="50000"/>
                    <a:lumOff val="50000"/>
                  </a:schemeClr>
                </a:solidFill>
              </a:defRPr>
            </a:lvl1pPr>
          </a:lstStyle>
          <a:p>
            <a:r>
              <a:rPr lang="en-US" dirty="0"/>
              <a:t>Click icon to add a pre-designed</a:t>
            </a:r>
            <a:br>
              <a:rPr lang="en-US" dirty="0"/>
            </a:br>
            <a:r>
              <a:rPr lang="en-US" dirty="0"/>
              <a:t>ranking graphic</a:t>
            </a:r>
          </a:p>
        </p:txBody>
      </p:sp>
    </p:spTree>
    <p:extLst>
      <p:ext uri="{BB962C8B-B14F-4D97-AF65-F5344CB8AC3E}">
        <p14:creationId xmlns:p14="http://schemas.microsoft.com/office/powerpoint/2010/main" val="244814792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xt w/ Supporting Graphic (Righ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1" name="Picture Placeholder 7">
            <a:extLst>
              <a:ext uri="{FF2B5EF4-FFF2-40B4-BE49-F238E27FC236}">
                <a16:creationId xmlns:a16="http://schemas.microsoft.com/office/drawing/2014/main" id="{986F40DB-9C90-0445-8B56-2AB71F390752}"/>
              </a:ext>
            </a:extLst>
          </p:cNvPr>
          <p:cNvSpPr>
            <a:spLocks noGrp="1"/>
          </p:cNvSpPr>
          <p:nvPr>
            <p:ph type="pic" sz="quarter" idx="14" hasCustomPrompt="1"/>
          </p:nvPr>
        </p:nvSpPr>
        <p:spPr>
          <a:xfrm>
            <a:off x="6271363" y="3159427"/>
            <a:ext cx="5344904" cy="3006424"/>
          </a:xfrm>
          <a:solidFill>
            <a:srgbClr val="E8F3FD"/>
          </a:solidFill>
        </p:spPr>
        <p:txBody>
          <a:bodyPr anchor="ctr"/>
          <a:lstStyle>
            <a:lvl1pPr algn="ctr">
              <a:defRPr b="0">
                <a:solidFill>
                  <a:schemeClr val="tx1">
                    <a:lumMod val="50000"/>
                    <a:lumOff val="50000"/>
                  </a:schemeClr>
                </a:solidFill>
              </a:defRPr>
            </a:lvl1pPr>
          </a:lstStyle>
          <a:p>
            <a:r>
              <a:rPr lang="en-US" dirty="0"/>
              <a:t>Click icon to add a supporting</a:t>
            </a:r>
            <a:br>
              <a:rPr lang="en-US" dirty="0"/>
            </a:br>
            <a:r>
              <a:rPr lang="en-US" dirty="0"/>
              <a:t>graphic from the MRD</a:t>
            </a:r>
          </a:p>
        </p:txBody>
      </p:sp>
      <p:sp>
        <p:nvSpPr>
          <p:cNvPr id="1000" name="Footnotes Placeholder">
            <a:extLst>
              <a:ext uri="{FF2B5EF4-FFF2-40B4-BE49-F238E27FC236}">
                <a16:creationId xmlns:a16="http://schemas.microsoft.com/office/drawing/2014/main" id="{C191A018-C105-424B-88DC-E4B2664039C3}"/>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8" name="Date Placeholder 7">
            <a:extLst>
              <a:ext uri="{FF2B5EF4-FFF2-40B4-BE49-F238E27FC236}">
                <a16:creationId xmlns:a16="http://schemas.microsoft.com/office/drawing/2014/main" id="{2E70A2B7-CE2A-ED43-A309-9210649F358A}"/>
              </a:ext>
            </a:extLst>
          </p:cNvPr>
          <p:cNvSpPr>
            <a:spLocks noGrp="1"/>
          </p:cNvSpPr>
          <p:nvPr userDrawn="1">
            <p:ph type="dt" sz="half" idx="106"/>
          </p:nvPr>
        </p:nvSpPr>
        <p:spPr/>
        <p:txBody>
          <a:bodyPr/>
          <a:lstStyle/>
          <a:p>
            <a:endParaRPr lang="en-US" dirty="0"/>
          </a:p>
        </p:txBody>
      </p:sp>
      <p:sp>
        <p:nvSpPr>
          <p:cNvPr id="12" name="Footer Placeholder 11">
            <a:extLst>
              <a:ext uri="{FF2B5EF4-FFF2-40B4-BE49-F238E27FC236}">
                <a16:creationId xmlns:a16="http://schemas.microsoft.com/office/drawing/2014/main" id="{CD578981-DF62-9545-86D9-D47CA9B9AE76}"/>
              </a:ext>
            </a:extLst>
          </p:cNvPr>
          <p:cNvSpPr>
            <a:spLocks noGrp="1"/>
          </p:cNvSpPr>
          <p:nvPr userDrawn="1">
            <p:ph type="ftr" sz="quarter" idx="107"/>
          </p:nvPr>
        </p:nvSpPr>
        <p:spPr/>
        <p:txBody>
          <a:bodyPr/>
          <a:lstStyle/>
          <a:p>
            <a:endParaRPr lang="en-US" dirty="0"/>
          </a:p>
        </p:txBody>
      </p:sp>
      <p:sp>
        <p:nvSpPr>
          <p:cNvPr id="35" name="Slide Number Placeholder 34">
            <a:extLst>
              <a:ext uri="{FF2B5EF4-FFF2-40B4-BE49-F238E27FC236}">
                <a16:creationId xmlns:a16="http://schemas.microsoft.com/office/drawing/2014/main" id="{375449F1-602A-F648-BB75-81B7431F974E}"/>
              </a:ext>
            </a:extLst>
          </p:cNvPr>
          <p:cNvSpPr>
            <a:spLocks noGrp="1"/>
          </p:cNvSpPr>
          <p:nvPr userDrawn="1">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52" name="Text Placeholder 51">
            <a:extLst>
              <a:ext uri="{FF2B5EF4-FFF2-40B4-BE49-F238E27FC236}">
                <a16:creationId xmlns:a16="http://schemas.microsoft.com/office/drawing/2014/main" id="{32E619A7-2AA9-834A-95F7-C8972C8CA24E}"/>
              </a:ext>
            </a:extLst>
          </p:cNvPr>
          <p:cNvSpPr>
            <a:spLocks noGrp="1"/>
          </p:cNvSpPr>
          <p:nvPr>
            <p:ph type="body" sz="quarter" idx="109"/>
          </p:nvPr>
        </p:nvSpPr>
        <p:spPr>
          <a:xfrm>
            <a:off x="575733" y="1233489"/>
            <a:ext cx="5347200" cy="493236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3" name="Text Placeholder 51">
            <a:extLst>
              <a:ext uri="{FF2B5EF4-FFF2-40B4-BE49-F238E27FC236}">
                <a16:creationId xmlns:a16="http://schemas.microsoft.com/office/drawing/2014/main" id="{B3C16F4A-5C29-7D42-B44A-AE0870C22033}"/>
              </a:ext>
            </a:extLst>
          </p:cNvPr>
          <p:cNvSpPr>
            <a:spLocks noGrp="1"/>
          </p:cNvSpPr>
          <p:nvPr>
            <p:ph type="body" sz="quarter" idx="110"/>
          </p:nvPr>
        </p:nvSpPr>
        <p:spPr>
          <a:xfrm>
            <a:off x="6269067" y="1233489"/>
            <a:ext cx="5347200" cy="173190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51" name="Group 50">
            <a:extLst>
              <a:ext uri="{FF2B5EF4-FFF2-40B4-BE49-F238E27FC236}">
                <a16:creationId xmlns:a16="http://schemas.microsoft.com/office/drawing/2014/main" id="{439DA4F8-9BFA-1543-833F-C395E53F03C5}"/>
              </a:ext>
            </a:extLst>
          </p:cNvPr>
          <p:cNvGrpSpPr/>
          <p:nvPr userDrawn="1"/>
        </p:nvGrpSpPr>
        <p:grpSpPr>
          <a:xfrm>
            <a:off x="12532243" y="-2"/>
            <a:ext cx="3965960" cy="9769405"/>
            <a:chOff x="9399182" y="-2"/>
            <a:chExt cx="2974470" cy="9769405"/>
          </a:xfrm>
        </p:grpSpPr>
        <p:sp>
          <p:nvSpPr>
            <p:cNvPr id="54" name="Rectangle 53">
              <a:extLst>
                <a:ext uri="{FF2B5EF4-FFF2-40B4-BE49-F238E27FC236}">
                  <a16:creationId xmlns:a16="http://schemas.microsoft.com/office/drawing/2014/main" id="{6B93FAD8-1ABE-8A4B-99DB-5688A1F2FCF4}"/>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55" name="Picture 54">
              <a:extLst>
                <a:ext uri="{FF2B5EF4-FFF2-40B4-BE49-F238E27FC236}">
                  <a16:creationId xmlns:a16="http://schemas.microsoft.com/office/drawing/2014/main" id="{9A844FD7-28C9-684C-8754-5CC8523344A8}"/>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6" name="Group 55">
              <a:extLst>
                <a:ext uri="{FF2B5EF4-FFF2-40B4-BE49-F238E27FC236}">
                  <a16:creationId xmlns:a16="http://schemas.microsoft.com/office/drawing/2014/main" id="{755AFA76-AD18-3D47-851A-F91F6F1DD6C4}"/>
                </a:ext>
              </a:extLst>
            </p:cNvPr>
            <p:cNvGrpSpPr/>
            <p:nvPr userDrawn="1"/>
          </p:nvGrpSpPr>
          <p:grpSpPr>
            <a:xfrm>
              <a:off x="9541497" y="162442"/>
              <a:ext cx="2819400" cy="814510"/>
              <a:chOff x="-3644733" y="165205"/>
              <a:chExt cx="2819400" cy="814510"/>
            </a:xfrm>
          </p:grpSpPr>
          <p:sp>
            <p:nvSpPr>
              <p:cNvPr id="123" name="Rectangle 122">
                <a:extLst>
                  <a:ext uri="{FF2B5EF4-FFF2-40B4-BE49-F238E27FC236}">
                    <a16:creationId xmlns:a16="http://schemas.microsoft.com/office/drawing/2014/main" id="{C097B3FB-898A-AC42-B3E4-F5A08355AA01}"/>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24" name="TextBox 123">
                <a:extLst>
                  <a:ext uri="{FF2B5EF4-FFF2-40B4-BE49-F238E27FC236}">
                    <a16:creationId xmlns:a16="http://schemas.microsoft.com/office/drawing/2014/main" id="{B57B4B0D-B8A6-3741-B898-3B5B9621F809}"/>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25" name="Picture 124">
                <a:extLst>
                  <a:ext uri="{FF2B5EF4-FFF2-40B4-BE49-F238E27FC236}">
                    <a16:creationId xmlns:a16="http://schemas.microsoft.com/office/drawing/2014/main" id="{E334168C-A1EA-0045-904E-AD3D885667B5}"/>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57" name="Group 56">
              <a:extLst>
                <a:ext uri="{FF2B5EF4-FFF2-40B4-BE49-F238E27FC236}">
                  <a16:creationId xmlns:a16="http://schemas.microsoft.com/office/drawing/2014/main" id="{6AC4EB5C-A373-3142-A895-73AFE767A8C7}"/>
                </a:ext>
              </a:extLst>
            </p:cNvPr>
            <p:cNvGrpSpPr/>
            <p:nvPr userDrawn="1"/>
          </p:nvGrpSpPr>
          <p:grpSpPr>
            <a:xfrm>
              <a:off x="9521833" y="3755578"/>
              <a:ext cx="2754815" cy="6013825"/>
              <a:chOff x="9521833" y="2566288"/>
              <a:chExt cx="2754815" cy="6013825"/>
            </a:xfrm>
          </p:grpSpPr>
          <p:sp>
            <p:nvSpPr>
              <p:cNvPr id="68" name="TextBox 67">
                <a:extLst>
                  <a:ext uri="{FF2B5EF4-FFF2-40B4-BE49-F238E27FC236}">
                    <a16:creationId xmlns:a16="http://schemas.microsoft.com/office/drawing/2014/main" id="{CEA72FE0-5163-5647-91EF-188D43828BD3}"/>
                  </a:ext>
                </a:extLst>
              </p:cNvPr>
              <p:cNvSpPr txBox="1"/>
              <p:nvPr userDrawn="1"/>
            </p:nvSpPr>
            <p:spPr>
              <a:xfrm>
                <a:off x="9558507" y="256628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69" name="Straight Connector 68">
                <a:extLst>
                  <a:ext uri="{FF2B5EF4-FFF2-40B4-BE49-F238E27FC236}">
                    <a16:creationId xmlns:a16="http://schemas.microsoft.com/office/drawing/2014/main" id="{23870F40-EB02-D74F-9098-6F2F12C985CB}"/>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70" name="TextBox 69">
                <a:extLst>
                  <a:ext uri="{FF2B5EF4-FFF2-40B4-BE49-F238E27FC236}">
                    <a16:creationId xmlns:a16="http://schemas.microsoft.com/office/drawing/2014/main" id="{8AE3F8FE-C399-5943-9055-76BEAA6F1E25}"/>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71" name="Group 70">
                <a:extLst>
                  <a:ext uri="{FF2B5EF4-FFF2-40B4-BE49-F238E27FC236}">
                    <a16:creationId xmlns:a16="http://schemas.microsoft.com/office/drawing/2014/main" id="{4F7E5367-61BA-0844-A18D-6E243A611B23}"/>
                  </a:ext>
                </a:extLst>
              </p:cNvPr>
              <p:cNvGrpSpPr/>
              <p:nvPr userDrawn="1"/>
            </p:nvGrpSpPr>
            <p:grpSpPr>
              <a:xfrm>
                <a:off x="9541497" y="7168798"/>
                <a:ext cx="2735151" cy="1411315"/>
                <a:chOff x="9296567" y="4910411"/>
                <a:chExt cx="2735151" cy="1411315"/>
              </a:xfrm>
            </p:grpSpPr>
            <p:sp>
              <p:nvSpPr>
                <p:cNvPr id="86" name="Rectangle 85">
                  <a:extLst>
                    <a:ext uri="{FF2B5EF4-FFF2-40B4-BE49-F238E27FC236}">
                      <a16:creationId xmlns:a16="http://schemas.microsoft.com/office/drawing/2014/main" id="{B7AB5EF7-7C57-6842-8895-9E22B85B7ACE}"/>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18" name="TextBox 117">
                  <a:extLst>
                    <a:ext uri="{FF2B5EF4-FFF2-40B4-BE49-F238E27FC236}">
                      <a16:creationId xmlns:a16="http://schemas.microsoft.com/office/drawing/2014/main" id="{73AAC846-7BFB-DA44-8D2C-ECB3087FB0D7}"/>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19" name="Graphic 118">
                  <a:extLst>
                    <a:ext uri="{FF2B5EF4-FFF2-40B4-BE49-F238E27FC236}">
                      <a16:creationId xmlns:a16="http://schemas.microsoft.com/office/drawing/2014/main" id="{3D419284-D2BF-524C-9A3C-343AEBFCB80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20" name="TextBox 119">
                  <a:extLst>
                    <a:ext uri="{FF2B5EF4-FFF2-40B4-BE49-F238E27FC236}">
                      <a16:creationId xmlns:a16="http://schemas.microsoft.com/office/drawing/2014/main" id="{ACB24C4B-2C93-3D41-91B0-90484A6DE11E}"/>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21" name="TextBox 120">
                  <a:extLst>
                    <a:ext uri="{FF2B5EF4-FFF2-40B4-BE49-F238E27FC236}">
                      <a16:creationId xmlns:a16="http://schemas.microsoft.com/office/drawing/2014/main" id="{6DC0F23D-3334-F945-BE8F-138CCFB269C5}"/>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22" name="TextBox 121">
                  <a:extLst>
                    <a:ext uri="{FF2B5EF4-FFF2-40B4-BE49-F238E27FC236}">
                      <a16:creationId xmlns:a16="http://schemas.microsoft.com/office/drawing/2014/main" id="{DF879D9E-3B5F-5346-BC23-2A7421B948CB}"/>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72" name="Group 71">
                <a:extLst>
                  <a:ext uri="{FF2B5EF4-FFF2-40B4-BE49-F238E27FC236}">
                    <a16:creationId xmlns:a16="http://schemas.microsoft.com/office/drawing/2014/main" id="{806D7B6A-4525-CB4E-BEDE-27DFFFC9F273}"/>
                  </a:ext>
                </a:extLst>
              </p:cNvPr>
              <p:cNvGrpSpPr/>
              <p:nvPr userDrawn="1"/>
            </p:nvGrpSpPr>
            <p:grpSpPr>
              <a:xfrm>
                <a:off x="9541497" y="5812142"/>
                <a:ext cx="2735151" cy="1280928"/>
                <a:chOff x="9286315" y="6976989"/>
                <a:chExt cx="2735151" cy="1280928"/>
              </a:xfrm>
            </p:grpSpPr>
            <p:sp>
              <p:nvSpPr>
                <p:cNvPr id="81" name="Rectangle 80">
                  <a:extLst>
                    <a:ext uri="{FF2B5EF4-FFF2-40B4-BE49-F238E27FC236}">
                      <a16:creationId xmlns:a16="http://schemas.microsoft.com/office/drawing/2014/main" id="{3112B5BF-3EA7-EA4E-9AAA-8D3A2CCACF6E}"/>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2" name="TextBox 81">
                  <a:extLst>
                    <a:ext uri="{FF2B5EF4-FFF2-40B4-BE49-F238E27FC236}">
                      <a16:creationId xmlns:a16="http://schemas.microsoft.com/office/drawing/2014/main" id="{86F17A0C-8BDE-2B4F-8AFF-BF237CA89922}"/>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83" name="Graphic 82">
                  <a:extLst>
                    <a:ext uri="{FF2B5EF4-FFF2-40B4-BE49-F238E27FC236}">
                      <a16:creationId xmlns:a16="http://schemas.microsoft.com/office/drawing/2014/main" id="{E28C0A14-C0E0-DB4A-8A0E-0D823458A51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4" name="TextBox 83">
                  <a:extLst>
                    <a:ext uri="{FF2B5EF4-FFF2-40B4-BE49-F238E27FC236}">
                      <a16:creationId xmlns:a16="http://schemas.microsoft.com/office/drawing/2014/main" id="{4FEAEE44-7C52-1F4B-A920-A8BD040EFC7B}"/>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5" name="Picture 84">
                  <a:extLst>
                    <a:ext uri="{FF2B5EF4-FFF2-40B4-BE49-F238E27FC236}">
                      <a16:creationId xmlns:a16="http://schemas.microsoft.com/office/drawing/2014/main" id="{61D39635-4EFC-EB4F-A621-556285D7CB32}"/>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73" name="Group 72">
                <a:extLst>
                  <a:ext uri="{FF2B5EF4-FFF2-40B4-BE49-F238E27FC236}">
                    <a16:creationId xmlns:a16="http://schemas.microsoft.com/office/drawing/2014/main" id="{CCE30F03-6ECE-1648-965A-6C4E47AAC40C}"/>
                  </a:ext>
                </a:extLst>
              </p:cNvPr>
              <p:cNvGrpSpPr/>
              <p:nvPr userDrawn="1"/>
            </p:nvGrpSpPr>
            <p:grpSpPr>
              <a:xfrm>
                <a:off x="9521833" y="2891408"/>
                <a:ext cx="2617883" cy="651460"/>
                <a:chOff x="12352022" y="513115"/>
                <a:chExt cx="2617883" cy="651460"/>
              </a:xfrm>
            </p:grpSpPr>
            <p:sp>
              <p:nvSpPr>
                <p:cNvPr id="78" name="TextBox 77">
                  <a:extLst>
                    <a:ext uri="{FF2B5EF4-FFF2-40B4-BE49-F238E27FC236}">
                      <a16:creationId xmlns:a16="http://schemas.microsoft.com/office/drawing/2014/main" id="{1BFE1CF6-1371-7949-8C81-E85AE3364C65}"/>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9" name="TextBox 78">
                  <a:extLst>
                    <a:ext uri="{FF2B5EF4-FFF2-40B4-BE49-F238E27FC236}">
                      <a16:creationId xmlns:a16="http://schemas.microsoft.com/office/drawing/2014/main" id="{E7065FCA-7D52-954D-951B-AFFF617AC36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0" name="TextBox 79">
                  <a:extLst>
                    <a:ext uri="{FF2B5EF4-FFF2-40B4-BE49-F238E27FC236}">
                      <a16:creationId xmlns:a16="http://schemas.microsoft.com/office/drawing/2014/main" id="{9F81720C-5B88-6747-92DE-B4CC8D593A59}"/>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74" name="TextBox 73">
                <a:extLst>
                  <a:ext uri="{FF2B5EF4-FFF2-40B4-BE49-F238E27FC236}">
                    <a16:creationId xmlns:a16="http://schemas.microsoft.com/office/drawing/2014/main" id="{C66E677C-F59F-234E-94B8-5E68549A3A91}"/>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5" name="TextBox 74">
                <a:extLst>
                  <a:ext uri="{FF2B5EF4-FFF2-40B4-BE49-F238E27FC236}">
                    <a16:creationId xmlns:a16="http://schemas.microsoft.com/office/drawing/2014/main" id="{CA900B32-800E-3A4E-AD5E-D6F78E897FB7}"/>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76" name="TextBox 75">
                <a:extLst>
                  <a:ext uri="{FF2B5EF4-FFF2-40B4-BE49-F238E27FC236}">
                    <a16:creationId xmlns:a16="http://schemas.microsoft.com/office/drawing/2014/main" id="{4C3215A6-2653-8046-96BD-835DEB1396EC}"/>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77" name="TextBox 76">
                <a:extLst>
                  <a:ext uri="{FF2B5EF4-FFF2-40B4-BE49-F238E27FC236}">
                    <a16:creationId xmlns:a16="http://schemas.microsoft.com/office/drawing/2014/main" id="{4C82AA2D-B8C0-024B-860E-F3632B97576C}"/>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58" name="TextBox 57">
              <a:extLst>
                <a:ext uri="{FF2B5EF4-FFF2-40B4-BE49-F238E27FC236}">
                  <a16:creationId xmlns:a16="http://schemas.microsoft.com/office/drawing/2014/main" id="{370B81F6-838F-D747-95BA-4C229DAF5126}"/>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59" name="Straight Connector 58">
              <a:extLst>
                <a:ext uri="{FF2B5EF4-FFF2-40B4-BE49-F238E27FC236}">
                  <a16:creationId xmlns:a16="http://schemas.microsoft.com/office/drawing/2014/main" id="{CB220E15-3482-4F41-A26F-2953EA355B4D}"/>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60" name="Group 59">
              <a:extLst>
                <a:ext uri="{FF2B5EF4-FFF2-40B4-BE49-F238E27FC236}">
                  <a16:creationId xmlns:a16="http://schemas.microsoft.com/office/drawing/2014/main" id="{515E1C38-696D-EF44-A4BC-68688B6A2140}"/>
                </a:ext>
              </a:extLst>
            </p:cNvPr>
            <p:cNvGrpSpPr/>
            <p:nvPr userDrawn="1"/>
          </p:nvGrpSpPr>
          <p:grpSpPr>
            <a:xfrm>
              <a:off x="9554253" y="2414886"/>
              <a:ext cx="2819399" cy="1181890"/>
              <a:chOff x="9541498" y="3352649"/>
              <a:chExt cx="2819399" cy="1181890"/>
            </a:xfrm>
          </p:grpSpPr>
          <p:grpSp>
            <p:nvGrpSpPr>
              <p:cNvPr id="61" name="Group 60">
                <a:extLst>
                  <a:ext uri="{FF2B5EF4-FFF2-40B4-BE49-F238E27FC236}">
                    <a16:creationId xmlns:a16="http://schemas.microsoft.com/office/drawing/2014/main" id="{BA17E685-1C3A-5D40-866A-F707A720ED89}"/>
                  </a:ext>
                </a:extLst>
              </p:cNvPr>
              <p:cNvGrpSpPr/>
              <p:nvPr userDrawn="1"/>
            </p:nvGrpSpPr>
            <p:grpSpPr>
              <a:xfrm>
                <a:off x="9541498" y="3352649"/>
                <a:ext cx="2735150" cy="1181890"/>
                <a:chOff x="9541498" y="3751132"/>
                <a:chExt cx="2735150" cy="1181890"/>
              </a:xfrm>
            </p:grpSpPr>
            <p:grpSp>
              <p:nvGrpSpPr>
                <p:cNvPr id="63" name="Group 62">
                  <a:extLst>
                    <a:ext uri="{FF2B5EF4-FFF2-40B4-BE49-F238E27FC236}">
                      <a16:creationId xmlns:a16="http://schemas.microsoft.com/office/drawing/2014/main" id="{708B5411-EB9C-DE44-A78A-CB78C658CE4F}"/>
                    </a:ext>
                  </a:extLst>
                </p:cNvPr>
                <p:cNvGrpSpPr/>
                <p:nvPr userDrawn="1"/>
              </p:nvGrpSpPr>
              <p:grpSpPr>
                <a:xfrm>
                  <a:off x="9541498" y="3751132"/>
                  <a:ext cx="2735150" cy="1181890"/>
                  <a:chOff x="9296568" y="4910411"/>
                  <a:chExt cx="2735150" cy="1181890"/>
                </a:xfrm>
              </p:grpSpPr>
              <p:sp>
                <p:nvSpPr>
                  <p:cNvPr id="65" name="Rectangle 64">
                    <a:extLst>
                      <a:ext uri="{FF2B5EF4-FFF2-40B4-BE49-F238E27FC236}">
                        <a16:creationId xmlns:a16="http://schemas.microsoft.com/office/drawing/2014/main" id="{100AB9A3-51FF-BC40-B7CC-8EE421C3F661}"/>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6" name="TextBox 65">
                    <a:extLst>
                      <a:ext uri="{FF2B5EF4-FFF2-40B4-BE49-F238E27FC236}">
                        <a16:creationId xmlns:a16="http://schemas.microsoft.com/office/drawing/2014/main" id="{2C58CAD7-CFE6-3E47-9821-B56722BF0476}"/>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7" name="TextBox 66">
                    <a:extLst>
                      <a:ext uri="{FF2B5EF4-FFF2-40B4-BE49-F238E27FC236}">
                        <a16:creationId xmlns:a16="http://schemas.microsoft.com/office/drawing/2014/main" id="{27700D65-D0AA-CC46-A945-F26784AD6A6A}"/>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4" name="Graphic 63">
                  <a:extLst>
                    <a:ext uri="{FF2B5EF4-FFF2-40B4-BE49-F238E27FC236}">
                      <a16:creationId xmlns:a16="http://schemas.microsoft.com/office/drawing/2014/main" id="{C2A770D0-9E7E-A948-806C-6BFD3E5A41B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62" name="Picture 61">
                <a:extLst>
                  <a:ext uri="{FF2B5EF4-FFF2-40B4-BE49-F238E27FC236}">
                    <a16:creationId xmlns:a16="http://schemas.microsoft.com/office/drawing/2014/main" id="{8385943A-95B3-1445-B5C9-27F30D8DF83D}"/>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283731734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 w/ Supporting Graphic (Left)">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11" name="Picture Placeholder 7">
            <a:extLst>
              <a:ext uri="{FF2B5EF4-FFF2-40B4-BE49-F238E27FC236}">
                <a16:creationId xmlns:a16="http://schemas.microsoft.com/office/drawing/2014/main" id="{986F40DB-9C90-0445-8B56-2AB71F390752}"/>
              </a:ext>
            </a:extLst>
          </p:cNvPr>
          <p:cNvSpPr>
            <a:spLocks noGrp="1"/>
          </p:cNvSpPr>
          <p:nvPr>
            <p:ph type="pic" sz="quarter" idx="14" hasCustomPrompt="1"/>
          </p:nvPr>
        </p:nvSpPr>
        <p:spPr>
          <a:xfrm>
            <a:off x="578029" y="1233488"/>
            <a:ext cx="5344904" cy="3006424"/>
          </a:xfrm>
          <a:solidFill>
            <a:srgbClr val="E8F3FD"/>
          </a:solidFill>
        </p:spPr>
        <p:txBody>
          <a:bodyPr anchor="ctr"/>
          <a:lstStyle>
            <a:lvl1pPr algn="ctr">
              <a:defRPr b="0">
                <a:solidFill>
                  <a:schemeClr val="tx1">
                    <a:lumMod val="50000"/>
                    <a:lumOff val="50000"/>
                  </a:schemeClr>
                </a:solidFill>
              </a:defRPr>
            </a:lvl1pPr>
          </a:lstStyle>
          <a:p>
            <a:r>
              <a:rPr lang="en-US" dirty="0"/>
              <a:t>Click icon to add a supporting</a:t>
            </a:r>
            <a:br>
              <a:rPr lang="en-US" dirty="0"/>
            </a:br>
            <a:r>
              <a:rPr lang="en-US" dirty="0"/>
              <a:t>graphic from the MRD</a:t>
            </a:r>
          </a:p>
        </p:txBody>
      </p:sp>
      <p:sp>
        <p:nvSpPr>
          <p:cNvPr id="1000" name="Footnotes Placeholder">
            <a:extLst>
              <a:ext uri="{FF2B5EF4-FFF2-40B4-BE49-F238E27FC236}">
                <a16:creationId xmlns:a16="http://schemas.microsoft.com/office/drawing/2014/main" id="{8A77B1E8-8952-D848-91B2-927E1D27FF9C}"/>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5" name="Date Placeholder 4">
            <a:extLst>
              <a:ext uri="{FF2B5EF4-FFF2-40B4-BE49-F238E27FC236}">
                <a16:creationId xmlns:a16="http://schemas.microsoft.com/office/drawing/2014/main" id="{E8245AA9-9EB0-A44D-9F6A-AE5544DD7AF4}"/>
              </a:ext>
            </a:extLst>
          </p:cNvPr>
          <p:cNvSpPr>
            <a:spLocks noGrp="1"/>
          </p:cNvSpPr>
          <p:nvPr>
            <p:ph type="dt" sz="half" idx="106"/>
          </p:nvPr>
        </p:nvSpPr>
        <p:spPr/>
        <p:txBody>
          <a:bodyPr/>
          <a:lstStyle/>
          <a:p>
            <a:endParaRPr lang="en-US" dirty="0"/>
          </a:p>
        </p:txBody>
      </p:sp>
      <p:sp>
        <p:nvSpPr>
          <p:cNvPr id="7" name="Footer Placeholder 6">
            <a:extLst>
              <a:ext uri="{FF2B5EF4-FFF2-40B4-BE49-F238E27FC236}">
                <a16:creationId xmlns:a16="http://schemas.microsoft.com/office/drawing/2014/main" id="{C076AD30-9E9D-AD46-8DB1-E1FA38235D98}"/>
              </a:ext>
            </a:extLst>
          </p:cNvPr>
          <p:cNvSpPr>
            <a:spLocks noGrp="1"/>
          </p:cNvSpPr>
          <p:nvPr>
            <p:ph type="ftr" sz="quarter" idx="107"/>
          </p:nvPr>
        </p:nvSpPr>
        <p:spPr/>
        <p:txBody>
          <a:bodyPr/>
          <a:lstStyle/>
          <a:p>
            <a:endParaRPr lang="en-US" dirty="0"/>
          </a:p>
        </p:txBody>
      </p:sp>
      <p:sp>
        <p:nvSpPr>
          <p:cNvPr id="8" name="Slide Number Placeholder 7">
            <a:extLst>
              <a:ext uri="{FF2B5EF4-FFF2-40B4-BE49-F238E27FC236}">
                <a16:creationId xmlns:a16="http://schemas.microsoft.com/office/drawing/2014/main" id="{341D4FA9-B8EC-024E-9A3B-D9D5C8888BDC}"/>
              </a:ext>
            </a:extLst>
          </p:cNvPr>
          <p:cNvSpPr>
            <a:spLocks noGrp="1"/>
          </p:cNvSpPr>
          <p:nvPr>
            <p:ph type="sldNum" sz="quarter" idx="10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83" name="Text Placeholder 51">
            <a:extLst>
              <a:ext uri="{FF2B5EF4-FFF2-40B4-BE49-F238E27FC236}">
                <a16:creationId xmlns:a16="http://schemas.microsoft.com/office/drawing/2014/main" id="{9F65596F-ECB2-1345-91E2-F5F3E3B039BA}"/>
              </a:ext>
            </a:extLst>
          </p:cNvPr>
          <p:cNvSpPr>
            <a:spLocks noGrp="1"/>
          </p:cNvSpPr>
          <p:nvPr>
            <p:ph type="body" sz="quarter" idx="109"/>
          </p:nvPr>
        </p:nvSpPr>
        <p:spPr>
          <a:xfrm>
            <a:off x="575733" y="4426721"/>
            <a:ext cx="5347200" cy="1738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4" name="Text Placeholder 51">
            <a:extLst>
              <a:ext uri="{FF2B5EF4-FFF2-40B4-BE49-F238E27FC236}">
                <a16:creationId xmlns:a16="http://schemas.microsoft.com/office/drawing/2014/main" id="{7E8C46CA-959B-CA4A-8775-B431C35E84F3}"/>
              </a:ext>
            </a:extLst>
          </p:cNvPr>
          <p:cNvSpPr>
            <a:spLocks noGrp="1"/>
          </p:cNvSpPr>
          <p:nvPr>
            <p:ph type="body" sz="quarter" idx="110"/>
          </p:nvPr>
        </p:nvSpPr>
        <p:spPr>
          <a:xfrm>
            <a:off x="6269067" y="1233489"/>
            <a:ext cx="5347200" cy="493236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49" name="Group 48">
            <a:extLst>
              <a:ext uri="{FF2B5EF4-FFF2-40B4-BE49-F238E27FC236}">
                <a16:creationId xmlns:a16="http://schemas.microsoft.com/office/drawing/2014/main" id="{BC6A50FF-7566-1649-8705-A39247ECBA70}"/>
              </a:ext>
            </a:extLst>
          </p:cNvPr>
          <p:cNvGrpSpPr/>
          <p:nvPr userDrawn="1"/>
        </p:nvGrpSpPr>
        <p:grpSpPr>
          <a:xfrm>
            <a:off x="12532243" y="-2"/>
            <a:ext cx="3965960" cy="9769405"/>
            <a:chOff x="9399182" y="-2"/>
            <a:chExt cx="2974470" cy="9769405"/>
          </a:xfrm>
        </p:grpSpPr>
        <p:sp>
          <p:nvSpPr>
            <p:cNvPr id="50" name="Rectangle 49">
              <a:extLst>
                <a:ext uri="{FF2B5EF4-FFF2-40B4-BE49-F238E27FC236}">
                  <a16:creationId xmlns:a16="http://schemas.microsoft.com/office/drawing/2014/main" id="{A5924230-3214-F841-925E-C150247BC60C}"/>
                </a:ext>
              </a:extLst>
            </p:cNvPr>
            <p:cNvSpPr/>
            <p:nvPr userDrawn="1"/>
          </p:nvSpPr>
          <p:spPr>
            <a:xfrm>
              <a:off x="9399182" y="-2"/>
              <a:ext cx="2798651" cy="9655033"/>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51" name="Picture 50">
              <a:extLst>
                <a:ext uri="{FF2B5EF4-FFF2-40B4-BE49-F238E27FC236}">
                  <a16:creationId xmlns:a16="http://schemas.microsoft.com/office/drawing/2014/main" id="{F7C92D88-EA4F-DF4B-B033-7E4AA28E420B}"/>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52" name="Group 51">
              <a:extLst>
                <a:ext uri="{FF2B5EF4-FFF2-40B4-BE49-F238E27FC236}">
                  <a16:creationId xmlns:a16="http://schemas.microsoft.com/office/drawing/2014/main" id="{EA037373-1C4C-FB46-A237-6166750D09BA}"/>
                </a:ext>
              </a:extLst>
            </p:cNvPr>
            <p:cNvGrpSpPr/>
            <p:nvPr userDrawn="1"/>
          </p:nvGrpSpPr>
          <p:grpSpPr>
            <a:xfrm>
              <a:off x="9541497" y="162442"/>
              <a:ext cx="2819400" cy="814510"/>
              <a:chOff x="-3644733" y="165205"/>
              <a:chExt cx="2819400" cy="814510"/>
            </a:xfrm>
          </p:grpSpPr>
          <p:sp>
            <p:nvSpPr>
              <p:cNvPr id="123" name="Rectangle 122">
                <a:extLst>
                  <a:ext uri="{FF2B5EF4-FFF2-40B4-BE49-F238E27FC236}">
                    <a16:creationId xmlns:a16="http://schemas.microsoft.com/office/drawing/2014/main" id="{6A89438A-C37A-8241-BE0E-FCBC1E6AC75D}"/>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24" name="TextBox 123">
                <a:extLst>
                  <a:ext uri="{FF2B5EF4-FFF2-40B4-BE49-F238E27FC236}">
                    <a16:creationId xmlns:a16="http://schemas.microsoft.com/office/drawing/2014/main" id="{150A96AB-ACCE-A84E-9E34-865BB0CDBC6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125" name="Picture 124">
                <a:extLst>
                  <a:ext uri="{FF2B5EF4-FFF2-40B4-BE49-F238E27FC236}">
                    <a16:creationId xmlns:a16="http://schemas.microsoft.com/office/drawing/2014/main" id="{80A686FA-35D4-E54F-84D1-E5A1C088C2E4}"/>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53" name="Group 52">
              <a:extLst>
                <a:ext uri="{FF2B5EF4-FFF2-40B4-BE49-F238E27FC236}">
                  <a16:creationId xmlns:a16="http://schemas.microsoft.com/office/drawing/2014/main" id="{5B49B299-27B8-0543-B955-B39AD77B717C}"/>
                </a:ext>
              </a:extLst>
            </p:cNvPr>
            <p:cNvGrpSpPr/>
            <p:nvPr userDrawn="1"/>
          </p:nvGrpSpPr>
          <p:grpSpPr>
            <a:xfrm>
              <a:off x="9521833" y="3755578"/>
              <a:ext cx="2754815" cy="6013825"/>
              <a:chOff x="9521833" y="2566288"/>
              <a:chExt cx="2754815" cy="6013825"/>
            </a:xfrm>
          </p:grpSpPr>
          <p:sp>
            <p:nvSpPr>
              <p:cNvPr id="64" name="TextBox 63">
                <a:extLst>
                  <a:ext uri="{FF2B5EF4-FFF2-40B4-BE49-F238E27FC236}">
                    <a16:creationId xmlns:a16="http://schemas.microsoft.com/office/drawing/2014/main" id="{2AF2070A-EFB0-8148-9A83-076562E3FA5D}"/>
                  </a:ext>
                </a:extLst>
              </p:cNvPr>
              <p:cNvSpPr txBox="1"/>
              <p:nvPr userDrawn="1"/>
            </p:nvSpPr>
            <p:spPr>
              <a:xfrm>
                <a:off x="9558507" y="256628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65" name="Straight Connector 64">
                <a:extLst>
                  <a:ext uri="{FF2B5EF4-FFF2-40B4-BE49-F238E27FC236}">
                    <a16:creationId xmlns:a16="http://schemas.microsoft.com/office/drawing/2014/main" id="{BFFB8F6D-33C7-B84A-8C53-1C8BCABB3357}"/>
                  </a:ext>
                </a:extLst>
              </p:cNvPr>
              <p:cNvCxnSpPr>
                <a:cxnSpLocks/>
              </p:cNvCxnSpPr>
              <p:nvPr userDrawn="1"/>
            </p:nvCxnSpPr>
            <p:spPr>
              <a:xfrm>
                <a:off x="9558507" y="276890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442299A1-A12A-4648-BADF-C112B5112970}"/>
                  </a:ext>
                </a:extLst>
              </p:cNvPr>
              <p:cNvSpPr txBox="1"/>
              <p:nvPr userDrawn="1"/>
            </p:nvSpPr>
            <p:spPr>
              <a:xfrm>
                <a:off x="9686426" y="362721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67" name="Group 66">
                <a:extLst>
                  <a:ext uri="{FF2B5EF4-FFF2-40B4-BE49-F238E27FC236}">
                    <a16:creationId xmlns:a16="http://schemas.microsoft.com/office/drawing/2014/main" id="{FB2A614A-0DFB-1746-9449-BC673274DC69}"/>
                  </a:ext>
                </a:extLst>
              </p:cNvPr>
              <p:cNvGrpSpPr/>
              <p:nvPr userDrawn="1"/>
            </p:nvGrpSpPr>
            <p:grpSpPr>
              <a:xfrm>
                <a:off x="9541497" y="7168798"/>
                <a:ext cx="2735151" cy="1411315"/>
                <a:chOff x="9296567" y="4910411"/>
                <a:chExt cx="2735151" cy="1411315"/>
              </a:xfrm>
            </p:grpSpPr>
            <p:sp>
              <p:nvSpPr>
                <p:cNvPr id="82" name="Rectangle 81">
                  <a:extLst>
                    <a:ext uri="{FF2B5EF4-FFF2-40B4-BE49-F238E27FC236}">
                      <a16:creationId xmlns:a16="http://schemas.microsoft.com/office/drawing/2014/main" id="{08B2DC79-72E8-F448-B26F-22C25E78DE4E}"/>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18" name="TextBox 117">
                  <a:extLst>
                    <a:ext uri="{FF2B5EF4-FFF2-40B4-BE49-F238E27FC236}">
                      <a16:creationId xmlns:a16="http://schemas.microsoft.com/office/drawing/2014/main" id="{A012B685-7A1B-EE4A-B48C-476DD149037F}"/>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19" name="Graphic 118">
                  <a:extLst>
                    <a:ext uri="{FF2B5EF4-FFF2-40B4-BE49-F238E27FC236}">
                      <a16:creationId xmlns:a16="http://schemas.microsoft.com/office/drawing/2014/main" id="{E42684EA-260D-FE4C-9DB5-ABC6A5EA89A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120" name="TextBox 119">
                  <a:extLst>
                    <a:ext uri="{FF2B5EF4-FFF2-40B4-BE49-F238E27FC236}">
                      <a16:creationId xmlns:a16="http://schemas.microsoft.com/office/drawing/2014/main" id="{229045D4-3E64-B747-9B77-8324211D1AB5}"/>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21" name="TextBox 120">
                  <a:extLst>
                    <a:ext uri="{FF2B5EF4-FFF2-40B4-BE49-F238E27FC236}">
                      <a16:creationId xmlns:a16="http://schemas.microsoft.com/office/drawing/2014/main" id="{7C8C5E78-2D68-0F4A-9771-9A181870404F}"/>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22" name="TextBox 121">
                  <a:extLst>
                    <a:ext uri="{FF2B5EF4-FFF2-40B4-BE49-F238E27FC236}">
                      <a16:creationId xmlns:a16="http://schemas.microsoft.com/office/drawing/2014/main" id="{72ACF7AE-340C-034B-A293-B81D7EDAC4B4}"/>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68" name="Group 67">
                <a:extLst>
                  <a:ext uri="{FF2B5EF4-FFF2-40B4-BE49-F238E27FC236}">
                    <a16:creationId xmlns:a16="http://schemas.microsoft.com/office/drawing/2014/main" id="{9D428D69-5C21-954F-AAA0-6C95377428A6}"/>
                  </a:ext>
                </a:extLst>
              </p:cNvPr>
              <p:cNvGrpSpPr/>
              <p:nvPr userDrawn="1"/>
            </p:nvGrpSpPr>
            <p:grpSpPr>
              <a:xfrm>
                <a:off x="9541497" y="5812142"/>
                <a:ext cx="2735151" cy="1280928"/>
                <a:chOff x="9286315" y="6976989"/>
                <a:chExt cx="2735151" cy="1280928"/>
              </a:xfrm>
            </p:grpSpPr>
            <p:sp>
              <p:nvSpPr>
                <p:cNvPr id="77" name="Rectangle 76">
                  <a:extLst>
                    <a:ext uri="{FF2B5EF4-FFF2-40B4-BE49-F238E27FC236}">
                      <a16:creationId xmlns:a16="http://schemas.microsoft.com/office/drawing/2014/main" id="{D2A8D114-EB36-D047-9E19-6917F77AB8AC}"/>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8" name="TextBox 77">
                  <a:extLst>
                    <a:ext uri="{FF2B5EF4-FFF2-40B4-BE49-F238E27FC236}">
                      <a16:creationId xmlns:a16="http://schemas.microsoft.com/office/drawing/2014/main" id="{DE249B37-1CBD-DE4C-B078-D171107C8DFB}"/>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9" name="Graphic 78">
                  <a:extLst>
                    <a:ext uri="{FF2B5EF4-FFF2-40B4-BE49-F238E27FC236}">
                      <a16:creationId xmlns:a16="http://schemas.microsoft.com/office/drawing/2014/main" id="{D9DC4789-EC3A-3C48-88CF-5B84FF620F3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80" name="TextBox 79">
                  <a:extLst>
                    <a:ext uri="{FF2B5EF4-FFF2-40B4-BE49-F238E27FC236}">
                      <a16:creationId xmlns:a16="http://schemas.microsoft.com/office/drawing/2014/main" id="{BC49CB42-C3B5-5841-B879-851F9C7EEA36}"/>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81" name="Picture 80">
                  <a:extLst>
                    <a:ext uri="{FF2B5EF4-FFF2-40B4-BE49-F238E27FC236}">
                      <a16:creationId xmlns:a16="http://schemas.microsoft.com/office/drawing/2014/main" id="{628F206A-7D04-EF40-9861-84678517D248}"/>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69" name="Group 68">
                <a:extLst>
                  <a:ext uri="{FF2B5EF4-FFF2-40B4-BE49-F238E27FC236}">
                    <a16:creationId xmlns:a16="http://schemas.microsoft.com/office/drawing/2014/main" id="{A490542C-8DFC-5548-AE6A-63B1D2808097}"/>
                  </a:ext>
                </a:extLst>
              </p:cNvPr>
              <p:cNvGrpSpPr/>
              <p:nvPr userDrawn="1"/>
            </p:nvGrpSpPr>
            <p:grpSpPr>
              <a:xfrm>
                <a:off x="9521833" y="2891408"/>
                <a:ext cx="2617883" cy="651460"/>
                <a:chOff x="12352022" y="513115"/>
                <a:chExt cx="2617883" cy="651460"/>
              </a:xfrm>
            </p:grpSpPr>
            <p:sp>
              <p:nvSpPr>
                <p:cNvPr id="74" name="TextBox 73">
                  <a:extLst>
                    <a:ext uri="{FF2B5EF4-FFF2-40B4-BE49-F238E27FC236}">
                      <a16:creationId xmlns:a16="http://schemas.microsoft.com/office/drawing/2014/main" id="{0FAFBA51-3305-F345-92BD-B46BA279BA27}"/>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75" name="TextBox 74">
                  <a:extLst>
                    <a:ext uri="{FF2B5EF4-FFF2-40B4-BE49-F238E27FC236}">
                      <a16:creationId xmlns:a16="http://schemas.microsoft.com/office/drawing/2014/main" id="{768B0866-9666-5048-A6BD-3E4EE1D31D82}"/>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76" name="TextBox 75">
                  <a:extLst>
                    <a:ext uri="{FF2B5EF4-FFF2-40B4-BE49-F238E27FC236}">
                      <a16:creationId xmlns:a16="http://schemas.microsoft.com/office/drawing/2014/main" id="{2FDB09E1-182B-8C41-A90D-675C6F64D42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70" name="TextBox 69">
                <a:extLst>
                  <a:ext uri="{FF2B5EF4-FFF2-40B4-BE49-F238E27FC236}">
                    <a16:creationId xmlns:a16="http://schemas.microsoft.com/office/drawing/2014/main" id="{D485FD98-7EF6-A54D-9C57-9E702C04A959}"/>
                  </a:ext>
                </a:extLst>
              </p:cNvPr>
              <p:cNvSpPr txBox="1"/>
              <p:nvPr userDrawn="1"/>
            </p:nvSpPr>
            <p:spPr>
              <a:xfrm>
                <a:off x="9674267" y="3910520"/>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71" name="TextBox 70">
                <a:extLst>
                  <a:ext uri="{FF2B5EF4-FFF2-40B4-BE49-F238E27FC236}">
                    <a16:creationId xmlns:a16="http://schemas.microsoft.com/office/drawing/2014/main" id="{87E809D7-903C-6E4C-9509-800D999D8BEB}"/>
                  </a:ext>
                </a:extLst>
              </p:cNvPr>
              <p:cNvSpPr txBox="1"/>
              <p:nvPr userDrawn="1"/>
            </p:nvSpPr>
            <p:spPr>
              <a:xfrm>
                <a:off x="9686426" y="432577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72" name="TextBox 71">
                <a:extLst>
                  <a:ext uri="{FF2B5EF4-FFF2-40B4-BE49-F238E27FC236}">
                    <a16:creationId xmlns:a16="http://schemas.microsoft.com/office/drawing/2014/main" id="{7653C300-7116-984F-AC25-FE91A768367E}"/>
                  </a:ext>
                </a:extLst>
              </p:cNvPr>
              <p:cNvSpPr txBox="1"/>
              <p:nvPr userDrawn="1"/>
            </p:nvSpPr>
            <p:spPr>
              <a:xfrm>
                <a:off x="9686426" y="504586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73" name="TextBox 72">
                <a:extLst>
                  <a:ext uri="{FF2B5EF4-FFF2-40B4-BE49-F238E27FC236}">
                    <a16:creationId xmlns:a16="http://schemas.microsoft.com/office/drawing/2014/main" id="{348DD668-2F25-B14F-B0EB-7BBC3FE735D6}"/>
                  </a:ext>
                </a:extLst>
              </p:cNvPr>
              <p:cNvSpPr txBox="1"/>
              <p:nvPr userDrawn="1"/>
            </p:nvSpPr>
            <p:spPr>
              <a:xfrm>
                <a:off x="9674267" y="5476430"/>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54" name="TextBox 53">
              <a:extLst>
                <a:ext uri="{FF2B5EF4-FFF2-40B4-BE49-F238E27FC236}">
                  <a16:creationId xmlns:a16="http://schemas.microsoft.com/office/drawing/2014/main" id="{A38C3867-F18E-4D46-9E21-2FC7FF845627}"/>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55" name="Straight Connector 54">
              <a:extLst>
                <a:ext uri="{FF2B5EF4-FFF2-40B4-BE49-F238E27FC236}">
                  <a16:creationId xmlns:a16="http://schemas.microsoft.com/office/drawing/2014/main" id="{DD4325D9-7389-094C-A2CF-5C5323B35208}"/>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6" name="Group 55">
              <a:extLst>
                <a:ext uri="{FF2B5EF4-FFF2-40B4-BE49-F238E27FC236}">
                  <a16:creationId xmlns:a16="http://schemas.microsoft.com/office/drawing/2014/main" id="{EEAA9040-CF51-8F4A-A448-164422E39F10}"/>
                </a:ext>
              </a:extLst>
            </p:cNvPr>
            <p:cNvGrpSpPr/>
            <p:nvPr userDrawn="1"/>
          </p:nvGrpSpPr>
          <p:grpSpPr>
            <a:xfrm>
              <a:off x="9554253" y="2414886"/>
              <a:ext cx="2819399" cy="1181890"/>
              <a:chOff x="9541498" y="3352649"/>
              <a:chExt cx="2819399" cy="1181890"/>
            </a:xfrm>
          </p:grpSpPr>
          <p:grpSp>
            <p:nvGrpSpPr>
              <p:cNvPr id="57" name="Group 56">
                <a:extLst>
                  <a:ext uri="{FF2B5EF4-FFF2-40B4-BE49-F238E27FC236}">
                    <a16:creationId xmlns:a16="http://schemas.microsoft.com/office/drawing/2014/main" id="{71989BAA-BA51-5B43-B478-80240E70B031}"/>
                  </a:ext>
                </a:extLst>
              </p:cNvPr>
              <p:cNvGrpSpPr/>
              <p:nvPr userDrawn="1"/>
            </p:nvGrpSpPr>
            <p:grpSpPr>
              <a:xfrm>
                <a:off x="9541498" y="3352649"/>
                <a:ext cx="2735150" cy="1181890"/>
                <a:chOff x="9541498" y="3751132"/>
                <a:chExt cx="2735150" cy="1181890"/>
              </a:xfrm>
            </p:grpSpPr>
            <p:grpSp>
              <p:nvGrpSpPr>
                <p:cNvPr id="59" name="Group 58">
                  <a:extLst>
                    <a:ext uri="{FF2B5EF4-FFF2-40B4-BE49-F238E27FC236}">
                      <a16:creationId xmlns:a16="http://schemas.microsoft.com/office/drawing/2014/main" id="{1F0DB689-2380-EE49-8628-14383AA33533}"/>
                    </a:ext>
                  </a:extLst>
                </p:cNvPr>
                <p:cNvGrpSpPr/>
                <p:nvPr userDrawn="1"/>
              </p:nvGrpSpPr>
              <p:grpSpPr>
                <a:xfrm>
                  <a:off x="9541498" y="3751132"/>
                  <a:ext cx="2735150" cy="1181890"/>
                  <a:chOff x="9296568" y="4910411"/>
                  <a:chExt cx="2735150" cy="1181890"/>
                </a:xfrm>
              </p:grpSpPr>
              <p:sp>
                <p:nvSpPr>
                  <p:cNvPr id="61" name="Rectangle 60">
                    <a:extLst>
                      <a:ext uri="{FF2B5EF4-FFF2-40B4-BE49-F238E27FC236}">
                        <a16:creationId xmlns:a16="http://schemas.microsoft.com/office/drawing/2014/main" id="{0C31B8AD-3259-0E4D-B7B9-A1BED5431619}"/>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2" name="TextBox 61">
                    <a:extLst>
                      <a:ext uri="{FF2B5EF4-FFF2-40B4-BE49-F238E27FC236}">
                        <a16:creationId xmlns:a16="http://schemas.microsoft.com/office/drawing/2014/main" id="{79D5AE7D-A300-E04A-8178-CEFBFD6B3695}"/>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Numbered lists</a:t>
                    </a:r>
                  </a:p>
                </p:txBody>
              </p:sp>
              <p:sp>
                <p:nvSpPr>
                  <p:cNvPr id="63" name="TextBox 62">
                    <a:extLst>
                      <a:ext uri="{FF2B5EF4-FFF2-40B4-BE49-F238E27FC236}">
                        <a16:creationId xmlns:a16="http://schemas.microsoft.com/office/drawing/2014/main" id="{71453D1D-E082-484F-B617-10330BB9C893}"/>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dirty="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60" name="Graphic 59">
                  <a:extLst>
                    <a:ext uri="{FF2B5EF4-FFF2-40B4-BE49-F238E27FC236}">
                      <a16:creationId xmlns:a16="http://schemas.microsoft.com/office/drawing/2014/main" id="{0BFB961E-6B44-4A41-8979-B6EDBFAAEB3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9686425" y="3891259"/>
                  <a:ext cx="170340" cy="170340"/>
                </a:xfrm>
                <a:prstGeom prst="rect">
                  <a:avLst/>
                </a:prstGeom>
              </p:spPr>
            </p:pic>
          </p:grpSp>
          <p:pic>
            <p:nvPicPr>
              <p:cNvPr id="58" name="Picture 57">
                <a:extLst>
                  <a:ext uri="{FF2B5EF4-FFF2-40B4-BE49-F238E27FC236}">
                    <a16:creationId xmlns:a16="http://schemas.microsoft.com/office/drawing/2014/main" id="{983E9B20-7313-604E-8431-234F059880A1}"/>
                  </a:ext>
                </a:extLst>
              </p:cNvPr>
              <p:cNvPicPr>
                <a:picLocks noChangeAspect="1"/>
              </p:cNvPicPr>
              <p:nvPr userDrawn="1"/>
            </p:nvPicPr>
            <p:blipFill rotWithShape="1">
              <a:blip r:embed="rId9"/>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93307568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8A1E5E-5092-C14B-BCA7-1CE9980DAC4E}"/>
              </a:ext>
            </a:extLst>
          </p:cNvPr>
          <p:cNvSpPr>
            <a:spLocks noGrp="1"/>
          </p:cNvSpPr>
          <p:nvPr>
            <p:ph type="title" hasCustomPrompt="1"/>
          </p:nvPr>
        </p:nvSpPr>
        <p:spPr/>
        <p:txBody>
          <a:bodyPr/>
          <a:lstStyle/>
          <a:p>
            <a:r>
              <a:rPr lang="en-US" dirty="0"/>
              <a:t>CLICK TO ADD Slide TITLE. ALL CAPS. TWO LINES max.</a:t>
            </a:r>
          </a:p>
        </p:txBody>
      </p:sp>
      <p:sp>
        <p:nvSpPr>
          <p:cNvPr id="1000" name="Footnotes Placeholder">
            <a:extLst>
              <a:ext uri="{FF2B5EF4-FFF2-40B4-BE49-F238E27FC236}">
                <a16:creationId xmlns:a16="http://schemas.microsoft.com/office/drawing/2014/main" id="{36AF8DC8-87FB-C141-8D83-20DF12993AF5}"/>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source and footnotes. (Level 1 formatting for source, and levels 2+ for footnote numbering.) If over 4 lines, move footnote text to “Footnotes Appendix” slide and write “See Appendix for footnotes #-#” with level 1 formatting.</a:t>
            </a:r>
          </a:p>
          <a:p>
            <a:pPr lvl="1"/>
            <a:r>
              <a:rPr lang="en-US" dirty="0"/>
              <a:t>Footnotes – Levels 2-9</a:t>
            </a:r>
          </a:p>
        </p:txBody>
      </p:sp>
      <p:sp>
        <p:nvSpPr>
          <p:cNvPr id="3" name="Date Placeholder 2">
            <a:extLst>
              <a:ext uri="{FF2B5EF4-FFF2-40B4-BE49-F238E27FC236}">
                <a16:creationId xmlns:a16="http://schemas.microsoft.com/office/drawing/2014/main" id="{6F932E4D-3BB6-F145-B5C5-AD97EAF75D44}"/>
              </a:ext>
            </a:extLst>
          </p:cNvPr>
          <p:cNvSpPr>
            <a:spLocks noGrp="1"/>
          </p:cNvSpPr>
          <p:nvPr>
            <p:ph type="dt" sz="half" idx="1001"/>
          </p:nvPr>
        </p:nvSpPr>
        <p:spPr/>
        <p:txBody>
          <a:bodyPr/>
          <a:lstStyle/>
          <a:p>
            <a:endParaRPr lang="en-US" dirty="0"/>
          </a:p>
        </p:txBody>
      </p:sp>
      <p:sp>
        <p:nvSpPr>
          <p:cNvPr id="4" name="Footer Placeholder 3">
            <a:extLst>
              <a:ext uri="{FF2B5EF4-FFF2-40B4-BE49-F238E27FC236}">
                <a16:creationId xmlns:a16="http://schemas.microsoft.com/office/drawing/2014/main" id="{E17286FE-76E3-3247-ACB0-061B0414E37F}"/>
              </a:ext>
            </a:extLst>
          </p:cNvPr>
          <p:cNvSpPr>
            <a:spLocks noGrp="1"/>
          </p:cNvSpPr>
          <p:nvPr>
            <p:ph type="ftr" sz="quarter" idx="1002"/>
          </p:nvPr>
        </p:nvSpPr>
        <p:spPr/>
        <p:txBody>
          <a:bodyPr/>
          <a:lstStyle/>
          <a:p>
            <a:endParaRPr lang="en-US" dirty="0"/>
          </a:p>
        </p:txBody>
      </p:sp>
      <p:sp>
        <p:nvSpPr>
          <p:cNvPr id="5" name="Slide Number Placeholder 4">
            <a:extLst>
              <a:ext uri="{FF2B5EF4-FFF2-40B4-BE49-F238E27FC236}">
                <a16:creationId xmlns:a16="http://schemas.microsoft.com/office/drawing/2014/main" id="{867E789D-6D1E-A34E-82C5-72E722D0C6B6}"/>
              </a:ext>
            </a:extLst>
          </p:cNvPr>
          <p:cNvSpPr>
            <a:spLocks noGrp="1"/>
          </p:cNvSpPr>
          <p:nvPr>
            <p:ph type="sldNum" sz="quarter" idx="1003"/>
          </p:nvPr>
        </p:nvSpPr>
        <p:spPr/>
        <p:txBody>
          <a:bodyPr/>
          <a:lstStyle/>
          <a:p>
            <a:pPr marL="12700"/>
            <a:fld id="{078C017C-E1B9-8443-B047-B08AAA027B45}" type="slidenum">
              <a:rPr lang="en-US" smtClean="0"/>
              <a:pPr marL="12700"/>
              <a:t>‹#›</a:t>
            </a:fld>
            <a:endParaRPr lang="en-US" dirty="0"/>
          </a:p>
        </p:txBody>
      </p:sp>
    </p:spTree>
    <p:extLst>
      <p:ext uri="{BB962C8B-B14F-4D97-AF65-F5344CB8AC3E}">
        <p14:creationId xmlns:p14="http://schemas.microsoft.com/office/powerpoint/2010/main" val="291581770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ootnotes Appendix">
    <p:spTree>
      <p:nvGrpSpPr>
        <p:cNvPr id="1" name=""/>
        <p:cNvGrpSpPr/>
        <p:nvPr/>
      </p:nvGrpSpPr>
      <p:grpSpPr>
        <a:xfrm>
          <a:off x="0" y="0"/>
          <a:ext cx="0" cy="0"/>
          <a:chOff x="0" y="0"/>
          <a:chExt cx="0" cy="0"/>
        </a:xfrm>
      </p:grpSpPr>
      <p:sp>
        <p:nvSpPr>
          <p:cNvPr id="1000" name="Footnotes Placeholder">
            <a:extLst>
              <a:ext uri="{FF2B5EF4-FFF2-40B4-BE49-F238E27FC236}">
                <a16:creationId xmlns:a16="http://schemas.microsoft.com/office/drawing/2014/main" id="{73A7EDA7-F3CC-FE4B-8FF2-546BF052CA2D}"/>
              </a:ext>
            </a:extLst>
          </p:cNvPr>
          <p:cNvSpPr>
            <a:spLocks noGrp="1"/>
          </p:cNvSpPr>
          <p:nvPr>
            <p:ph type="subTitle" sz="quarter" idx="1000" hasCustomPrompt="1"/>
          </p:nvPr>
        </p:nvSpPr>
        <p:spPr>
          <a:xfrm>
            <a:off x="575710" y="1233488"/>
            <a:ext cx="11040532" cy="4932362"/>
          </a:xfrm>
        </p:spPr>
        <p:txBody>
          <a:bodyPr bIns="0" anchor="t"/>
          <a:lstStyle>
            <a:lvl1pPr marL="6350" indent="-1588">
              <a:spcBef>
                <a:spcPts val="600"/>
              </a:spcBef>
              <a:spcAft>
                <a:spcPts val="75"/>
              </a:spcAft>
              <a:buSzPct val="100000"/>
              <a:buFontTx/>
              <a:buNone/>
              <a:tabLst/>
              <a:defRPr sz="1100" b="1">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dirty="0"/>
              <a:t>Click to add page reference. Paste in overflow footnotes.</a:t>
            </a:r>
          </a:p>
          <a:p>
            <a:pPr lvl="1"/>
            <a:r>
              <a:rPr lang="en-US" dirty="0"/>
              <a:t>Second level</a:t>
            </a:r>
          </a:p>
          <a:p>
            <a:pPr lvl="2"/>
            <a:r>
              <a:rPr lang="en-US" dirty="0"/>
              <a:t>Third level</a:t>
            </a:r>
          </a:p>
          <a:p>
            <a:pPr lvl="3"/>
            <a:r>
              <a:rPr lang="en-US" dirty="0"/>
              <a:t>Fourth level</a:t>
            </a:r>
          </a:p>
          <a:p>
            <a:pPr lvl="4"/>
            <a:r>
              <a:rPr lang="en-US" dirty="0"/>
              <a:t>Fifth level</a:t>
            </a:r>
            <a:endParaRPr lang="en-US" sz="1400" dirty="0">
              <a:latin typeface="Arial" charset="0"/>
              <a:cs typeface="Arial" charset="0"/>
            </a:endParaRPr>
          </a:p>
          <a:p>
            <a:pPr lvl="5"/>
            <a:r>
              <a:rPr lang="en-US" dirty="0">
                <a:latin typeface="Arial" charset="0"/>
                <a:cs typeface="Arial" charset="0"/>
              </a:rPr>
              <a:t>Sixth level</a:t>
            </a:r>
          </a:p>
          <a:p>
            <a:pPr lvl="6"/>
            <a:r>
              <a:rPr lang="en-US" dirty="0">
                <a:latin typeface="Arial" charset="0"/>
                <a:cs typeface="Arial" charset="0"/>
              </a:rPr>
              <a:t>Seventh level</a:t>
            </a:r>
          </a:p>
          <a:p>
            <a:pPr lvl="7"/>
            <a:r>
              <a:rPr lang="en-US" dirty="0">
                <a:latin typeface="Arial" charset="0"/>
                <a:cs typeface="Arial" charset="0"/>
              </a:rPr>
              <a:t>Eighth level</a:t>
            </a:r>
          </a:p>
          <a:p>
            <a:pPr lvl="8"/>
            <a:r>
              <a:rPr lang="en-US" dirty="0">
                <a:latin typeface="Arial" charset="0"/>
                <a:cs typeface="Arial" charset="0"/>
              </a:rPr>
              <a:t>Ninth level</a:t>
            </a:r>
            <a:endParaRPr lang="en-US" dirty="0"/>
          </a:p>
        </p:txBody>
      </p:sp>
      <p:sp>
        <p:nvSpPr>
          <p:cNvPr id="11" name="Title 8">
            <a:extLst>
              <a:ext uri="{FF2B5EF4-FFF2-40B4-BE49-F238E27FC236}">
                <a16:creationId xmlns:a16="http://schemas.microsoft.com/office/drawing/2014/main" id="{39E817B6-FF8C-0842-B1E7-3F8A6FA8F66D}"/>
              </a:ext>
            </a:extLst>
          </p:cNvPr>
          <p:cNvSpPr txBox="1">
            <a:spLocks/>
          </p:cNvSpPr>
          <p:nvPr userDrawn="1"/>
        </p:nvSpPr>
        <p:spPr>
          <a:xfrm>
            <a:off x="575734" y="423038"/>
            <a:ext cx="11040533" cy="567394"/>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a:lstStyle>
          <a:p>
            <a:r>
              <a:rPr lang="en-US" sz="1900" dirty="0"/>
              <a:t>Appendix</a:t>
            </a:r>
          </a:p>
        </p:txBody>
      </p:sp>
      <p:sp>
        <p:nvSpPr>
          <p:cNvPr id="5" name="Date Placeholder 4">
            <a:extLst>
              <a:ext uri="{FF2B5EF4-FFF2-40B4-BE49-F238E27FC236}">
                <a16:creationId xmlns:a16="http://schemas.microsoft.com/office/drawing/2014/main" id="{4EB956B6-5A6C-5D48-9F0C-B94F649F8BBE}"/>
              </a:ext>
            </a:extLst>
          </p:cNvPr>
          <p:cNvSpPr>
            <a:spLocks noGrp="1"/>
          </p:cNvSpPr>
          <p:nvPr>
            <p:ph type="dt" sz="half" idx="101"/>
          </p:nvPr>
        </p:nvSpPr>
        <p:spPr/>
        <p:txBody>
          <a:bodyPr/>
          <a:lstStyle/>
          <a:p>
            <a:endParaRPr lang="en-US" dirty="0"/>
          </a:p>
        </p:txBody>
      </p:sp>
      <p:sp>
        <p:nvSpPr>
          <p:cNvPr id="6" name="Footer Placeholder 5">
            <a:extLst>
              <a:ext uri="{FF2B5EF4-FFF2-40B4-BE49-F238E27FC236}">
                <a16:creationId xmlns:a16="http://schemas.microsoft.com/office/drawing/2014/main" id="{65529702-1F3A-4D45-95E7-B4EE450AA0E0}"/>
              </a:ext>
            </a:extLst>
          </p:cNvPr>
          <p:cNvSpPr>
            <a:spLocks noGrp="1"/>
          </p:cNvSpPr>
          <p:nvPr>
            <p:ph type="ftr" sz="quarter" idx="102"/>
          </p:nvPr>
        </p:nvSpPr>
        <p:spPr/>
        <p:txBody>
          <a:bodyPr/>
          <a:lstStyle/>
          <a:p>
            <a:endParaRPr lang="en-US" dirty="0"/>
          </a:p>
        </p:txBody>
      </p:sp>
      <p:sp>
        <p:nvSpPr>
          <p:cNvPr id="7" name="Slide Number Placeholder 6">
            <a:extLst>
              <a:ext uri="{FF2B5EF4-FFF2-40B4-BE49-F238E27FC236}">
                <a16:creationId xmlns:a16="http://schemas.microsoft.com/office/drawing/2014/main" id="{2AF6F60A-A028-CA43-9F6E-24A771157036}"/>
              </a:ext>
            </a:extLst>
          </p:cNvPr>
          <p:cNvSpPr>
            <a:spLocks noGrp="1"/>
          </p:cNvSpPr>
          <p:nvPr>
            <p:ph type="sldNum" sz="quarter" idx="103"/>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21" name="Group 20">
            <a:extLst>
              <a:ext uri="{FF2B5EF4-FFF2-40B4-BE49-F238E27FC236}">
                <a16:creationId xmlns:a16="http://schemas.microsoft.com/office/drawing/2014/main" id="{104D1EDF-2467-804A-B15C-D4504AFFEBB6}"/>
              </a:ext>
            </a:extLst>
          </p:cNvPr>
          <p:cNvGrpSpPr/>
          <p:nvPr userDrawn="1"/>
        </p:nvGrpSpPr>
        <p:grpSpPr>
          <a:xfrm>
            <a:off x="12532244" y="-1"/>
            <a:ext cx="3948953" cy="6858001"/>
            <a:chOff x="9399182" y="-1"/>
            <a:chExt cx="2961715" cy="6858001"/>
          </a:xfrm>
        </p:grpSpPr>
        <p:sp>
          <p:nvSpPr>
            <p:cNvPr id="9" name="Rectangle 8">
              <a:extLst>
                <a:ext uri="{FF2B5EF4-FFF2-40B4-BE49-F238E27FC236}">
                  <a16:creationId xmlns:a16="http://schemas.microsoft.com/office/drawing/2014/main" id="{1450A66C-4EFE-574E-8105-8F19294291C0}"/>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41" name="Picture 40">
              <a:extLst>
                <a:ext uri="{FF2B5EF4-FFF2-40B4-BE49-F238E27FC236}">
                  <a16:creationId xmlns:a16="http://schemas.microsoft.com/office/drawing/2014/main" id="{8CFE866E-1B7C-B841-9874-F39026C7B1D6}"/>
                </a:ext>
              </a:extLst>
            </p:cNvPr>
            <p:cNvPicPr>
              <a:picLocks noChangeAspect="1"/>
            </p:cNvPicPr>
            <p:nvPr userDrawn="1"/>
          </p:nvPicPr>
          <p:blipFill rotWithShape="1">
            <a:blip r:embed="rId2"/>
            <a:srcRect l="-1" t="-1" r="57393" b="1331"/>
            <a:stretch/>
          </p:blipFill>
          <p:spPr>
            <a:xfrm>
              <a:off x="9558505" y="1322104"/>
              <a:ext cx="2631977" cy="1346819"/>
            </a:xfrm>
            <a:prstGeom prst="rect">
              <a:avLst/>
            </a:prstGeom>
          </p:spPr>
        </p:pic>
        <p:grpSp>
          <p:nvGrpSpPr>
            <p:cNvPr id="14" name="Group 13">
              <a:extLst>
                <a:ext uri="{FF2B5EF4-FFF2-40B4-BE49-F238E27FC236}">
                  <a16:creationId xmlns:a16="http://schemas.microsoft.com/office/drawing/2014/main" id="{9FFEF678-A102-7F4F-AA3B-CD00034E1645}"/>
                </a:ext>
              </a:extLst>
            </p:cNvPr>
            <p:cNvGrpSpPr/>
            <p:nvPr userDrawn="1"/>
          </p:nvGrpSpPr>
          <p:grpSpPr>
            <a:xfrm>
              <a:off x="9541497" y="162442"/>
              <a:ext cx="2819400" cy="814510"/>
              <a:chOff x="-3644733" y="165205"/>
              <a:chExt cx="2819400" cy="814510"/>
            </a:xfrm>
          </p:grpSpPr>
          <p:sp>
            <p:nvSpPr>
              <p:cNvPr id="42" name="Rectangle 41">
                <a:extLst>
                  <a:ext uri="{FF2B5EF4-FFF2-40B4-BE49-F238E27FC236}">
                    <a16:creationId xmlns:a16="http://schemas.microsoft.com/office/drawing/2014/main" id="{5897A035-D50A-9E4B-AC4B-7F127F053054}"/>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3" name="TextBox 42">
                <a:extLst>
                  <a:ext uri="{FF2B5EF4-FFF2-40B4-BE49-F238E27FC236}">
                    <a16:creationId xmlns:a16="http://schemas.microsoft.com/office/drawing/2014/main" id="{80017FBF-C159-274E-A045-C7FE28DD4891}"/>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44" name="Picture 43">
                <a:extLst>
                  <a:ext uri="{FF2B5EF4-FFF2-40B4-BE49-F238E27FC236}">
                    <a16:creationId xmlns:a16="http://schemas.microsoft.com/office/drawing/2014/main" id="{E92D98F1-AA3C-ED4D-9D08-7B7F95CAA93F}"/>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23" name="Group 22">
              <a:extLst>
                <a:ext uri="{FF2B5EF4-FFF2-40B4-BE49-F238E27FC236}">
                  <a16:creationId xmlns:a16="http://schemas.microsoft.com/office/drawing/2014/main" id="{63F2733A-C19B-3340-8146-DE69DD441B5E}"/>
                </a:ext>
              </a:extLst>
            </p:cNvPr>
            <p:cNvGrpSpPr/>
            <p:nvPr userDrawn="1"/>
          </p:nvGrpSpPr>
          <p:grpSpPr>
            <a:xfrm>
              <a:off x="9558507" y="1119891"/>
              <a:ext cx="2639328" cy="202617"/>
              <a:chOff x="9303325" y="149270"/>
              <a:chExt cx="2639328" cy="202617"/>
            </a:xfrm>
          </p:grpSpPr>
          <p:sp>
            <p:nvSpPr>
              <p:cNvPr id="24" name="TextBox 23">
                <a:extLst>
                  <a:ext uri="{FF2B5EF4-FFF2-40B4-BE49-F238E27FC236}">
                    <a16:creationId xmlns:a16="http://schemas.microsoft.com/office/drawing/2014/main" id="{C79CF978-B72A-C545-9B0B-E904D2B4E054}"/>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25" name="Straight Connector 24">
                <a:extLst>
                  <a:ext uri="{FF2B5EF4-FFF2-40B4-BE49-F238E27FC236}">
                    <a16:creationId xmlns:a16="http://schemas.microsoft.com/office/drawing/2014/main" id="{8526A15D-C3EF-0040-8B4F-8F84446E57AB}"/>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7021440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00" name="First Content Placeholder">
            <a:extLst>
              <a:ext uri="{FF2B5EF4-FFF2-40B4-BE49-F238E27FC236}">
                <a16:creationId xmlns:a16="http://schemas.microsoft.com/office/drawing/2014/main" id="{D7070C02-8D3D-AA4B-B6D3-432E3D380E3C}"/>
              </a:ext>
            </a:extLst>
          </p:cNvPr>
          <p:cNvSpPr>
            <a:spLocks noGrp="1"/>
          </p:cNvSpPr>
          <p:nvPr>
            <p:ph sz="quarter" idx="200" hasCustomPrompt="1"/>
          </p:nvPr>
        </p:nvSpPr>
        <p:spPr>
          <a:xfrm>
            <a:off x="575734" y="1233489"/>
            <a:ext cx="11040533" cy="4932362"/>
          </a:xfrm>
        </p:spPr>
        <p:txBody>
          <a:bodyPr/>
          <a:lstStyle>
            <a:lvl1pPr>
              <a:defRPr lang="en-US"/>
            </a:lvl1pPr>
            <a:lvl2pPr>
              <a:defRPr lang="en-US"/>
            </a:lvl2pPr>
            <a:lvl3pPr>
              <a:defRPr lang="en-US"/>
            </a:lvl3pPr>
            <a:lvl4pPr>
              <a:defRPr lang="en-US"/>
            </a:lvl4pPr>
            <a:lvl5pPr>
              <a:defRPr lang="en-US" dirty="0"/>
            </a:lvl5pPr>
          </a:lstStyle>
          <a:p>
            <a:pPr lvl="0"/>
            <a:r>
              <a:rPr lang="en-US"/>
              <a:t>Click to add text, or use the icon to add a table</a:t>
            </a:r>
          </a:p>
          <a:p>
            <a:pPr lvl="1"/>
            <a:r>
              <a:rPr lang="en-US"/>
              <a:t>Body text (second level)</a:t>
            </a:r>
          </a:p>
          <a:p>
            <a:pPr lvl="2"/>
            <a:r>
              <a:rPr lang="en-US"/>
              <a:t>Square bullet (third level)</a:t>
            </a:r>
          </a:p>
          <a:p>
            <a:pPr lvl="3"/>
            <a:r>
              <a:rPr lang="en-US"/>
              <a:t>Dashed bullet (fourth level)</a:t>
            </a:r>
          </a:p>
          <a:p>
            <a:pPr lvl="4"/>
            <a:r>
              <a:rPr lang="en-US"/>
              <a:t>Dashed bullet (fifth level)</a:t>
            </a:r>
          </a:p>
        </p:txBody>
      </p:sp>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a:t>CLICK TO ADD Slide TITLE. ALL CAPS. TWO LINES max.</a:t>
            </a:r>
          </a:p>
        </p:txBody>
      </p:sp>
      <p:sp>
        <p:nvSpPr>
          <p:cNvPr id="1000" name="Footnotes Placeholder">
            <a:extLst>
              <a:ext uri="{FF2B5EF4-FFF2-40B4-BE49-F238E27FC236}">
                <a16:creationId xmlns:a16="http://schemas.microsoft.com/office/drawing/2014/main" id="{73A7EDA7-F3CC-FE4B-8FF2-546BF052CA2D}"/>
              </a:ext>
            </a:extLst>
          </p:cNvPr>
          <p:cNvSpPr>
            <a:spLocks noGrp="1"/>
          </p:cNvSpPr>
          <p:nvPr>
            <p:ph type="subTitle" sz="quarter" idx="1000" hasCustomPrompt="1"/>
          </p:nvPr>
        </p:nvSpPr>
        <p:spPr>
          <a:xfrm>
            <a:off x="575733" y="6200775"/>
            <a:ext cx="9920817" cy="505508"/>
          </a:xfrm>
        </p:spPr>
        <p:txBody>
          <a:bodyPr bIns="0" anchor="b"/>
          <a:lstStyle>
            <a:lvl1pPr marL="6350" indent="-1588">
              <a:spcBef>
                <a:spcPts val="75"/>
              </a:spcBef>
              <a:spcAft>
                <a:spcPts val="75"/>
              </a:spcAft>
              <a:buSzPct val="100000"/>
              <a:buFontTx/>
              <a:buNone/>
              <a:tabLst/>
              <a:defRPr sz="1100" b="0">
                <a:solidFill>
                  <a:schemeClr val="tx1"/>
                </a:solidFill>
              </a:defRPr>
            </a:lvl1pPr>
            <a:lvl2pPr marL="55563" indent="-50800">
              <a:spcBef>
                <a:spcPts val="75"/>
              </a:spcBef>
              <a:spcAft>
                <a:spcPts val="75"/>
              </a:spcAft>
              <a:buSzPct val="100000"/>
              <a:buFont typeface="System Font Regular"/>
              <a:buChar char="¹"/>
              <a:tabLst/>
              <a:defRPr sz="1100" b="0" i="0">
                <a:solidFill>
                  <a:schemeClr val="tx1"/>
                </a:solidFill>
              </a:defRPr>
            </a:lvl2pPr>
            <a:lvl3pPr marL="55563" indent="-50800">
              <a:spcBef>
                <a:spcPts val="75"/>
              </a:spcBef>
              <a:spcAft>
                <a:spcPts val="75"/>
              </a:spcAft>
              <a:buSzPct val="100000"/>
              <a:buFont typeface="System Font Regular"/>
              <a:buChar char="²"/>
              <a:tabLst/>
              <a:defRPr sz="1100">
                <a:solidFill>
                  <a:schemeClr val="tx1"/>
                </a:solidFill>
              </a:defRPr>
            </a:lvl3pPr>
            <a:lvl4pPr marL="55563" indent="-50800">
              <a:spcBef>
                <a:spcPts val="75"/>
              </a:spcBef>
              <a:spcAft>
                <a:spcPts val="75"/>
              </a:spcAft>
              <a:buSzPct val="100000"/>
              <a:buFont typeface="System Font Regular"/>
              <a:buChar char="³"/>
              <a:tabLst/>
              <a:defRPr sz="1100">
                <a:solidFill>
                  <a:schemeClr val="tx1"/>
                </a:solidFill>
              </a:defRPr>
            </a:lvl4pPr>
            <a:lvl5pPr marL="55563" indent="-50800">
              <a:spcBef>
                <a:spcPts val="75"/>
              </a:spcBef>
              <a:spcAft>
                <a:spcPts val="75"/>
              </a:spcAft>
              <a:buSzPct val="100000"/>
              <a:buFont typeface="System Font Regular"/>
              <a:buChar char="⁴"/>
              <a:tabLst/>
              <a:defRPr sz="1100">
                <a:solidFill>
                  <a:schemeClr val="tx1"/>
                </a:solidFill>
              </a:defRPr>
            </a:lvl5pPr>
            <a:lvl6pPr marL="55563" indent="-50800">
              <a:spcBef>
                <a:spcPts val="75"/>
              </a:spcBef>
              <a:spcAft>
                <a:spcPts val="75"/>
              </a:spcAft>
              <a:buSzPct val="100000"/>
              <a:buFont typeface="System Font Regular"/>
              <a:buChar char="⁵"/>
              <a:tabLst/>
              <a:defRPr sz="1100">
                <a:solidFill>
                  <a:schemeClr val="tx1"/>
                </a:solidFill>
              </a:defRPr>
            </a:lvl6pPr>
            <a:lvl7pPr marL="55563" indent="-50800">
              <a:spcBef>
                <a:spcPts val="75"/>
              </a:spcBef>
              <a:spcAft>
                <a:spcPts val="75"/>
              </a:spcAft>
              <a:buSzPct val="100000"/>
              <a:buFont typeface="System Font Regular"/>
              <a:buChar char="⁶"/>
              <a:tabLst/>
              <a:defRPr sz="1100">
                <a:solidFill>
                  <a:schemeClr val="tx1"/>
                </a:solidFill>
              </a:defRPr>
            </a:lvl7pPr>
            <a:lvl8pPr marL="55563" indent="-50800">
              <a:spcBef>
                <a:spcPts val="75"/>
              </a:spcBef>
              <a:spcAft>
                <a:spcPts val="75"/>
              </a:spcAft>
              <a:buSzPct val="100000"/>
              <a:buFont typeface="System Font Regular"/>
              <a:buChar char="⁷"/>
              <a:tabLst/>
              <a:defRPr sz="1100">
                <a:solidFill>
                  <a:schemeClr val="tx1"/>
                </a:solidFill>
              </a:defRPr>
            </a:lvl8pPr>
            <a:lvl9pPr marL="55563" indent="-50800">
              <a:spcBef>
                <a:spcPts val="75"/>
              </a:spcBef>
              <a:spcAft>
                <a:spcPts val="75"/>
              </a:spcAft>
              <a:buSzPct val="100000"/>
              <a:buFont typeface="System Font Regular"/>
              <a:buChar char="⁸"/>
              <a:tabLst/>
              <a:defRPr sz="1100">
                <a:solidFill>
                  <a:schemeClr val="tx1"/>
                </a:solidFill>
              </a:defRPr>
            </a:lvl9pPr>
          </a:lstStyle>
          <a:p>
            <a:pPr lvl="0"/>
            <a:r>
              <a:rPr lang="en-US"/>
              <a:t>Click to add source and footnotes. (Level 1 formatting for source, and levels 2+ for footnote numbering.) If over 4 lines, move footnote text to “Footnotes Appendix” slide and write “See Appendix for footnotes #-#” with level 1 formatting.</a:t>
            </a:r>
          </a:p>
          <a:p>
            <a:pPr lvl="1"/>
            <a:r>
              <a:rPr lang="en-US"/>
              <a:t>Footnotes – Levels 2-9</a:t>
            </a:r>
          </a:p>
        </p:txBody>
      </p:sp>
      <p:sp>
        <p:nvSpPr>
          <p:cNvPr id="32" name="Date Placeholder 31">
            <a:extLst>
              <a:ext uri="{FF2B5EF4-FFF2-40B4-BE49-F238E27FC236}">
                <a16:creationId xmlns:a16="http://schemas.microsoft.com/office/drawing/2014/main" id="{063A222F-451A-4B49-AAE6-41BBAA48AC75}"/>
              </a:ext>
            </a:extLst>
          </p:cNvPr>
          <p:cNvSpPr>
            <a:spLocks noGrp="1"/>
          </p:cNvSpPr>
          <p:nvPr userDrawn="1">
            <p:ph type="dt" sz="half" idx="105"/>
          </p:nvPr>
        </p:nvSpPr>
        <p:spPr/>
        <p:txBody>
          <a:bodyPr/>
          <a:lstStyle/>
          <a:p>
            <a:endParaRPr lang="en-US"/>
          </a:p>
        </p:txBody>
      </p:sp>
      <p:sp>
        <p:nvSpPr>
          <p:cNvPr id="33" name="Footer Placeholder 32">
            <a:extLst>
              <a:ext uri="{FF2B5EF4-FFF2-40B4-BE49-F238E27FC236}">
                <a16:creationId xmlns:a16="http://schemas.microsoft.com/office/drawing/2014/main" id="{7182972C-B32C-5242-9660-1F857E08362B}"/>
              </a:ext>
            </a:extLst>
          </p:cNvPr>
          <p:cNvSpPr>
            <a:spLocks noGrp="1"/>
          </p:cNvSpPr>
          <p:nvPr userDrawn="1">
            <p:ph type="ftr" sz="quarter" idx="106"/>
          </p:nvPr>
        </p:nvSpPr>
        <p:spPr/>
        <p:txBody>
          <a:bodyPr/>
          <a:lstStyle/>
          <a:p>
            <a:endParaRPr lang="en-US"/>
          </a:p>
        </p:txBody>
      </p:sp>
      <p:sp>
        <p:nvSpPr>
          <p:cNvPr id="39" name="Slide Number Placeholder 38">
            <a:extLst>
              <a:ext uri="{FF2B5EF4-FFF2-40B4-BE49-F238E27FC236}">
                <a16:creationId xmlns:a16="http://schemas.microsoft.com/office/drawing/2014/main" id="{702F905D-B5C6-604B-A8D6-931CBE08DB32}"/>
              </a:ext>
            </a:extLst>
          </p:cNvPr>
          <p:cNvSpPr>
            <a:spLocks noGrp="1"/>
          </p:cNvSpPr>
          <p:nvPr userDrawn="1">
            <p:ph type="sldNum" sz="quarter" idx="107"/>
          </p:nvPr>
        </p:nvSpPr>
        <p:spPr/>
        <p:txBody>
          <a:bodyPr/>
          <a:lstStyle/>
          <a:p>
            <a:pPr marL="12700"/>
            <a:fld id="{078C017C-E1B9-8443-B047-B08AAA027B45}" type="slidenum">
              <a:rPr lang="en-US" smtClean="0"/>
              <a:pPr marL="12700"/>
              <a:t>‹#›</a:t>
            </a:fld>
            <a:endParaRPr lang="en-US"/>
          </a:p>
        </p:txBody>
      </p:sp>
      <p:grpSp>
        <p:nvGrpSpPr>
          <p:cNvPr id="6" name="Group 5">
            <a:extLst>
              <a:ext uri="{FF2B5EF4-FFF2-40B4-BE49-F238E27FC236}">
                <a16:creationId xmlns:a16="http://schemas.microsoft.com/office/drawing/2014/main" id="{7377C8CE-D482-6D47-A000-443568B2C375}"/>
              </a:ext>
            </a:extLst>
          </p:cNvPr>
          <p:cNvGrpSpPr/>
          <p:nvPr userDrawn="1"/>
        </p:nvGrpSpPr>
        <p:grpSpPr>
          <a:xfrm>
            <a:off x="12532243" y="1"/>
            <a:ext cx="2997567" cy="6857995"/>
            <a:chOff x="9399182" y="0"/>
            <a:chExt cx="2974470" cy="6857995"/>
          </a:xfrm>
        </p:grpSpPr>
        <p:sp>
          <p:nvSpPr>
            <p:cNvPr id="11" name="Rectangle 10">
              <a:extLst>
                <a:ext uri="{FF2B5EF4-FFF2-40B4-BE49-F238E27FC236}">
                  <a16:creationId xmlns:a16="http://schemas.microsoft.com/office/drawing/2014/main" id="{B624552C-B575-AE4E-B90E-80386DFFD747}"/>
                </a:ext>
              </a:extLst>
            </p:cNvPr>
            <p:cNvSpPr/>
            <p:nvPr userDrawn="1"/>
          </p:nvSpPr>
          <p:spPr>
            <a:xfrm>
              <a:off x="9399182" y="0"/>
              <a:ext cx="2798651" cy="6857995"/>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70" name="Picture 69">
              <a:extLst>
                <a:ext uri="{FF2B5EF4-FFF2-40B4-BE49-F238E27FC236}">
                  <a16:creationId xmlns:a16="http://schemas.microsoft.com/office/drawing/2014/main" id="{72577E3C-2575-9A49-8EA5-9CA05A2E3D32}"/>
                </a:ext>
              </a:extLst>
            </p:cNvPr>
            <p:cNvPicPr>
              <a:picLocks noChangeAspect="1"/>
            </p:cNvPicPr>
            <p:nvPr userDrawn="1"/>
          </p:nvPicPr>
          <p:blipFill rotWithShape="1">
            <a:blip r:embed="rId2"/>
            <a:srcRect r="41694"/>
            <a:stretch/>
          </p:blipFill>
          <p:spPr>
            <a:xfrm>
              <a:off x="9558506" y="1322104"/>
              <a:ext cx="2639328" cy="995540"/>
            </a:xfrm>
            <a:prstGeom prst="rect">
              <a:avLst/>
            </a:prstGeom>
          </p:spPr>
        </p:pic>
        <p:grpSp>
          <p:nvGrpSpPr>
            <p:cNvPr id="12" name="Group 11">
              <a:extLst>
                <a:ext uri="{FF2B5EF4-FFF2-40B4-BE49-F238E27FC236}">
                  <a16:creationId xmlns:a16="http://schemas.microsoft.com/office/drawing/2014/main" id="{4E2D26DA-696F-D345-B831-DB4BCF3B6E31}"/>
                </a:ext>
              </a:extLst>
            </p:cNvPr>
            <p:cNvGrpSpPr/>
            <p:nvPr userDrawn="1"/>
          </p:nvGrpSpPr>
          <p:grpSpPr>
            <a:xfrm>
              <a:off x="9541497" y="162442"/>
              <a:ext cx="2819400" cy="814510"/>
              <a:chOff x="-3644733" y="165205"/>
              <a:chExt cx="2819400" cy="814510"/>
            </a:xfrm>
          </p:grpSpPr>
          <p:sp>
            <p:nvSpPr>
              <p:cNvPr id="18" name="Rectangle 17">
                <a:extLst>
                  <a:ext uri="{FF2B5EF4-FFF2-40B4-BE49-F238E27FC236}">
                    <a16:creationId xmlns:a16="http://schemas.microsoft.com/office/drawing/2014/main" id="{5C3AAD8B-698C-7A43-ABDF-294888239CF2}"/>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9" name="TextBox 18">
                <a:extLst>
                  <a:ext uri="{FF2B5EF4-FFF2-40B4-BE49-F238E27FC236}">
                    <a16:creationId xmlns:a16="http://schemas.microsoft.com/office/drawing/2014/main" id="{2D824FCF-53BC-444C-88D6-38033E97AEDF}"/>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Access programmed text formats by using the ‘Indent More’ button to change the indent level.</a:t>
                </a:r>
              </a:p>
            </p:txBody>
          </p:sp>
          <p:pic>
            <p:nvPicPr>
              <p:cNvPr id="20" name="Picture 19">
                <a:extLst>
                  <a:ext uri="{FF2B5EF4-FFF2-40B4-BE49-F238E27FC236}">
                    <a16:creationId xmlns:a16="http://schemas.microsoft.com/office/drawing/2014/main" id="{B83CA71E-B1B7-6946-92A5-BFD00A4291E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15" name="Group 14">
              <a:extLst>
                <a:ext uri="{FF2B5EF4-FFF2-40B4-BE49-F238E27FC236}">
                  <a16:creationId xmlns:a16="http://schemas.microsoft.com/office/drawing/2014/main" id="{BDFE6C8C-E609-C848-9C4A-7DCBDF10FCCB}"/>
                </a:ext>
              </a:extLst>
            </p:cNvPr>
            <p:cNvGrpSpPr/>
            <p:nvPr userDrawn="1"/>
          </p:nvGrpSpPr>
          <p:grpSpPr>
            <a:xfrm>
              <a:off x="9558507" y="1119891"/>
              <a:ext cx="2639328" cy="202617"/>
              <a:chOff x="9303325" y="149270"/>
              <a:chExt cx="2639328" cy="202617"/>
            </a:xfrm>
          </p:grpSpPr>
          <p:sp>
            <p:nvSpPr>
              <p:cNvPr id="16" name="TextBox 15">
                <a:extLst>
                  <a:ext uri="{FF2B5EF4-FFF2-40B4-BE49-F238E27FC236}">
                    <a16:creationId xmlns:a16="http://schemas.microsoft.com/office/drawing/2014/main" id="{5459E50A-7290-8345-AB63-DF07B151FCBA}"/>
                  </a:ext>
                </a:extLst>
              </p:cNvPr>
              <p:cNvSpPr txBox="1"/>
              <p:nvPr userDrawn="1"/>
            </p:nvSpPr>
            <p:spPr>
              <a:xfrm>
                <a:off x="9303325" y="149270"/>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a:solidFill>
                      <a:schemeClr val="bg1"/>
                    </a:solidFill>
                  </a:rPr>
                  <a:t>TEXT FORMATS IN THIS LAYOUT</a:t>
                </a:r>
              </a:p>
            </p:txBody>
          </p:sp>
          <p:cxnSp>
            <p:nvCxnSpPr>
              <p:cNvPr id="17" name="Straight Connector 16">
                <a:extLst>
                  <a:ext uri="{FF2B5EF4-FFF2-40B4-BE49-F238E27FC236}">
                    <a16:creationId xmlns:a16="http://schemas.microsoft.com/office/drawing/2014/main" id="{877E185E-D403-494F-AEBA-AEAB2A57C114}"/>
                  </a:ext>
                </a:extLst>
              </p:cNvPr>
              <p:cNvCxnSpPr>
                <a:cxnSpLocks/>
              </p:cNvCxnSpPr>
              <p:nvPr userDrawn="1"/>
            </p:nvCxnSpPr>
            <p:spPr>
              <a:xfrm>
                <a:off x="9303325" y="351887"/>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73" name="Group 72">
              <a:extLst>
                <a:ext uri="{FF2B5EF4-FFF2-40B4-BE49-F238E27FC236}">
                  <a16:creationId xmlns:a16="http://schemas.microsoft.com/office/drawing/2014/main" id="{2707A63D-0ED3-2649-8C74-DDC556FCF5A9}"/>
                </a:ext>
              </a:extLst>
            </p:cNvPr>
            <p:cNvGrpSpPr/>
            <p:nvPr userDrawn="1"/>
          </p:nvGrpSpPr>
          <p:grpSpPr>
            <a:xfrm>
              <a:off x="9554253" y="3678850"/>
              <a:ext cx="2735151" cy="2655095"/>
              <a:chOff x="9541497" y="2555080"/>
              <a:chExt cx="2735151" cy="2655095"/>
            </a:xfrm>
          </p:grpSpPr>
          <p:grpSp>
            <p:nvGrpSpPr>
              <p:cNvPr id="21" name="Group 20">
                <a:extLst>
                  <a:ext uri="{FF2B5EF4-FFF2-40B4-BE49-F238E27FC236}">
                    <a16:creationId xmlns:a16="http://schemas.microsoft.com/office/drawing/2014/main" id="{97646D57-86DD-CC45-AF75-033441DEAEBB}"/>
                  </a:ext>
                </a:extLst>
              </p:cNvPr>
              <p:cNvGrpSpPr/>
              <p:nvPr userDrawn="1"/>
            </p:nvGrpSpPr>
            <p:grpSpPr>
              <a:xfrm>
                <a:off x="9541497" y="2555080"/>
                <a:ext cx="2735151" cy="2655095"/>
                <a:chOff x="9296567" y="4910411"/>
                <a:chExt cx="2735151" cy="2655095"/>
              </a:xfrm>
            </p:grpSpPr>
            <p:sp>
              <p:nvSpPr>
                <p:cNvPr id="22" name="Rectangle 21">
                  <a:extLst>
                    <a:ext uri="{FF2B5EF4-FFF2-40B4-BE49-F238E27FC236}">
                      <a16:creationId xmlns:a16="http://schemas.microsoft.com/office/drawing/2014/main" id="{88B63AE3-654D-E346-84F1-DE1585D68864}"/>
                    </a:ext>
                  </a:extLst>
                </p:cNvPr>
                <p:cNvSpPr/>
                <p:nvPr userDrawn="1"/>
              </p:nvSpPr>
              <p:spPr>
                <a:xfrm>
                  <a:off x="9296567" y="4910411"/>
                  <a:ext cx="2735151" cy="265509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23" name="TextBox 22">
                  <a:extLst>
                    <a:ext uri="{FF2B5EF4-FFF2-40B4-BE49-F238E27FC236}">
                      <a16:creationId xmlns:a16="http://schemas.microsoft.com/office/drawing/2014/main" id="{73FF8F45-C686-3D4E-9541-1D8727406BA0}"/>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TIP: Automatic paragraph spacing</a:t>
                  </a:r>
                </a:p>
              </p:txBody>
            </p:sp>
            <p:pic>
              <p:nvPicPr>
                <p:cNvPr id="24" name="Graphic 23">
                  <a:extLst>
                    <a:ext uri="{FF2B5EF4-FFF2-40B4-BE49-F238E27FC236}">
                      <a16:creationId xmlns:a16="http://schemas.microsoft.com/office/drawing/2014/main" id="{CB005880-BCA3-A74D-BFE6-ECE18F5208A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25" name="TextBox 24">
                  <a:extLst>
                    <a:ext uri="{FF2B5EF4-FFF2-40B4-BE49-F238E27FC236}">
                      <a16:creationId xmlns:a16="http://schemas.microsoft.com/office/drawing/2014/main" id="{6D7CFF09-C588-D946-9376-69CEAE13234B}"/>
                    </a:ext>
                  </a:extLst>
                </p:cNvPr>
                <p:cNvSpPr txBox="1"/>
                <p:nvPr userDrawn="1"/>
              </p:nvSpPr>
              <p:spPr>
                <a:xfrm>
                  <a:off x="9471806" y="5300350"/>
                  <a:ext cx="2271204" cy="553998"/>
                </a:xfrm>
                <a:prstGeom prst="rect">
                  <a:avLst/>
                </a:prstGeom>
              </p:spPr>
              <p:txBody>
                <a:bodyPr vert="horz" wrap="square" lIns="0" tIns="0" rIns="0" bIns="0" rtlCol="0" anchor="t">
                  <a:spAutoFit/>
                </a:bodyPr>
                <a:lstStyle>
                  <a:defPPr>
                    <a:defRPr lang="en-US"/>
                  </a:defPPr>
                  <a:lvl1pPr>
                    <a:spcBef>
                      <a:spcPts val="200"/>
                    </a:spcBef>
                    <a:defRPr sz="900">
                      <a:solidFill>
                        <a:schemeClr val="tx1">
                          <a:lumMod val="50000"/>
                          <a:lumOff val="50000"/>
                        </a:schemeClr>
                      </a:solidFill>
                      <a:latin typeface="Arial" charset="0"/>
                      <a:ea typeface="Arial" charset="0"/>
                      <a:cs typeface="Arial" charset="0"/>
                    </a:defRPr>
                  </a:lvl1pPr>
                  <a:lvl2pPr marL="149225" lvl="1" indent="-149225">
                    <a:spcBef>
                      <a:spcPts val="200"/>
                    </a:spcBef>
                    <a:spcAft>
                      <a:spcPts val="0"/>
                    </a:spcAft>
                    <a:defRPr sz="900">
                      <a:solidFill>
                        <a:schemeClr val="tx1">
                          <a:lumMod val="50000"/>
                          <a:lumOff val="50000"/>
                        </a:schemeClr>
                      </a:solidFill>
                      <a:latin typeface="Arial" charset="0"/>
                      <a:ea typeface="Arial" charset="0"/>
                      <a:cs typeface="Arial" charset="0"/>
                    </a:defRPr>
                  </a:lvl2pPr>
                </a:lstStyle>
                <a:p>
                  <a:r>
                    <a:rPr lang="en-US" sz="900"/>
                    <a:t>This template automatically adds paragraph spacing between first-level text paragraphs. When pasting in content, remember to delete any extra blank lines from your text.</a:t>
                  </a:r>
                </a:p>
              </p:txBody>
            </p:sp>
          </p:grpSp>
          <p:grpSp>
            <p:nvGrpSpPr>
              <p:cNvPr id="49" name="Group 48">
                <a:extLst>
                  <a:ext uri="{FF2B5EF4-FFF2-40B4-BE49-F238E27FC236}">
                    <a16:creationId xmlns:a16="http://schemas.microsoft.com/office/drawing/2014/main" id="{942737E0-D794-DF4D-B7C0-6CAEC1A43DF9}"/>
                  </a:ext>
                </a:extLst>
              </p:cNvPr>
              <p:cNvGrpSpPr/>
              <p:nvPr userDrawn="1"/>
            </p:nvGrpSpPr>
            <p:grpSpPr>
              <a:xfrm>
                <a:off x="9832250" y="3569700"/>
                <a:ext cx="2074000" cy="1627918"/>
                <a:chOff x="9832250" y="3617325"/>
                <a:chExt cx="2074000" cy="1627918"/>
              </a:xfrm>
            </p:grpSpPr>
            <p:pic>
              <p:nvPicPr>
                <p:cNvPr id="42" name="Picture 41">
                  <a:extLst>
                    <a:ext uri="{FF2B5EF4-FFF2-40B4-BE49-F238E27FC236}">
                      <a16:creationId xmlns:a16="http://schemas.microsoft.com/office/drawing/2014/main" id="{06E7651E-8190-B943-9721-400134189D67}"/>
                    </a:ext>
                  </a:extLst>
                </p:cNvPr>
                <p:cNvPicPr>
                  <a:picLocks noChangeAspect="1"/>
                </p:cNvPicPr>
                <p:nvPr userDrawn="1"/>
              </p:nvPicPr>
              <p:blipFill>
                <a:blip r:embed="rId6"/>
                <a:stretch>
                  <a:fillRect/>
                </a:stretch>
              </p:blipFill>
              <p:spPr>
                <a:xfrm>
                  <a:off x="10075660" y="3617325"/>
                  <a:ext cx="1830590" cy="1627918"/>
                </a:xfrm>
                <a:prstGeom prst="rect">
                  <a:avLst/>
                </a:prstGeom>
              </p:spPr>
            </p:pic>
            <p:cxnSp>
              <p:nvCxnSpPr>
                <p:cNvPr id="44" name="Straight Connector 43">
                  <a:extLst>
                    <a:ext uri="{FF2B5EF4-FFF2-40B4-BE49-F238E27FC236}">
                      <a16:creationId xmlns:a16="http://schemas.microsoft.com/office/drawing/2014/main" id="{6A6779F1-2A60-A14F-9868-14C42F8A7876}"/>
                    </a:ext>
                  </a:extLst>
                </p:cNvPr>
                <p:cNvCxnSpPr>
                  <a:cxnSpLocks/>
                </p:cNvCxnSpPr>
                <p:nvPr userDrawn="1"/>
              </p:nvCxnSpPr>
              <p:spPr>
                <a:xfrm>
                  <a:off x="10147060" y="3825943"/>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04D2FEFE-94D7-2F4D-B902-718C10873F5D}"/>
                    </a:ext>
                  </a:extLst>
                </p:cNvPr>
                <p:cNvCxnSpPr>
                  <a:cxnSpLocks/>
                </p:cNvCxnSpPr>
                <p:nvPr userDrawn="1"/>
              </p:nvCxnSpPr>
              <p:spPr>
                <a:xfrm>
                  <a:off x="10147060" y="4714218"/>
                  <a:ext cx="0" cy="186966"/>
                </a:xfrm>
                <a:prstGeom prst="line">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BFD489AF-FA3E-5644-86FC-3A5B05E7B94F}"/>
                    </a:ext>
                  </a:extLst>
                </p:cNvPr>
                <p:cNvSpPr txBox="1"/>
                <p:nvPr userDrawn="1"/>
              </p:nvSpPr>
              <p:spPr>
                <a:xfrm>
                  <a:off x="9832250" y="3828243"/>
                  <a:ext cx="257282" cy="184666"/>
                </a:xfrm>
                <a:prstGeom prst="rect">
                  <a:avLst/>
                </a:prstGeom>
              </p:spPr>
              <p:txBody>
                <a:bodyPr vert="horz" wrap="none" lIns="0" tIns="0" rIns="0" bIns="0" rtlCol="0" anchor="t">
                  <a:spAutoFit/>
                </a:bodyPr>
                <a:lstStyle/>
                <a:p>
                  <a:pPr algn="r"/>
                  <a:r>
                    <a:rPr lang="en-US" sz="600">
                      <a:solidFill>
                        <a:schemeClr val="tx1">
                          <a:lumMod val="50000"/>
                          <a:lumOff val="50000"/>
                        </a:schemeClr>
                      </a:solidFill>
                      <a:latin typeface="Arial" charset="0"/>
                      <a:ea typeface="Arial" charset="0"/>
                      <a:cs typeface="Arial" charset="0"/>
                    </a:rPr>
                    <a:t>Automatic</a:t>
                  </a:r>
                  <a:br>
                    <a:rPr lang="en-US" sz="600">
                      <a:solidFill>
                        <a:schemeClr val="tx1">
                          <a:lumMod val="50000"/>
                          <a:lumOff val="50000"/>
                        </a:schemeClr>
                      </a:solidFill>
                      <a:latin typeface="Arial" charset="0"/>
                      <a:ea typeface="Arial" charset="0"/>
                      <a:cs typeface="Arial" charset="0"/>
                    </a:rPr>
                  </a:br>
                  <a:r>
                    <a:rPr lang="en-US" sz="600">
                      <a:solidFill>
                        <a:schemeClr val="tx1">
                          <a:lumMod val="50000"/>
                          <a:lumOff val="50000"/>
                        </a:schemeClr>
                      </a:solidFill>
                      <a:latin typeface="Arial" charset="0"/>
                      <a:ea typeface="Arial" charset="0"/>
                      <a:cs typeface="Arial" charset="0"/>
                    </a:rPr>
                    <a:t>space</a:t>
                  </a:r>
                </a:p>
              </p:txBody>
            </p:sp>
            <p:sp>
              <p:nvSpPr>
                <p:cNvPr id="48" name="TextBox 47">
                  <a:extLst>
                    <a:ext uri="{FF2B5EF4-FFF2-40B4-BE49-F238E27FC236}">
                      <a16:creationId xmlns:a16="http://schemas.microsoft.com/office/drawing/2014/main" id="{B0708852-B6D4-5043-86A8-0181B47AF502}"/>
                    </a:ext>
                  </a:extLst>
                </p:cNvPr>
                <p:cNvSpPr txBox="1"/>
                <p:nvPr userDrawn="1"/>
              </p:nvSpPr>
              <p:spPr>
                <a:xfrm>
                  <a:off x="9832250" y="4721742"/>
                  <a:ext cx="257282" cy="184666"/>
                </a:xfrm>
                <a:prstGeom prst="rect">
                  <a:avLst/>
                </a:prstGeom>
              </p:spPr>
              <p:txBody>
                <a:bodyPr vert="horz" wrap="none" lIns="0" tIns="0" rIns="0" bIns="0" rtlCol="0" anchor="t">
                  <a:spAutoFit/>
                </a:bodyPr>
                <a:lstStyle/>
                <a:p>
                  <a:pPr algn="r"/>
                  <a:r>
                    <a:rPr lang="en-US" sz="600">
                      <a:solidFill>
                        <a:schemeClr val="tx1">
                          <a:lumMod val="50000"/>
                          <a:lumOff val="50000"/>
                        </a:schemeClr>
                      </a:solidFill>
                      <a:latin typeface="Arial" charset="0"/>
                      <a:ea typeface="Arial" charset="0"/>
                      <a:cs typeface="Arial" charset="0"/>
                    </a:rPr>
                    <a:t>Automatic</a:t>
                  </a:r>
                  <a:br>
                    <a:rPr lang="en-US" sz="600">
                      <a:solidFill>
                        <a:schemeClr val="tx1">
                          <a:lumMod val="50000"/>
                          <a:lumOff val="50000"/>
                        </a:schemeClr>
                      </a:solidFill>
                      <a:latin typeface="Arial" charset="0"/>
                      <a:ea typeface="Arial" charset="0"/>
                      <a:cs typeface="Arial" charset="0"/>
                    </a:rPr>
                  </a:br>
                  <a:r>
                    <a:rPr lang="en-US" sz="600">
                      <a:solidFill>
                        <a:schemeClr val="tx1">
                          <a:lumMod val="50000"/>
                          <a:lumOff val="50000"/>
                        </a:schemeClr>
                      </a:solidFill>
                      <a:latin typeface="Arial" charset="0"/>
                      <a:ea typeface="Arial" charset="0"/>
                      <a:cs typeface="Arial" charset="0"/>
                    </a:rPr>
                    <a:t>space</a:t>
                  </a:r>
                </a:p>
              </p:txBody>
            </p:sp>
          </p:grpSp>
        </p:grpSp>
        <p:grpSp>
          <p:nvGrpSpPr>
            <p:cNvPr id="5" name="Group 4">
              <a:extLst>
                <a:ext uri="{FF2B5EF4-FFF2-40B4-BE49-F238E27FC236}">
                  <a16:creationId xmlns:a16="http://schemas.microsoft.com/office/drawing/2014/main" id="{D90F7566-5DFC-224D-B550-F17C772A4956}"/>
                </a:ext>
              </a:extLst>
            </p:cNvPr>
            <p:cNvGrpSpPr/>
            <p:nvPr userDrawn="1"/>
          </p:nvGrpSpPr>
          <p:grpSpPr>
            <a:xfrm>
              <a:off x="9558506" y="2409506"/>
              <a:ext cx="2639327" cy="684608"/>
              <a:chOff x="9558506" y="2476806"/>
              <a:chExt cx="2639327" cy="684608"/>
            </a:xfrm>
          </p:grpSpPr>
          <p:pic>
            <p:nvPicPr>
              <p:cNvPr id="3" name="Picture 2">
                <a:extLst>
                  <a:ext uri="{FF2B5EF4-FFF2-40B4-BE49-F238E27FC236}">
                    <a16:creationId xmlns:a16="http://schemas.microsoft.com/office/drawing/2014/main" id="{740B4C7C-60B8-0147-B275-9FA9F934BCF0}"/>
                  </a:ext>
                </a:extLst>
              </p:cNvPr>
              <p:cNvPicPr>
                <a:picLocks noChangeAspect="1"/>
              </p:cNvPicPr>
              <p:nvPr userDrawn="1"/>
            </p:nvPicPr>
            <p:blipFill rotWithShape="1">
              <a:blip r:embed="rId7"/>
              <a:srcRect r="23484"/>
              <a:stretch/>
            </p:blipFill>
            <p:spPr>
              <a:xfrm>
                <a:off x="10441172" y="2476806"/>
                <a:ext cx="1756661" cy="684608"/>
              </a:xfrm>
              <a:prstGeom prst="rect">
                <a:avLst/>
              </a:prstGeom>
            </p:spPr>
          </p:pic>
          <p:sp>
            <p:nvSpPr>
              <p:cNvPr id="4" name="Rectangle 3">
                <a:extLst>
                  <a:ext uri="{FF2B5EF4-FFF2-40B4-BE49-F238E27FC236}">
                    <a16:creationId xmlns:a16="http://schemas.microsoft.com/office/drawing/2014/main" id="{F0185F31-1C0F-C84F-82F7-CDE92D5E8462}"/>
                  </a:ext>
                </a:extLst>
              </p:cNvPr>
              <p:cNvSpPr/>
              <p:nvPr userDrawn="1"/>
            </p:nvSpPr>
            <p:spPr>
              <a:xfrm>
                <a:off x="9558506" y="2476806"/>
                <a:ext cx="882666" cy="684608"/>
              </a:xfrm>
              <a:prstGeom prst="rect">
                <a:avLst/>
              </a:prstGeom>
              <a:solidFill>
                <a:schemeClr val="bg2">
                  <a:alpha val="1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1" name="TextBox 50">
                <a:extLst>
                  <a:ext uri="{FF2B5EF4-FFF2-40B4-BE49-F238E27FC236}">
                    <a16:creationId xmlns:a16="http://schemas.microsoft.com/office/drawing/2014/main" id="{AD7D6324-A232-CF4B-A35D-7883E63DC01B}"/>
                  </a:ext>
                </a:extLst>
              </p:cNvPr>
              <p:cNvSpPr txBox="1"/>
              <p:nvPr userDrawn="1"/>
            </p:nvSpPr>
            <p:spPr>
              <a:xfrm>
                <a:off x="9635558" y="2549805"/>
                <a:ext cx="676269" cy="430887"/>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700" kern="1200">
                    <a:solidFill>
                      <a:schemeClr val="bg1"/>
                    </a:solidFill>
                    <a:latin typeface="+mn-lt"/>
                    <a:ea typeface="+mn-ea"/>
                    <a:cs typeface="+mn-cs"/>
                  </a:rPr>
                  <a:t>Note: </a:t>
                </a:r>
                <a:br>
                  <a:rPr lang="en-US" sz="700" kern="1200">
                    <a:solidFill>
                      <a:schemeClr val="bg1"/>
                    </a:solidFill>
                    <a:latin typeface="+mn-lt"/>
                    <a:ea typeface="+mn-ea"/>
                    <a:cs typeface="+mn-cs"/>
                  </a:rPr>
                </a:br>
                <a:r>
                  <a:rPr lang="en-US" sz="700" kern="1200">
                    <a:solidFill>
                      <a:schemeClr val="bg1"/>
                    </a:solidFill>
                    <a:latin typeface="+mn-lt"/>
                    <a:ea typeface="+mn-ea"/>
                    <a:cs typeface="+mn-cs"/>
                  </a:rPr>
                  <a:t>For numbered lists, see the most up-to-date Asset File.</a:t>
                </a:r>
              </a:p>
            </p:txBody>
          </p:sp>
        </p:grpSp>
        <p:grpSp>
          <p:nvGrpSpPr>
            <p:cNvPr id="2" name="Group 1">
              <a:extLst>
                <a:ext uri="{FF2B5EF4-FFF2-40B4-BE49-F238E27FC236}">
                  <a16:creationId xmlns:a16="http://schemas.microsoft.com/office/drawing/2014/main" id="{0DACB142-1234-41D1-A255-A168CB3FBFEC}"/>
                </a:ext>
              </a:extLst>
            </p:cNvPr>
            <p:cNvGrpSpPr/>
            <p:nvPr userDrawn="1"/>
          </p:nvGrpSpPr>
          <p:grpSpPr>
            <a:xfrm>
              <a:off x="9554253" y="2414886"/>
              <a:ext cx="2819399" cy="1181890"/>
              <a:chOff x="9541498" y="3352649"/>
              <a:chExt cx="2819399" cy="1181890"/>
            </a:xfrm>
          </p:grpSpPr>
          <p:grpSp>
            <p:nvGrpSpPr>
              <p:cNvPr id="34" name="Group 33">
                <a:extLst>
                  <a:ext uri="{FF2B5EF4-FFF2-40B4-BE49-F238E27FC236}">
                    <a16:creationId xmlns:a16="http://schemas.microsoft.com/office/drawing/2014/main" id="{68589F60-2D66-4B46-AE58-9B3DF45E0D04}"/>
                  </a:ext>
                </a:extLst>
              </p:cNvPr>
              <p:cNvGrpSpPr/>
              <p:nvPr userDrawn="1"/>
            </p:nvGrpSpPr>
            <p:grpSpPr>
              <a:xfrm>
                <a:off x="9541498" y="3352649"/>
                <a:ext cx="2735150" cy="1181890"/>
                <a:chOff x="9541498" y="3751132"/>
                <a:chExt cx="2735150" cy="1181890"/>
              </a:xfrm>
            </p:grpSpPr>
            <p:grpSp>
              <p:nvGrpSpPr>
                <p:cNvPr id="35" name="Group 34">
                  <a:extLst>
                    <a:ext uri="{FF2B5EF4-FFF2-40B4-BE49-F238E27FC236}">
                      <a16:creationId xmlns:a16="http://schemas.microsoft.com/office/drawing/2014/main" id="{2FD0186C-A219-4155-8D46-C05A3751B2ED}"/>
                    </a:ext>
                  </a:extLst>
                </p:cNvPr>
                <p:cNvGrpSpPr/>
                <p:nvPr userDrawn="1"/>
              </p:nvGrpSpPr>
              <p:grpSpPr>
                <a:xfrm>
                  <a:off x="9541498" y="3751132"/>
                  <a:ext cx="2735150" cy="1181890"/>
                  <a:chOff x="9296568" y="4910411"/>
                  <a:chExt cx="2735150" cy="1181890"/>
                </a:xfrm>
              </p:grpSpPr>
              <p:sp>
                <p:nvSpPr>
                  <p:cNvPr id="37" name="Rectangle 36">
                    <a:extLst>
                      <a:ext uri="{FF2B5EF4-FFF2-40B4-BE49-F238E27FC236}">
                        <a16:creationId xmlns:a16="http://schemas.microsoft.com/office/drawing/2014/main" id="{5F54F593-ABB9-4B7D-9C12-B4429591BE5A}"/>
                      </a:ext>
                    </a:extLst>
                  </p:cNvPr>
                  <p:cNvSpPr/>
                  <p:nvPr userDrawn="1"/>
                </p:nvSpPr>
                <p:spPr>
                  <a:xfrm>
                    <a:off x="9296568" y="4910411"/>
                    <a:ext cx="2735150" cy="1181890"/>
                  </a:xfrm>
                  <a:prstGeom prst="rect">
                    <a:avLst/>
                  </a:prstGeom>
                  <a:solidFill>
                    <a:srgbClr val="FFFADF"/>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8" name="TextBox 37">
                    <a:extLst>
                      <a:ext uri="{FF2B5EF4-FFF2-40B4-BE49-F238E27FC236}">
                        <a16:creationId xmlns:a16="http://schemas.microsoft.com/office/drawing/2014/main" id="{A62EE7AD-C4E7-4E65-AECC-33E75355E5A7}"/>
                      </a:ext>
                    </a:extLst>
                  </p:cNvPr>
                  <p:cNvSpPr txBox="1"/>
                  <p:nvPr userDrawn="1"/>
                </p:nvSpPr>
                <p:spPr>
                  <a:xfrm>
                    <a:off x="9662758" y="5046087"/>
                    <a:ext cx="2211394" cy="169277"/>
                  </a:xfrm>
                  <a:prstGeom prst="rect">
                    <a:avLst/>
                  </a:prstGeom>
                </p:spPr>
                <p:txBody>
                  <a:bodyPr vert="horz" wrap="square" lIns="0" tIns="0" rIns="0" bIns="0" rtlCol="0" anchor="t">
                    <a:spAutoFit/>
                  </a:bodyPr>
                  <a:lstStyle/>
                  <a:p>
                    <a:pPr algn="l"/>
                    <a:r>
                      <a:rPr lang="en-US" sz="1100">
                        <a:solidFill>
                          <a:schemeClr val="accent2"/>
                        </a:solidFill>
                        <a:latin typeface="Arial" charset="0"/>
                        <a:ea typeface="Arial" charset="0"/>
                        <a:cs typeface="Arial" charset="0"/>
                      </a:rPr>
                      <a:t>Numbered lists</a:t>
                    </a:r>
                  </a:p>
                </p:txBody>
              </p:sp>
              <p:sp>
                <p:nvSpPr>
                  <p:cNvPr id="40" name="TextBox 39">
                    <a:extLst>
                      <a:ext uri="{FF2B5EF4-FFF2-40B4-BE49-F238E27FC236}">
                        <a16:creationId xmlns:a16="http://schemas.microsoft.com/office/drawing/2014/main" id="{93DB76AE-3F4F-4A19-B966-91F70FF0FAD9}"/>
                      </a:ext>
                    </a:extLst>
                  </p:cNvPr>
                  <p:cNvSpPr txBox="1"/>
                  <p:nvPr userDrawn="1"/>
                </p:nvSpPr>
                <p:spPr>
                  <a:xfrm>
                    <a:off x="9471806" y="5300350"/>
                    <a:ext cx="964050" cy="553998"/>
                  </a:xfrm>
                  <a:prstGeom prst="rect">
                    <a:avLst/>
                  </a:prstGeom>
                </p:spPr>
                <p:txBody>
                  <a:bodyPr vert="horz" wrap="square" lIns="0" tIns="0" rIns="0" bIns="0" rtlCol="0" anchor="t">
                    <a:spAutoFit/>
                  </a:bodyPr>
                  <a:lstStyle/>
                  <a:p>
                    <a:pPr>
                      <a:spcBef>
                        <a:spcPts val="200"/>
                      </a:spcBef>
                    </a:pPr>
                    <a:r>
                      <a:rPr lang="en-US" sz="900">
                        <a:solidFill>
                          <a:schemeClr val="tx1">
                            <a:lumMod val="65000"/>
                            <a:lumOff val="35000"/>
                          </a:schemeClr>
                        </a:solidFill>
                        <a:latin typeface="Arial" charset="0"/>
                        <a:ea typeface="Arial" charset="0"/>
                        <a:cs typeface="Arial" charset="0"/>
                      </a:rPr>
                      <a:t>For instruction on formatting numbered lists, see the most up-to-date Asset File.</a:t>
                    </a:r>
                  </a:p>
                </p:txBody>
              </p:sp>
            </p:grpSp>
            <p:pic>
              <p:nvPicPr>
                <p:cNvPr id="36" name="Graphic 35">
                  <a:extLst>
                    <a:ext uri="{FF2B5EF4-FFF2-40B4-BE49-F238E27FC236}">
                      <a16:creationId xmlns:a16="http://schemas.microsoft.com/office/drawing/2014/main" id="{32568DFB-2F01-47B2-BE59-F2DE9D01499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686425" y="3891259"/>
                  <a:ext cx="170340" cy="170340"/>
                </a:xfrm>
                <a:prstGeom prst="rect">
                  <a:avLst/>
                </a:prstGeom>
              </p:spPr>
            </p:pic>
          </p:grpSp>
          <p:pic>
            <p:nvPicPr>
              <p:cNvPr id="41" name="Picture 40">
                <a:extLst>
                  <a:ext uri="{FF2B5EF4-FFF2-40B4-BE49-F238E27FC236}">
                    <a16:creationId xmlns:a16="http://schemas.microsoft.com/office/drawing/2014/main" id="{29414905-E52D-4947-8B5C-2CE4F2F3689A}"/>
                  </a:ext>
                </a:extLst>
              </p:cNvPr>
              <p:cNvPicPr>
                <a:picLocks noChangeAspect="1"/>
              </p:cNvPicPr>
              <p:nvPr userDrawn="1"/>
            </p:nvPicPr>
            <p:blipFill rotWithShape="1">
              <a:blip r:embed="rId7"/>
              <a:srcRect r="30584"/>
              <a:stretch/>
            </p:blipFill>
            <p:spPr>
              <a:xfrm>
                <a:off x="10767220" y="3758285"/>
                <a:ext cx="1593677" cy="684608"/>
              </a:xfrm>
              <a:prstGeom prst="rect">
                <a:avLst/>
              </a:prstGeom>
              <a:solidFill>
                <a:srgbClr val="FFFADF"/>
              </a:solidFill>
              <a:ln w="25400">
                <a:solidFill>
                  <a:schemeClr val="tx1">
                    <a:lumMod val="65000"/>
                    <a:lumOff val="35000"/>
                  </a:schemeClr>
                </a:solidFill>
              </a:ln>
            </p:spPr>
          </p:pic>
        </p:grpSp>
      </p:grpSp>
    </p:spTree>
    <p:extLst>
      <p:ext uri="{BB962C8B-B14F-4D97-AF65-F5344CB8AC3E}">
        <p14:creationId xmlns:p14="http://schemas.microsoft.com/office/powerpoint/2010/main" val="1436136055"/>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Q+A (Photo)">
    <p:bg>
      <p:bgPr>
        <a:solidFill>
          <a:schemeClr val="bg1"/>
        </a:solidFill>
        <a:effectLst/>
      </p:bgPr>
    </p:bg>
    <p:spTree>
      <p:nvGrpSpPr>
        <p:cNvPr id="1" name=""/>
        <p:cNvGrpSpPr/>
        <p:nvPr/>
      </p:nvGrpSpPr>
      <p:grpSpPr>
        <a:xfrm>
          <a:off x="0" y="0"/>
          <a:ext cx="0" cy="0"/>
          <a:chOff x="0" y="0"/>
          <a:chExt cx="0" cy="0"/>
        </a:xfrm>
      </p:grpSpPr>
      <p:sp>
        <p:nvSpPr>
          <p:cNvPr id="61" name="Picture Placeholder 60">
            <a:extLst>
              <a:ext uri="{FF2B5EF4-FFF2-40B4-BE49-F238E27FC236}">
                <a16:creationId xmlns:a16="http://schemas.microsoft.com/office/drawing/2014/main" id="{123A1A90-4696-7C42-B7AA-8B8C9D33FA1E}"/>
              </a:ext>
            </a:extLst>
          </p:cNvPr>
          <p:cNvSpPr>
            <a:spLocks noGrp="1"/>
          </p:cNvSpPr>
          <p:nvPr>
            <p:ph type="pic" sz="quarter" idx="10" hasCustomPrompt="1"/>
          </p:nvPr>
        </p:nvSpPr>
        <p:spPr>
          <a:xfrm>
            <a:off x="0" y="0"/>
            <a:ext cx="12192000" cy="6858000"/>
          </a:xfrm>
          <a:custGeom>
            <a:avLst/>
            <a:gdLst>
              <a:gd name="connsiteX0" fmla="*/ 8381735 w 9144000"/>
              <a:gd name="connsiteY0" fmla="*/ 6576022 h 6858000"/>
              <a:gd name="connsiteX1" fmla="*/ 8398942 w 9144000"/>
              <a:gd name="connsiteY1" fmla="*/ 6577877 h 6858000"/>
              <a:gd name="connsiteX2" fmla="*/ 8407847 w 9144000"/>
              <a:gd name="connsiteY2" fmla="*/ 6584666 h 6858000"/>
              <a:gd name="connsiteX3" fmla="*/ 8413547 w 9144000"/>
              <a:gd name="connsiteY3" fmla="*/ 6594991 h 6858000"/>
              <a:gd name="connsiteX4" fmla="*/ 8415584 w 9144000"/>
              <a:gd name="connsiteY4" fmla="*/ 6608203 h 6858000"/>
              <a:gd name="connsiteX5" fmla="*/ 8413646 w 9144000"/>
              <a:gd name="connsiteY5" fmla="*/ 6621274 h 6858000"/>
              <a:gd name="connsiteX6" fmla="*/ 8407947 w 9144000"/>
              <a:gd name="connsiteY6" fmla="*/ 6631669 h 6858000"/>
              <a:gd name="connsiteX7" fmla="*/ 8375887 w 9144000"/>
              <a:gd name="connsiteY7" fmla="*/ 6638514 h 6858000"/>
              <a:gd name="connsiteX8" fmla="*/ 8366910 w 9144000"/>
              <a:gd name="connsiteY8" fmla="*/ 6631669 h 6858000"/>
              <a:gd name="connsiteX9" fmla="*/ 8361211 w 9144000"/>
              <a:gd name="connsiteY9" fmla="*/ 6621274 h 6858000"/>
              <a:gd name="connsiteX10" fmla="*/ 8359045 w 9144000"/>
              <a:gd name="connsiteY10" fmla="*/ 6608203 h 6858000"/>
              <a:gd name="connsiteX11" fmla="*/ 8361097 w 9144000"/>
              <a:gd name="connsiteY11" fmla="*/ 6594991 h 6858000"/>
              <a:gd name="connsiteX12" fmla="*/ 8366796 w 9144000"/>
              <a:gd name="connsiteY12" fmla="*/ 6584666 h 6858000"/>
              <a:gd name="connsiteX13" fmla="*/ 8381735 w 9144000"/>
              <a:gd name="connsiteY13" fmla="*/ 6576022 h 6858000"/>
              <a:gd name="connsiteX14" fmla="*/ 8525633 w 9144000"/>
              <a:gd name="connsiteY14" fmla="*/ 6553486 h 6858000"/>
              <a:gd name="connsiteX15" fmla="*/ 8525633 w 9144000"/>
              <a:gd name="connsiteY15" fmla="*/ 6599432 h 6858000"/>
              <a:gd name="connsiteX16" fmla="*/ 8525633 w 9144000"/>
              <a:gd name="connsiteY16" fmla="*/ 6662773 h 6858000"/>
              <a:gd name="connsiteX17" fmla="*/ 8595623 w 9144000"/>
              <a:gd name="connsiteY17" fmla="*/ 6662773 h 6858000"/>
              <a:gd name="connsiteX18" fmla="*/ 8596022 w 9144000"/>
              <a:gd name="connsiteY18" fmla="*/ 6662773 h 6858000"/>
              <a:gd name="connsiteX19" fmla="*/ 8596022 w 9144000"/>
              <a:gd name="connsiteY19" fmla="*/ 6645772 h 6858000"/>
              <a:gd name="connsiteX20" fmla="*/ 8595623 w 9144000"/>
              <a:gd name="connsiteY20" fmla="*/ 6645772 h 6858000"/>
              <a:gd name="connsiteX21" fmla="*/ 8595623 w 9144000"/>
              <a:gd name="connsiteY21" fmla="*/ 6639674 h 6858000"/>
              <a:gd name="connsiteX22" fmla="*/ 8551295 w 9144000"/>
              <a:gd name="connsiteY22" fmla="*/ 6639674 h 6858000"/>
              <a:gd name="connsiteX23" fmla="*/ 8551295 w 9144000"/>
              <a:gd name="connsiteY23" fmla="*/ 6618349 h 6858000"/>
              <a:gd name="connsiteX24" fmla="*/ 8591705 w 9144000"/>
              <a:gd name="connsiteY24" fmla="*/ 6618349 h 6858000"/>
              <a:gd name="connsiteX25" fmla="*/ 8591705 w 9144000"/>
              <a:gd name="connsiteY25" fmla="*/ 6596277 h 6858000"/>
              <a:gd name="connsiteX26" fmla="*/ 8551295 w 9144000"/>
              <a:gd name="connsiteY26" fmla="*/ 6596277 h 6858000"/>
              <a:gd name="connsiteX27" fmla="*/ 8551295 w 9144000"/>
              <a:gd name="connsiteY27" fmla="*/ 6576755 h 6858000"/>
              <a:gd name="connsiteX28" fmla="*/ 8595623 w 9144000"/>
              <a:gd name="connsiteY28" fmla="*/ 6576755 h 6858000"/>
              <a:gd name="connsiteX29" fmla="*/ 8595623 w 9144000"/>
              <a:gd name="connsiteY29" fmla="*/ 6570487 h 6858000"/>
              <a:gd name="connsiteX30" fmla="*/ 8596022 w 9144000"/>
              <a:gd name="connsiteY30" fmla="*/ 6570487 h 6858000"/>
              <a:gd name="connsiteX31" fmla="*/ 8596022 w 9144000"/>
              <a:gd name="connsiteY31" fmla="*/ 6553486 h 6858000"/>
              <a:gd name="connsiteX32" fmla="*/ 8595623 w 9144000"/>
              <a:gd name="connsiteY32" fmla="*/ 6553486 h 6858000"/>
              <a:gd name="connsiteX33" fmla="*/ 8547362 w 9144000"/>
              <a:gd name="connsiteY33" fmla="*/ 6553486 h 6858000"/>
              <a:gd name="connsiteX34" fmla="*/ 8448177 w 9144000"/>
              <a:gd name="connsiteY34" fmla="*/ 6553486 h 6858000"/>
              <a:gd name="connsiteX35" fmla="*/ 8448177 w 9144000"/>
              <a:gd name="connsiteY35" fmla="*/ 6599432 h 6858000"/>
              <a:gd name="connsiteX36" fmla="*/ 8448177 w 9144000"/>
              <a:gd name="connsiteY36" fmla="*/ 6662773 h 6858000"/>
              <a:gd name="connsiteX37" fmla="*/ 8518167 w 9144000"/>
              <a:gd name="connsiteY37" fmla="*/ 6662773 h 6858000"/>
              <a:gd name="connsiteX38" fmla="*/ 8518552 w 9144000"/>
              <a:gd name="connsiteY38" fmla="*/ 6662773 h 6858000"/>
              <a:gd name="connsiteX39" fmla="*/ 8518552 w 9144000"/>
              <a:gd name="connsiteY39" fmla="*/ 6645772 h 6858000"/>
              <a:gd name="connsiteX40" fmla="*/ 8518167 w 9144000"/>
              <a:gd name="connsiteY40" fmla="*/ 6645772 h 6858000"/>
              <a:gd name="connsiteX41" fmla="*/ 8518167 w 9144000"/>
              <a:gd name="connsiteY41" fmla="*/ 6639674 h 6858000"/>
              <a:gd name="connsiteX42" fmla="*/ 8473825 w 9144000"/>
              <a:gd name="connsiteY42" fmla="*/ 6639674 h 6858000"/>
              <a:gd name="connsiteX43" fmla="*/ 8473825 w 9144000"/>
              <a:gd name="connsiteY43" fmla="*/ 6618349 h 6858000"/>
              <a:gd name="connsiteX44" fmla="*/ 8514235 w 9144000"/>
              <a:gd name="connsiteY44" fmla="*/ 6618349 h 6858000"/>
              <a:gd name="connsiteX45" fmla="*/ 8514235 w 9144000"/>
              <a:gd name="connsiteY45" fmla="*/ 6596277 h 6858000"/>
              <a:gd name="connsiteX46" fmla="*/ 8473825 w 9144000"/>
              <a:gd name="connsiteY46" fmla="*/ 6596277 h 6858000"/>
              <a:gd name="connsiteX47" fmla="*/ 8473825 w 9144000"/>
              <a:gd name="connsiteY47" fmla="*/ 6576755 h 6858000"/>
              <a:gd name="connsiteX48" fmla="*/ 8518167 w 9144000"/>
              <a:gd name="connsiteY48" fmla="*/ 6576755 h 6858000"/>
              <a:gd name="connsiteX49" fmla="*/ 8518167 w 9144000"/>
              <a:gd name="connsiteY49" fmla="*/ 6570487 h 6858000"/>
              <a:gd name="connsiteX50" fmla="*/ 8518552 w 9144000"/>
              <a:gd name="connsiteY50" fmla="*/ 6570487 h 6858000"/>
              <a:gd name="connsiteX51" fmla="*/ 8518552 w 9144000"/>
              <a:gd name="connsiteY51" fmla="*/ 6553486 h 6858000"/>
              <a:gd name="connsiteX52" fmla="*/ 8518167 w 9144000"/>
              <a:gd name="connsiteY52" fmla="*/ 6553486 h 6858000"/>
              <a:gd name="connsiteX53" fmla="*/ 8469892 w 9144000"/>
              <a:gd name="connsiteY53" fmla="*/ 6553486 h 6858000"/>
              <a:gd name="connsiteX54" fmla="*/ 8387913 w 9144000"/>
              <a:gd name="connsiteY54" fmla="*/ 6553453 h 6858000"/>
              <a:gd name="connsiteX55" fmla="*/ 8365286 w 9144000"/>
              <a:gd name="connsiteY55" fmla="*/ 6557679 h 6858000"/>
              <a:gd name="connsiteX56" fmla="*/ 8357150 w 9144000"/>
              <a:gd name="connsiteY56" fmla="*/ 6561806 h 6858000"/>
              <a:gd name="connsiteX57" fmla="*/ 8332784 w 9144000"/>
              <a:gd name="connsiteY57" fmla="*/ 6613372 h 6858000"/>
              <a:gd name="connsiteX58" fmla="*/ 8336389 w 9144000"/>
              <a:gd name="connsiteY58" fmla="*/ 6629852 h 6858000"/>
              <a:gd name="connsiteX59" fmla="*/ 8364431 w 9144000"/>
              <a:gd name="connsiteY59" fmla="*/ 6658585 h 6858000"/>
              <a:gd name="connsiteX60" fmla="*/ 8386916 w 9144000"/>
              <a:gd name="connsiteY60" fmla="*/ 6662811 h 6858000"/>
              <a:gd name="connsiteX61" fmla="*/ 8409486 w 9144000"/>
              <a:gd name="connsiteY61" fmla="*/ 6658585 h 6858000"/>
              <a:gd name="connsiteX62" fmla="*/ 8426926 w 9144000"/>
              <a:gd name="connsiteY62" fmla="*/ 6647106 h 6858000"/>
              <a:gd name="connsiteX63" fmla="*/ 8438240 w 9144000"/>
              <a:gd name="connsiteY63" fmla="*/ 6629852 h 6858000"/>
              <a:gd name="connsiteX64" fmla="*/ 8442258 w 9144000"/>
              <a:gd name="connsiteY64" fmla="*/ 6608203 h 6858000"/>
              <a:gd name="connsiteX65" fmla="*/ 8438397 w 9144000"/>
              <a:gd name="connsiteY65" fmla="*/ 6586469 h 6858000"/>
              <a:gd name="connsiteX66" fmla="*/ 8427439 w 9144000"/>
              <a:gd name="connsiteY66" fmla="*/ 6569158 h 6858000"/>
              <a:gd name="connsiteX67" fmla="*/ 8410341 w 9144000"/>
              <a:gd name="connsiteY67" fmla="*/ 6557679 h 6858000"/>
              <a:gd name="connsiteX68" fmla="*/ 8387913 w 9144000"/>
              <a:gd name="connsiteY68" fmla="*/ 6553453 h 6858000"/>
              <a:gd name="connsiteX69" fmla="*/ 8245203 w 9144000"/>
              <a:gd name="connsiteY69" fmla="*/ 6553106 h 6858000"/>
              <a:gd name="connsiteX70" fmla="*/ 8261546 w 9144000"/>
              <a:gd name="connsiteY70" fmla="*/ 6587178 h 6858000"/>
              <a:gd name="connsiteX71" fmla="*/ 8288505 w 9144000"/>
              <a:gd name="connsiteY71" fmla="*/ 6587178 h 6858000"/>
              <a:gd name="connsiteX72" fmla="*/ 8274156 w 9144000"/>
              <a:gd name="connsiteY72" fmla="*/ 6553106 h 6858000"/>
              <a:gd name="connsiteX73" fmla="*/ 8325053 w 9144000"/>
              <a:gd name="connsiteY73" fmla="*/ 6553092 h 6858000"/>
              <a:gd name="connsiteX74" fmla="*/ 8299363 w 9144000"/>
              <a:gd name="connsiteY74" fmla="*/ 6612222 h 6858000"/>
              <a:gd name="connsiteX75" fmla="*/ 8292395 w 9144000"/>
              <a:gd name="connsiteY75" fmla="*/ 6595883 h 6858000"/>
              <a:gd name="connsiteX76" fmla="*/ 8265650 w 9144000"/>
              <a:gd name="connsiteY76" fmla="*/ 6595883 h 6858000"/>
              <a:gd name="connsiteX77" fmla="*/ 8297582 w 9144000"/>
              <a:gd name="connsiteY77" fmla="*/ 6662548 h 6858000"/>
              <a:gd name="connsiteX78" fmla="*/ 8300545 w 9144000"/>
              <a:gd name="connsiteY78" fmla="*/ 6662548 h 6858000"/>
              <a:gd name="connsiteX79" fmla="*/ 8352283 w 9144000"/>
              <a:gd name="connsiteY79" fmla="*/ 6553092 h 6858000"/>
              <a:gd name="connsiteX80" fmla="*/ 8704282 w 9144000"/>
              <a:gd name="connsiteY80" fmla="*/ 6515554 h 6858000"/>
              <a:gd name="connsiteX81" fmla="*/ 8704282 w 9144000"/>
              <a:gd name="connsiteY81" fmla="*/ 6690482 h 6858000"/>
              <a:gd name="connsiteX82" fmla="*/ 8723671 w 9144000"/>
              <a:gd name="connsiteY82" fmla="*/ 6690482 h 6858000"/>
              <a:gd name="connsiteX83" fmla="*/ 8723671 w 9144000"/>
              <a:gd name="connsiteY83" fmla="*/ 6515554 h 6858000"/>
              <a:gd name="connsiteX84" fmla="*/ 0 w 9144000"/>
              <a:gd name="connsiteY84" fmla="*/ 0 h 6858000"/>
              <a:gd name="connsiteX85" fmla="*/ 9144000 w 9144000"/>
              <a:gd name="connsiteY85" fmla="*/ 0 h 6858000"/>
              <a:gd name="connsiteX86" fmla="*/ 9144000 w 9144000"/>
              <a:gd name="connsiteY86" fmla="*/ 6214681 h 6858000"/>
              <a:gd name="connsiteX87" fmla="*/ 9144000 w 9144000"/>
              <a:gd name="connsiteY87" fmla="*/ 6397151 h 6858000"/>
              <a:gd name="connsiteX88" fmla="*/ 9144000 w 9144000"/>
              <a:gd name="connsiteY88" fmla="*/ 6401792 h 6858000"/>
              <a:gd name="connsiteX89" fmla="*/ 9144000 w 9144000"/>
              <a:gd name="connsiteY89" fmla="*/ 6434962 h 6858000"/>
              <a:gd name="connsiteX90" fmla="*/ 9144000 w 9144000"/>
              <a:gd name="connsiteY90" fmla="*/ 6858000 h 6858000"/>
              <a:gd name="connsiteX91" fmla="*/ 8995529 w 9144000"/>
              <a:gd name="connsiteY91" fmla="*/ 6858000 h 6858000"/>
              <a:gd name="connsiteX92" fmla="*/ 7924718 w 9144000"/>
              <a:gd name="connsiteY92" fmla="*/ 6858000 h 6858000"/>
              <a:gd name="connsiteX93" fmla="*/ 0 w 9144000"/>
              <a:gd name="connsiteY93" fmla="*/ 6858000 h 6858000"/>
              <a:gd name="connsiteX94" fmla="*/ 0 w 9144000"/>
              <a:gd name="connsiteY94" fmla="*/ 6434962 h 6858000"/>
              <a:gd name="connsiteX95" fmla="*/ 0 w 9144000"/>
              <a:gd name="connsiteY95" fmla="*/ 6401792 h 6858000"/>
              <a:gd name="connsiteX96" fmla="*/ 0 w 9144000"/>
              <a:gd name="connsiteY96" fmla="*/ 6397151 h 6858000"/>
              <a:gd name="connsiteX97" fmla="*/ 0 w 9144000"/>
              <a:gd name="connsiteY97" fmla="*/ 62146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144000" h="6858000">
                <a:moveTo>
                  <a:pt x="8381735" y="6576022"/>
                </a:moveTo>
                <a:cubicBezTo>
                  <a:pt x="8387385" y="6574829"/>
                  <a:pt x="8393413" y="6575385"/>
                  <a:pt x="8398942" y="6577877"/>
                </a:cubicBezTo>
                <a:cubicBezTo>
                  <a:pt x="8402361" y="6579495"/>
                  <a:pt x="8405396" y="6581808"/>
                  <a:pt x="8407847" y="6584666"/>
                </a:cubicBezTo>
                <a:cubicBezTo>
                  <a:pt x="8410387" y="6587723"/>
                  <a:pt x="8412320" y="6591226"/>
                  <a:pt x="8413547" y="6594991"/>
                </a:cubicBezTo>
                <a:cubicBezTo>
                  <a:pt x="8414952" y="6599255"/>
                  <a:pt x="8415640" y="6603718"/>
                  <a:pt x="8415584" y="6608203"/>
                </a:cubicBezTo>
                <a:cubicBezTo>
                  <a:pt x="8415665" y="6612635"/>
                  <a:pt x="8415011" y="6617051"/>
                  <a:pt x="8413646" y="6621274"/>
                </a:cubicBezTo>
                <a:cubicBezTo>
                  <a:pt x="8412411" y="6625056"/>
                  <a:pt x="8410478" y="6628580"/>
                  <a:pt x="8407947" y="6631669"/>
                </a:cubicBezTo>
                <a:cubicBezTo>
                  <a:pt x="8399972" y="6640715"/>
                  <a:pt x="8386928" y="6643500"/>
                  <a:pt x="8375887" y="6638514"/>
                </a:cubicBezTo>
                <a:cubicBezTo>
                  <a:pt x="8372423" y="6636911"/>
                  <a:pt x="8369358" y="6634574"/>
                  <a:pt x="8366910" y="6631669"/>
                </a:cubicBezTo>
                <a:cubicBezTo>
                  <a:pt x="8364379" y="6628580"/>
                  <a:pt x="8362446" y="6625056"/>
                  <a:pt x="8361211" y="6621274"/>
                </a:cubicBezTo>
                <a:cubicBezTo>
                  <a:pt x="8359769" y="6617063"/>
                  <a:pt x="8359038" y="6612647"/>
                  <a:pt x="8359045" y="6608203"/>
                </a:cubicBezTo>
                <a:cubicBezTo>
                  <a:pt x="8358993" y="6603717"/>
                  <a:pt x="8359686" y="6599254"/>
                  <a:pt x="8361097" y="6594991"/>
                </a:cubicBezTo>
                <a:cubicBezTo>
                  <a:pt x="8362323" y="6591226"/>
                  <a:pt x="8364257" y="6587723"/>
                  <a:pt x="8366796" y="6584666"/>
                </a:cubicBezTo>
                <a:cubicBezTo>
                  <a:pt x="8370813" y="6580158"/>
                  <a:pt x="8376085" y="6577215"/>
                  <a:pt x="8381735" y="6576022"/>
                </a:cubicBezTo>
                <a:close/>
                <a:moveTo>
                  <a:pt x="8525633" y="6553486"/>
                </a:moveTo>
                <a:lnTo>
                  <a:pt x="8525633" y="6599432"/>
                </a:lnTo>
                <a:lnTo>
                  <a:pt x="8525633" y="6662773"/>
                </a:lnTo>
                <a:lnTo>
                  <a:pt x="8595623" y="6662773"/>
                </a:lnTo>
                <a:lnTo>
                  <a:pt x="8596022" y="6662773"/>
                </a:lnTo>
                <a:lnTo>
                  <a:pt x="8596022" y="6645772"/>
                </a:lnTo>
                <a:lnTo>
                  <a:pt x="8595623" y="6645772"/>
                </a:lnTo>
                <a:lnTo>
                  <a:pt x="8595623" y="6639674"/>
                </a:lnTo>
                <a:lnTo>
                  <a:pt x="8551295" y="6639674"/>
                </a:lnTo>
                <a:lnTo>
                  <a:pt x="8551295" y="6618349"/>
                </a:lnTo>
                <a:lnTo>
                  <a:pt x="8591705" y="6618349"/>
                </a:lnTo>
                <a:lnTo>
                  <a:pt x="8591705" y="6596277"/>
                </a:lnTo>
                <a:lnTo>
                  <a:pt x="8551295" y="6596277"/>
                </a:lnTo>
                <a:lnTo>
                  <a:pt x="8551295" y="6576755"/>
                </a:lnTo>
                <a:lnTo>
                  <a:pt x="8595623" y="6576755"/>
                </a:lnTo>
                <a:lnTo>
                  <a:pt x="8595623" y="6570487"/>
                </a:lnTo>
                <a:lnTo>
                  <a:pt x="8596022" y="6570487"/>
                </a:lnTo>
                <a:lnTo>
                  <a:pt x="8596022" y="6553486"/>
                </a:lnTo>
                <a:lnTo>
                  <a:pt x="8595623" y="6553486"/>
                </a:lnTo>
                <a:lnTo>
                  <a:pt x="8547362" y="6553486"/>
                </a:lnTo>
                <a:close/>
                <a:moveTo>
                  <a:pt x="8448177" y="6553486"/>
                </a:moveTo>
                <a:lnTo>
                  <a:pt x="8448177" y="6599432"/>
                </a:lnTo>
                <a:lnTo>
                  <a:pt x="8448177" y="6662773"/>
                </a:lnTo>
                <a:lnTo>
                  <a:pt x="8518167" y="6662773"/>
                </a:lnTo>
                <a:lnTo>
                  <a:pt x="8518552" y="6662773"/>
                </a:lnTo>
                <a:lnTo>
                  <a:pt x="8518552" y="6645772"/>
                </a:lnTo>
                <a:lnTo>
                  <a:pt x="8518167" y="6645772"/>
                </a:lnTo>
                <a:lnTo>
                  <a:pt x="8518167" y="6639674"/>
                </a:lnTo>
                <a:lnTo>
                  <a:pt x="8473825" y="6639674"/>
                </a:lnTo>
                <a:lnTo>
                  <a:pt x="8473825" y="6618349"/>
                </a:lnTo>
                <a:lnTo>
                  <a:pt x="8514235" y="6618349"/>
                </a:lnTo>
                <a:lnTo>
                  <a:pt x="8514235" y="6596277"/>
                </a:lnTo>
                <a:lnTo>
                  <a:pt x="8473825" y="6596277"/>
                </a:lnTo>
                <a:lnTo>
                  <a:pt x="8473825" y="6576755"/>
                </a:lnTo>
                <a:lnTo>
                  <a:pt x="8518167" y="6576755"/>
                </a:lnTo>
                <a:lnTo>
                  <a:pt x="8518167" y="6570487"/>
                </a:lnTo>
                <a:lnTo>
                  <a:pt x="8518552" y="6570487"/>
                </a:lnTo>
                <a:lnTo>
                  <a:pt x="8518552" y="6553486"/>
                </a:lnTo>
                <a:lnTo>
                  <a:pt x="8518167" y="6553486"/>
                </a:lnTo>
                <a:lnTo>
                  <a:pt x="8469892" y="6553486"/>
                </a:lnTo>
                <a:close/>
                <a:moveTo>
                  <a:pt x="8387913" y="6553453"/>
                </a:moveTo>
                <a:cubicBezTo>
                  <a:pt x="8380162" y="6553369"/>
                  <a:pt x="8372471" y="6554805"/>
                  <a:pt x="8365286" y="6557679"/>
                </a:cubicBezTo>
                <a:cubicBezTo>
                  <a:pt x="8362463" y="6558830"/>
                  <a:pt x="8359742" y="6560211"/>
                  <a:pt x="8357150" y="6561806"/>
                </a:cubicBezTo>
                <a:lnTo>
                  <a:pt x="8332784" y="6613372"/>
                </a:lnTo>
                <a:cubicBezTo>
                  <a:pt x="8333178" y="6619008"/>
                  <a:pt x="8334392" y="6624558"/>
                  <a:pt x="8336389" y="6629852"/>
                </a:cubicBezTo>
                <a:cubicBezTo>
                  <a:pt x="8341193" y="6642926"/>
                  <a:pt x="8351385" y="6653370"/>
                  <a:pt x="8364431" y="6658585"/>
                </a:cubicBezTo>
                <a:cubicBezTo>
                  <a:pt x="8371564" y="6661469"/>
                  <a:pt x="8379210" y="6662906"/>
                  <a:pt x="8386916" y="6662811"/>
                </a:cubicBezTo>
                <a:cubicBezTo>
                  <a:pt x="8394648" y="6662898"/>
                  <a:pt x="8402321" y="6661462"/>
                  <a:pt x="8409486" y="6658585"/>
                </a:cubicBezTo>
                <a:cubicBezTo>
                  <a:pt x="8416013" y="6655943"/>
                  <a:pt x="8421943" y="6652041"/>
                  <a:pt x="8426926" y="6647106"/>
                </a:cubicBezTo>
                <a:cubicBezTo>
                  <a:pt x="8431850" y="6642179"/>
                  <a:pt x="8435700" y="6636306"/>
                  <a:pt x="8438240" y="6629852"/>
                </a:cubicBezTo>
                <a:cubicBezTo>
                  <a:pt x="8440974" y="6622958"/>
                  <a:pt x="8442338" y="6615607"/>
                  <a:pt x="8442258" y="6608203"/>
                </a:cubicBezTo>
                <a:cubicBezTo>
                  <a:pt x="8442328" y="6600785"/>
                  <a:pt x="8441019" y="6593419"/>
                  <a:pt x="8438397" y="6586469"/>
                </a:cubicBezTo>
                <a:cubicBezTo>
                  <a:pt x="8435967" y="6580025"/>
                  <a:pt x="8432239" y="6574136"/>
                  <a:pt x="8427439" y="6569158"/>
                </a:cubicBezTo>
                <a:cubicBezTo>
                  <a:pt x="8422597" y="6564212"/>
                  <a:pt x="8416777" y="6560305"/>
                  <a:pt x="8410341" y="6557679"/>
                </a:cubicBezTo>
                <a:cubicBezTo>
                  <a:pt x="8403230" y="6554789"/>
                  <a:pt x="8395601" y="6553352"/>
                  <a:pt x="8387913" y="6553453"/>
                </a:cubicBezTo>
                <a:close/>
                <a:moveTo>
                  <a:pt x="8245203" y="6553106"/>
                </a:moveTo>
                <a:lnTo>
                  <a:pt x="8261546" y="6587178"/>
                </a:lnTo>
                <a:lnTo>
                  <a:pt x="8288505" y="6587178"/>
                </a:lnTo>
                <a:lnTo>
                  <a:pt x="8274156" y="6553106"/>
                </a:lnTo>
                <a:close/>
                <a:moveTo>
                  <a:pt x="8325053" y="6553092"/>
                </a:moveTo>
                <a:lnTo>
                  <a:pt x="8299363" y="6612222"/>
                </a:lnTo>
                <a:lnTo>
                  <a:pt x="8292395" y="6595883"/>
                </a:lnTo>
                <a:lnTo>
                  <a:pt x="8265650" y="6595883"/>
                </a:lnTo>
                <a:lnTo>
                  <a:pt x="8297582" y="6662548"/>
                </a:lnTo>
                <a:lnTo>
                  <a:pt x="8300545" y="6662548"/>
                </a:lnTo>
                <a:lnTo>
                  <a:pt x="8352283" y="6553092"/>
                </a:lnTo>
                <a:close/>
                <a:moveTo>
                  <a:pt x="8704282" y="6515554"/>
                </a:moveTo>
                <a:lnTo>
                  <a:pt x="8704282" y="6690482"/>
                </a:lnTo>
                <a:lnTo>
                  <a:pt x="8723671" y="6690482"/>
                </a:lnTo>
                <a:lnTo>
                  <a:pt x="8723671" y="6515554"/>
                </a:lnTo>
                <a:close/>
                <a:moveTo>
                  <a:pt x="0" y="0"/>
                </a:moveTo>
                <a:lnTo>
                  <a:pt x="9144000" y="0"/>
                </a:lnTo>
                <a:lnTo>
                  <a:pt x="9144000" y="6214681"/>
                </a:lnTo>
                <a:lnTo>
                  <a:pt x="9144000" y="6397151"/>
                </a:lnTo>
                <a:lnTo>
                  <a:pt x="9144000" y="6401792"/>
                </a:lnTo>
                <a:lnTo>
                  <a:pt x="9144000" y="6434962"/>
                </a:lnTo>
                <a:lnTo>
                  <a:pt x="9144000" y="6858000"/>
                </a:lnTo>
                <a:lnTo>
                  <a:pt x="8995529" y="6858000"/>
                </a:lnTo>
                <a:lnTo>
                  <a:pt x="7924718" y="6858000"/>
                </a:lnTo>
                <a:lnTo>
                  <a:pt x="0" y="6858000"/>
                </a:lnTo>
                <a:lnTo>
                  <a:pt x="0" y="6434962"/>
                </a:lnTo>
                <a:lnTo>
                  <a:pt x="0" y="6401792"/>
                </a:lnTo>
                <a:lnTo>
                  <a:pt x="0" y="6397151"/>
                </a:lnTo>
                <a:lnTo>
                  <a:pt x="0" y="6214681"/>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 Drag image onto slide to add photo </a:t>
            </a:r>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2" y="1"/>
            <a:ext cx="9622695"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gradFill>
            <a:gsLst>
              <a:gs pos="13000">
                <a:schemeClr val="accent1"/>
              </a:gs>
              <a:gs pos="97000">
                <a:schemeClr val="accent1">
                  <a:alpha val="80000"/>
                </a:schemeClr>
              </a:gs>
            </a:gsLst>
            <a:lin ang="5400000" scaled="0"/>
          </a:gradFill>
          <a:ln>
            <a:solidFill>
              <a:srgbClr val="003865">
                <a:shade val="50000"/>
                <a:alpha val="0"/>
              </a:srgbClr>
            </a:solidFill>
          </a:ln>
        </p:spPr>
        <p:txBody>
          <a:bodyPr wrap="square" lIns="432000" tIns="0" rIns="2160000" bIns="0" anchor="ctr">
            <a:noAutofit/>
          </a:bodyPr>
          <a:lstStyle>
            <a:lvl1pPr marL="20638" indent="0">
              <a:spcAft>
                <a:spcPts val="300"/>
              </a:spcAft>
              <a:buNone/>
              <a:tabLst/>
              <a:defRPr sz="66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dirty="0"/>
              <a:t>Q&amp;A message</a:t>
            </a:r>
          </a:p>
          <a:p>
            <a:pPr lvl="1"/>
            <a:r>
              <a:rPr lang="en-US" dirty="0"/>
              <a:t>Second level</a:t>
            </a:r>
          </a:p>
        </p:txBody>
      </p:sp>
      <p:grpSp>
        <p:nvGrpSpPr>
          <p:cNvPr id="16" name="Group 15">
            <a:extLst>
              <a:ext uri="{FF2B5EF4-FFF2-40B4-BE49-F238E27FC236}">
                <a16:creationId xmlns:a16="http://schemas.microsoft.com/office/drawing/2014/main" id="{50A982D0-E4B8-1041-813F-BDDC3436A88D}"/>
              </a:ext>
            </a:extLst>
          </p:cNvPr>
          <p:cNvGrpSpPr/>
          <p:nvPr userDrawn="1"/>
        </p:nvGrpSpPr>
        <p:grpSpPr>
          <a:xfrm>
            <a:off x="-342618" y="2429705"/>
            <a:ext cx="335281" cy="1998593"/>
            <a:chOff x="-256404" y="360363"/>
            <a:chExt cx="251461" cy="692152"/>
          </a:xfrm>
        </p:grpSpPr>
        <p:grpSp>
          <p:nvGrpSpPr>
            <p:cNvPr id="17" name="Group 16">
              <a:extLst>
                <a:ext uri="{FF2B5EF4-FFF2-40B4-BE49-F238E27FC236}">
                  <a16:creationId xmlns:a16="http://schemas.microsoft.com/office/drawing/2014/main" id="{C83CFF79-5962-9D49-8E42-F2AF4C267204}"/>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A6F525C6-8B46-4140-AF00-48FB794ECBC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04655F-D15F-D843-AA38-CAA6FDF115A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43ACDE28-DF49-C14A-B556-C3FBEB96DDE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18" name="TextBox 17">
              <a:extLst>
                <a:ext uri="{FF2B5EF4-FFF2-40B4-BE49-F238E27FC236}">
                  <a16:creationId xmlns:a16="http://schemas.microsoft.com/office/drawing/2014/main" id="{509205E5-0F35-EB40-8B2F-8E547892AACD}"/>
                </a:ext>
              </a:extLst>
            </p:cNvPr>
            <p:cNvSpPr txBox="1"/>
            <p:nvPr userDrawn="1"/>
          </p:nvSpPr>
          <p:spPr>
            <a:xfrm rot="16200000">
              <a:off x="-244472" y="662666"/>
              <a:ext cx="227612" cy="8079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Q&amp;A MESSAGE</a:t>
              </a:r>
            </a:p>
          </p:txBody>
        </p:sp>
      </p:grpSp>
      <p:grpSp>
        <p:nvGrpSpPr>
          <p:cNvPr id="12" name="Group 11">
            <a:extLst>
              <a:ext uri="{FF2B5EF4-FFF2-40B4-BE49-F238E27FC236}">
                <a16:creationId xmlns:a16="http://schemas.microsoft.com/office/drawing/2014/main" id="{A18A15BD-A596-E247-85A4-DD939638C5D3}"/>
              </a:ext>
            </a:extLst>
          </p:cNvPr>
          <p:cNvGrpSpPr/>
          <p:nvPr userDrawn="1"/>
        </p:nvGrpSpPr>
        <p:grpSpPr>
          <a:xfrm>
            <a:off x="12532244" y="0"/>
            <a:ext cx="3948953" cy="8293166"/>
            <a:chOff x="9399182" y="0"/>
            <a:chExt cx="2961715" cy="8293166"/>
          </a:xfrm>
        </p:grpSpPr>
        <p:sp>
          <p:nvSpPr>
            <p:cNvPr id="24" name="Rectangle 23">
              <a:extLst>
                <a:ext uri="{FF2B5EF4-FFF2-40B4-BE49-F238E27FC236}">
                  <a16:creationId xmlns:a16="http://schemas.microsoft.com/office/drawing/2014/main" id="{3484143C-DF42-9845-8B4E-6EE9192D37DA}"/>
                </a:ext>
              </a:extLst>
            </p:cNvPr>
            <p:cNvSpPr/>
            <p:nvPr userDrawn="1"/>
          </p:nvSpPr>
          <p:spPr>
            <a:xfrm>
              <a:off x="9399182" y="0"/>
              <a:ext cx="2798651" cy="812636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68" name="Picture 67">
              <a:extLst>
                <a:ext uri="{FF2B5EF4-FFF2-40B4-BE49-F238E27FC236}">
                  <a16:creationId xmlns:a16="http://schemas.microsoft.com/office/drawing/2014/main" id="{DC6F3D09-77E6-DD4A-B8C1-57D3B5AF8511}"/>
                </a:ext>
              </a:extLst>
            </p:cNvPr>
            <p:cNvPicPr>
              <a:picLocks noChangeAspect="1"/>
            </p:cNvPicPr>
            <p:nvPr userDrawn="1"/>
          </p:nvPicPr>
          <p:blipFill rotWithShape="1">
            <a:blip r:embed="rId2"/>
            <a:srcRect r="31332"/>
            <a:stretch/>
          </p:blipFill>
          <p:spPr>
            <a:xfrm>
              <a:off x="9558506" y="1334591"/>
              <a:ext cx="2639325" cy="793238"/>
            </a:xfrm>
            <a:prstGeom prst="rect">
              <a:avLst/>
            </a:prstGeom>
          </p:spPr>
        </p:pic>
        <p:sp>
          <p:nvSpPr>
            <p:cNvPr id="57" name="Rectangle 56">
              <a:extLst>
                <a:ext uri="{FF2B5EF4-FFF2-40B4-BE49-F238E27FC236}">
                  <a16:creationId xmlns:a16="http://schemas.microsoft.com/office/drawing/2014/main" id="{6FAA681A-5A01-3546-8044-1C8ECB661A3E}"/>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8" name="TextBox 57">
              <a:extLst>
                <a:ext uri="{FF2B5EF4-FFF2-40B4-BE49-F238E27FC236}">
                  <a16:creationId xmlns:a16="http://schemas.microsoft.com/office/drawing/2014/main" id="{94D0CDE4-38A0-8B46-802A-EFEB782422E0}"/>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9" name="Picture 58">
              <a:extLst>
                <a:ext uri="{FF2B5EF4-FFF2-40B4-BE49-F238E27FC236}">
                  <a16:creationId xmlns:a16="http://schemas.microsoft.com/office/drawing/2014/main" id="{F1F33519-662F-9A45-B84A-EC851E121091}"/>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grpSp>
          <p:nvGrpSpPr>
            <p:cNvPr id="6" name="Group 5">
              <a:extLst>
                <a:ext uri="{FF2B5EF4-FFF2-40B4-BE49-F238E27FC236}">
                  <a16:creationId xmlns:a16="http://schemas.microsoft.com/office/drawing/2014/main" id="{991FADFC-F7F0-CE43-B65A-8A3CF7063BA7}"/>
                </a:ext>
              </a:extLst>
            </p:cNvPr>
            <p:cNvGrpSpPr/>
            <p:nvPr userDrawn="1"/>
          </p:nvGrpSpPr>
          <p:grpSpPr>
            <a:xfrm>
              <a:off x="9521833" y="2279341"/>
              <a:ext cx="2754815" cy="6013825"/>
              <a:chOff x="9521833" y="2429703"/>
              <a:chExt cx="2754815" cy="6013825"/>
            </a:xfrm>
          </p:grpSpPr>
          <p:sp>
            <p:nvSpPr>
              <p:cNvPr id="25" name="TextBox 24">
                <a:extLst>
                  <a:ext uri="{FF2B5EF4-FFF2-40B4-BE49-F238E27FC236}">
                    <a16:creationId xmlns:a16="http://schemas.microsoft.com/office/drawing/2014/main" id="{50000E5F-473E-B14E-9172-0C267CD0D2E3}"/>
                  </a:ext>
                </a:extLst>
              </p:cNvPr>
              <p:cNvSpPr txBox="1"/>
              <p:nvPr userDrawn="1"/>
            </p:nvSpPr>
            <p:spPr>
              <a:xfrm>
                <a:off x="9558507" y="2429703"/>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26" name="Straight Connector 25">
                <a:extLst>
                  <a:ext uri="{FF2B5EF4-FFF2-40B4-BE49-F238E27FC236}">
                    <a16:creationId xmlns:a16="http://schemas.microsoft.com/office/drawing/2014/main" id="{4E62F4DD-8AD3-2F43-B8DF-8C54ABD90DFD}"/>
                  </a:ext>
                </a:extLst>
              </p:cNvPr>
              <p:cNvCxnSpPr>
                <a:cxnSpLocks/>
              </p:cNvCxnSpPr>
              <p:nvPr userDrawn="1"/>
            </p:nvCxnSpPr>
            <p:spPr>
              <a:xfrm>
                <a:off x="9558507" y="2632320"/>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C363D809-5FFE-3D42-B068-23D851F092D9}"/>
                  </a:ext>
                </a:extLst>
              </p:cNvPr>
              <p:cNvSpPr txBox="1"/>
              <p:nvPr userDrawn="1"/>
            </p:nvSpPr>
            <p:spPr>
              <a:xfrm>
                <a:off x="9686426" y="3490630"/>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sp>
            <p:nvSpPr>
              <p:cNvPr id="51" name="Rectangle 50">
                <a:extLst>
                  <a:ext uri="{FF2B5EF4-FFF2-40B4-BE49-F238E27FC236}">
                    <a16:creationId xmlns:a16="http://schemas.microsoft.com/office/drawing/2014/main" id="{AB47AC43-F715-C242-B27E-A04E6F462262}"/>
                  </a:ext>
                </a:extLst>
              </p:cNvPr>
              <p:cNvSpPr/>
              <p:nvPr userDrawn="1"/>
            </p:nvSpPr>
            <p:spPr>
              <a:xfrm>
                <a:off x="9541497" y="7032213"/>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2" name="TextBox 51">
                <a:extLst>
                  <a:ext uri="{FF2B5EF4-FFF2-40B4-BE49-F238E27FC236}">
                    <a16:creationId xmlns:a16="http://schemas.microsoft.com/office/drawing/2014/main" id="{148CB54C-821A-5D43-9B80-B00746C05FDA}"/>
                  </a:ext>
                </a:extLst>
              </p:cNvPr>
              <p:cNvSpPr txBox="1"/>
              <p:nvPr userDrawn="1"/>
            </p:nvSpPr>
            <p:spPr>
              <a:xfrm>
                <a:off x="9907688" y="7161013"/>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3" name="Graphic 52">
                <a:extLst>
                  <a:ext uri="{FF2B5EF4-FFF2-40B4-BE49-F238E27FC236}">
                    <a16:creationId xmlns:a16="http://schemas.microsoft.com/office/drawing/2014/main" id="{2504B4CD-2C7F-1246-A54A-8E3EBAAD534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171296"/>
                <a:ext cx="155227" cy="155227"/>
              </a:xfrm>
              <a:prstGeom prst="rect">
                <a:avLst/>
              </a:prstGeom>
            </p:spPr>
          </p:pic>
          <p:sp>
            <p:nvSpPr>
              <p:cNvPr id="54" name="TextBox 53">
                <a:extLst>
                  <a:ext uri="{FF2B5EF4-FFF2-40B4-BE49-F238E27FC236}">
                    <a16:creationId xmlns:a16="http://schemas.microsoft.com/office/drawing/2014/main" id="{62BFE2AB-0056-4F46-9E47-AE686B26A8F3}"/>
                  </a:ext>
                </a:extLst>
              </p:cNvPr>
              <p:cNvSpPr txBox="1"/>
              <p:nvPr userDrawn="1"/>
            </p:nvSpPr>
            <p:spPr>
              <a:xfrm>
                <a:off x="9716735" y="7740996"/>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5" name="TextBox 54">
                <a:extLst>
                  <a:ext uri="{FF2B5EF4-FFF2-40B4-BE49-F238E27FC236}">
                    <a16:creationId xmlns:a16="http://schemas.microsoft.com/office/drawing/2014/main" id="{89249B47-877A-7F4B-81CF-E1915A134B07}"/>
                  </a:ext>
                </a:extLst>
              </p:cNvPr>
              <p:cNvSpPr txBox="1"/>
              <p:nvPr userDrawn="1"/>
            </p:nvSpPr>
            <p:spPr>
              <a:xfrm>
                <a:off x="9716735" y="742215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6" name="TextBox 55">
                <a:extLst>
                  <a:ext uri="{FF2B5EF4-FFF2-40B4-BE49-F238E27FC236}">
                    <a16:creationId xmlns:a16="http://schemas.microsoft.com/office/drawing/2014/main" id="{25B3D92B-ADE7-4F4A-97DB-1DFE94A4713A}"/>
                  </a:ext>
                </a:extLst>
              </p:cNvPr>
              <p:cNvSpPr txBox="1"/>
              <p:nvPr userDrawn="1"/>
            </p:nvSpPr>
            <p:spPr>
              <a:xfrm>
                <a:off x="9716735" y="8190673"/>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44" name="Rectangle 43">
                <a:extLst>
                  <a:ext uri="{FF2B5EF4-FFF2-40B4-BE49-F238E27FC236}">
                    <a16:creationId xmlns:a16="http://schemas.microsoft.com/office/drawing/2014/main" id="{27DA6595-306D-0A4B-AE99-BA22D473E46C}"/>
                  </a:ext>
                </a:extLst>
              </p:cNvPr>
              <p:cNvSpPr/>
              <p:nvPr userDrawn="1"/>
            </p:nvSpPr>
            <p:spPr>
              <a:xfrm>
                <a:off x="9541497" y="5675557"/>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5" name="TextBox 44">
                <a:extLst>
                  <a:ext uri="{FF2B5EF4-FFF2-40B4-BE49-F238E27FC236}">
                    <a16:creationId xmlns:a16="http://schemas.microsoft.com/office/drawing/2014/main" id="{EF7C1405-EF07-DF44-B3F2-FD2C93E0BA8B}"/>
                  </a:ext>
                </a:extLst>
              </p:cNvPr>
              <p:cNvSpPr txBox="1"/>
              <p:nvPr userDrawn="1"/>
            </p:nvSpPr>
            <p:spPr>
              <a:xfrm>
                <a:off x="9907688" y="580435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6" name="Graphic 45">
                <a:extLst>
                  <a:ext uri="{FF2B5EF4-FFF2-40B4-BE49-F238E27FC236}">
                    <a16:creationId xmlns:a16="http://schemas.microsoft.com/office/drawing/2014/main" id="{98B75E83-A291-C749-8530-D0134288939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814639"/>
                <a:ext cx="155227" cy="155227"/>
              </a:xfrm>
              <a:prstGeom prst="rect">
                <a:avLst/>
              </a:prstGeom>
            </p:spPr>
          </p:pic>
          <p:sp>
            <p:nvSpPr>
              <p:cNvPr id="47" name="TextBox 46">
                <a:extLst>
                  <a:ext uri="{FF2B5EF4-FFF2-40B4-BE49-F238E27FC236}">
                    <a16:creationId xmlns:a16="http://schemas.microsoft.com/office/drawing/2014/main" id="{49043FBC-99A8-904D-B1DC-ED8D203DAF7E}"/>
                  </a:ext>
                </a:extLst>
              </p:cNvPr>
              <p:cNvSpPr txBox="1"/>
              <p:nvPr userDrawn="1"/>
            </p:nvSpPr>
            <p:spPr>
              <a:xfrm>
                <a:off x="9701720" y="6068540"/>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8" name="Picture 47">
                <a:extLst>
                  <a:ext uri="{FF2B5EF4-FFF2-40B4-BE49-F238E27FC236}">
                    <a16:creationId xmlns:a16="http://schemas.microsoft.com/office/drawing/2014/main" id="{94798B0E-910D-4A4C-9F6F-4AAF72D24DFC}"/>
                  </a:ext>
                </a:extLst>
              </p:cNvPr>
              <p:cNvPicPr>
                <a:picLocks noChangeAspect="1"/>
              </p:cNvPicPr>
              <p:nvPr userDrawn="1"/>
            </p:nvPicPr>
            <p:blipFill rotWithShape="1">
              <a:blip r:embed="rId6"/>
              <a:srcRect l="33684" t="12097" r="43371" b="20368"/>
              <a:stretch/>
            </p:blipFill>
            <p:spPr>
              <a:xfrm>
                <a:off x="11498723" y="6152973"/>
                <a:ext cx="136897" cy="213643"/>
              </a:xfrm>
              <a:prstGeom prst="rect">
                <a:avLst/>
              </a:prstGeom>
              <a:ln w="19050">
                <a:solidFill>
                  <a:schemeClr val="accent3">
                    <a:lumMod val="60000"/>
                    <a:lumOff val="40000"/>
                  </a:schemeClr>
                </a:solidFill>
              </a:ln>
            </p:spPr>
          </p:pic>
          <p:sp>
            <p:nvSpPr>
              <p:cNvPr id="41" name="TextBox 40">
                <a:extLst>
                  <a:ext uri="{FF2B5EF4-FFF2-40B4-BE49-F238E27FC236}">
                    <a16:creationId xmlns:a16="http://schemas.microsoft.com/office/drawing/2014/main" id="{52BC29DD-C20C-EA42-8872-8414ACCDD374}"/>
                  </a:ext>
                </a:extLst>
              </p:cNvPr>
              <p:cNvSpPr txBox="1">
                <a:spLocks noChangeAspect="1"/>
              </p:cNvSpPr>
              <p:nvPr/>
            </p:nvSpPr>
            <p:spPr>
              <a:xfrm>
                <a:off x="9521833" y="277985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2" name="TextBox 41">
                <a:extLst>
                  <a:ext uri="{FF2B5EF4-FFF2-40B4-BE49-F238E27FC236}">
                    <a16:creationId xmlns:a16="http://schemas.microsoft.com/office/drawing/2014/main" id="{95A41E19-A5FB-2D4D-8D95-130C7BA64B44}"/>
                  </a:ext>
                </a:extLst>
              </p:cNvPr>
              <p:cNvSpPr txBox="1">
                <a:spLocks noChangeAspect="1"/>
              </p:cNvSpPr>
              <p:nvPr/>
            </p:nvSpPr>
            <p:spPr>
              <a:xfrm>
                <a:off x="9521833" y="3275404"/>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3" name="TextBox 42">
                <a:extLst>
                  <a:ext uri="{FF2B5EF4-FFF2-40B4-BE49-F238E27FC236}">
                    <a16:creationId xmlns:a16="http://schemas.microsoft.com/office/drawing/2014/main" id="{B4A2419C-7501-4D49-A0B2-08128721E5B0}"/>
                  </a:ext>
                </a:extLst>
              </p:cNvPr>
              <p:cNvSpPr txBox="1"/>
              <p:nvPr userDrawn="1"/>
            </p:nvSpPr>
            <p:spPr>
              <a:xfrm>
                <a:off x="9686426" y="2754823"/>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sp>
            <p:nvSpPr>
              <p:cNvPr id="33" name="TextBox 32">
                <a:extLst>
                  <a:ext uri="{FF2B5EF4-FFF2-40B4-BE49-F238E27FC236}">
                    <a16:creationId xmlns:a16="http://schemas.microsoft.com/office/drawing/2014/main" id="{5506C958-AF2C-9943-9FB4-E2A3C7843CB1}"/>
                  </a:ext>
                </a:extLst>
              </p:cNvPr>
              <p:cNvSpPr txBox="1"/>
              <p:nvPr userDrawn="1"/>
            </p:nvSpPr>
            <p:spPr>
              <a:xfrm>
                <a:off x="9674267" y="3773935"/>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4" name="TextBox 33">
                <a:extLst>
                  <a:ext uri="{FF2B5EF4-FFF2-40B4-BE49-F238E27FC236}">
                    <a16:creationId xmlns:a16="http://schemas.microsoft.com/office/drawing/2014/main" id="{C706E14D-CD4C-A845-9F04-15216A850EFD}"/>
                  </a:ext>
                </a:extLst>
              </p:cNvPr>
              <p:cNvSpPr txBox="1"/>
              <p:nvPr userDrawn="1"/>
            </p:nvSpPr>
            <p:spPr>
              <a:xfrm>
                <a:off x="9686426" y="4189192"/>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 </a:t>
                </a:r>
              </a:p>
              <a:p>
                <a:pPr lvl="1">
                  <a:buNone/>
                </a:pPr>
                <a:r>
                  <a:rPr lang="en-US" sz="1050" dirty="0"/>
                  <a:t>Right-click or use keyboard shortcuts to paste the image.</a:t>
                </a:r>
              </a:p>
            </p:txBody>
          </p:sp>
          <p:sp>
            <p:nvSpPr>
              <p:cNvPr id="35" name="TextBox 34">
                <a:extLst>
                  <a:ext uri="{FF2B5EF4-FFF2-40B4-BE49-F238E27FC236}">
                    <a16:creationId xmlns:a16="http://schemas.microsoft.com/office/drawing/2014/main" id="{781F2FB8-3E34-904B-A499-11E8E7059B83}"/>
                  </a:ext>
                </a:extLst>
              </p:cNvPr>
              <p:cNvSpPr txBox="1"/>
              <p:nvPr userDrawn="1"/>
            </p:nvSpPr>
            <p:spPr>
              <a:xfrm>
                <a:off x="9686426" y="4909282"/>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36" name="TextBox 35">
                <a:extLst>
                  <a:ext uri="{FF2B5EF4-FFF2-40B4-BE49-F238E27FC236}">
                    <a16:creationId xmlns:a16="http://schemas.microsoft.com/office/drawing/2014/main" id="{E470A557-B8E0-3A45-9AF0-EA49D8E444DD}"/>
                  </a:ext>
                </a:extLst>
              </p:cNvPr>
              <p:cNvSpPr txBox="1"/>
              <p:nvPr userDrawn="1"/>
            </p:nvSpPr>
            <p:spPr>
              <a:xfrm>
                <a:off x="9674267" y="5339845"/>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 </a:t>
                </a:r>
                <a:br>
                  <a:rPr lang="en-US" sz="700" dirty="0"/>
                </a:br>
                <a:r>
                  <a:rPr lang="en-US" sz="700" dirty="0"/>
                  <a:t>In this case use one of the other methods.</a:t>
                </a:r>
              </a:p>
            </p:txBody>
          </p:sp>
        </p:grpSp>
        <p:sp>
          <p:nvSpPr>
            <p:cNvPr id="39" name="TextBox 38">
              <a:extLst>
                <a:ext uri="{FF2B5EF4-FFF2-40B4-BE49-F238E27FC236}">
                  <a16:creationId xmlns:a16="http://schemas.microsoft.com/office/drawing/2014/main" id="{E6CC4D87-33F0-FC4F-BA5B-B1A92EB4BE71}"/>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40" name="Straight Connector 39">
              <a:extLst>
                <a:ext uri="{FF2B5EF4-FFF2-40B4-BE49-F238E27FC236}">
                  <a16:creationId xmlns:a16="http://schemas.microsoft.com/office/drawing/2014/main" id="{E1268B1E-F62E-304A-B81F-61E2F75FA67E}"/>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60" name="Text Placeholder 21">
            <a:extLst>
              <a:ext uri="{FF2B5EF4-FFF2-40B4-BE49-F238E27FC236}">
                <a16:creationId xmlns:a16="http://schemas.microsoft.com/office/drawing/2014/main" id="{AE87001B-4793-B648-AA15-C4839E720D70}"/>
              </a:ext>
            </a:extLst>
          </p:cNvPr>
          <p:cNvSpPr>
            <a:spLocks noGrp="1"/>
          </p:cNvSpPr>
          <p:nvPr userDrawn="1">
            <p:ph type="body" sz="quarter" idx="14" hasCustomPrompt="1"/>
          </p:nvPr>
        </p:nvSpPr>
        <p:spPr>
          <a:xfrm>
            <a:off x="9812449" y="6200776"/>
            <a:ext cx="1791763"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2" name="Date Placeholder 1">
            <a:extLst>
              <a:ext uri="{FF2B5EF4-FFF2-40B4-BE49-F238E27FC236}">
                <a16:creationId xmlns:a16="http://schemas.microsoft.com/office/drawing/2014/main" id="{639E4D18-9C18-1044-90FB-55BA101FB9A6}"/>
              </a:ext>
            </a:extLst>
          </p:cNvPr>
          <p:cNvSpPr>
            <a:spLocks noGrp="1"/>
          </p:cNvSpPr>
          <p:nvPr userDrawn="1">
            <p:ph type="dt" sz="half" idx="16"/>
          </p:nvPr>
        </p:nvSpPr>
        <p:spPr/>
        <p:txBody>
          <a:bodyPr/>
          <a:lstStyle/>
          <a:p>
            <a:endParaRPr lang="en-US" dirty="0"/>
          </a:p>
        </p:txBody>
      </p:sp>
      <p:sp>
        <p:nvSpPr>
          <p:cNvPr id="4" name="Footer Placeholder 3">
            <a:extLst>
              <a:ext uri="{FF2B5EF4-FFF2-40B4-BE49-F238E27FC236}">
                <a16:creationId xmlns:a16="http://schemas.microsoft.com/office/drawing/2014/main" id="{9A6F3FDB-CFE4-E643-8F66-62F5B43DC7E7}"/>
              </a:ext>
            </a:extLst>
          </p:cNvPr>
          <p:cNvSpPr>
            <a:spLocks noGrp="1"/>
          </p:cNvSpPr>
          <p:nvPr userDrawn="1">
            <p:ph type="ftr" sz="quarter" idx="17"/>
          </p:nvPr>
        </p:nvSpPr>
        <p:spPr/>
        <p:txBody>
          <a:bodyPr/>
          <a:lstStyle/>
          <a:p>
            <a:endParaRPr lang="en-US" dirty="0"/>
          </a:p>
        </p:txBody>
      </p:sp>
      <p:sp>
        <p:nvSpPr>
          <p:cNvPr id="5" name="Slide Number Placeholder 4">
            <a:extLst>
              <a:ext uri="{FF2B5EF4-FFF2-40B4-BE49-F238E27FC236}">
                <a16:creationId xmlns:a16="http://schemas.microsoft.com/office/drawing/2014/main" id="{DDB21BDA-AD36-4743-9F8E-0A4C0BC0DD64}"/>
              </a:ext>
            </a:extLst>
          </p:cNvPr>
          <p:cNvSpPr>
            <a:spLocks noGrp="1"/>
          </p:cNvSpPr>
          <p:nvPr userDrawn="1">
            <p:ph type="sldNum" sz="quarter" idx="18"/>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96" name="Group 95">
            <a:extLst>
              <a:ext uri="{FF2B5EF4-FFF2-40B4-BE49-F238E27FC236}">
                <a16:creationId xmlns:a16="http://schemas.microsoft.com/office/drawing/2014/main" id="{673DA702-693D-CC41-B851-ADCA7E442CAD}"/>
              </a:ext>
            </a:extLst>
          </p:cNvPr>
          <p:cNvGrpSpPr/>
          <p:nvPr userDrawn="1"/>
        </p:nvGrpSpPr>
        <p:grpSpPr>
          <a:xfrm>
            <a:off x="574987" y="-246933"/>
            <a:ext cx="11040535" cy="7347304"/>
            <a:chOff x="431240" y="-246933"/>
            <a:chExt cx="8280401" cy="7347304"/>
          </a:xfrm>
        </p:grpSpPr>
        <p:grpSp>
          <p:nvGrpSpPr>
            <p:cNvPr id="97" name="Group 96">
              <a:extLst>
                <a:ext uri="{FF2B5EF4-FFF2-40B4-BE49-F238E27FC236}">
                  <a16:creationId xmlns:a16="http://schemas.microsoft.com/office/drawing/2014/main" id="{68E21C45-C896-3A4E-9AC2-0B2E1C68424D}"/>
                </a:ext>
              </a:extLst>
            </p:cNvPr>
            <p:cNvGrpSpPr/>
            <p:nvPr userDrawn="1"/>
          </p:nvGrpSpPr>
          <p:grpSpPr>
            <a:xfrm>
              <a:off x="431242" y="6864579"/>
              <a:ext cx="8280398" cy="235792"/>
              <a:chOff x="431801" y="-235792"/>
              <a:chExt cx="4400550" cy="235792"/>
            </a:xfrm>
          </p:grpSpPr>
          <p:cxnSp>
            <p:nvCxnSpPr>
              <p:cNvPr id="106" name="Straight Connector 105">
                <a:extLst>
                  <a:ext uri="{FF2B5EF4-FFF2-40B4-BE49-F238E27FC236}">
                    <a16:creationId xmlns:a16="http://schemas.microsoft.com/office/drawing/2014/main" id="{E11C4987-4F88-FA4D-9044-5BEA5CD0FD7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7" name="Straight Connector 106">
                <a:extLst>
                  <a:ext uri="{FF2B5EF4-FFF2-40B4-BE49-F238E27FC236}">
                    <a16:creationId xmlns:a16="http://schemas.microsoft.com/office/drawing/2014/main" id="{CFAFED8F-4D61-3A4C-B900-C1AFD5742855}"/>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98" name="Group 97">
              <a:extLst>
                <a:ext uri="{FF2B5EF4-FFF2-40B4-BE49-F238E27FC236}">
                  <a16:creationId xmlns:a16="http://schemas.microsoft.com/office/drawing/2014/main" id="{0F0D3C41-93FC-C045-9185-5A21C57F01F2}"/>
                </a:ext>
              </a:extLst>
            </p:cNvPr>
            <p:cNvGrpSpPr/>
            <p:nvPr userDrawn="1"/>
          </p:nvGrpSpPr>
          <p:grpSpPr>
            <a:xfrm>
              <a:off x="431240" y="-246933"/>
              <a:ext cx="8280401" cy="235792"/>
              <a:chOff x="431800" y="-240735"/>
              <a:chExt cx="8280401" cy="235792"/>
            </a:xfrm>
          </p:grpSpPr>
          <p:grpSp>
            <p:nvGrpSpPr>
              <p:cNvPr id="99" name="Group 98">
                <a:extLst>
                  <a:ext uri="{FF2B5EF4-FFF2-40B4-BE49-F238E27FC236}">
                    <a16:creationId xmlns:a16="http://schemas.microsoft.com/office/drawing/2014/main" id="{1D065C1D-41DC-ED41-AC5F-9B220460AFDF}"/>
                  </a:ext>
                </a:extLst>
              </p:cNvPr>
              <p:cNvGrpSpPr/>
              <p:nvPr userDrawn="1"/>
            </p:nvGrpSpPr>
            <p:grpSpPr>
              <a:xfrm>
                <a:off x="431800" y="-240735"/>
                <a:ext cx="8280400" cy="235792"/>
                <a:chOff x="431800" y="-235792"/>
                <a:chExt cx="4400551" cy="235792"/>
              </a:xfrm>
            </p:grpSpPr>
            <p:cxnSp>
              <p:nvCxnSpPr>
                <p:cNvPr id="103" name="Straight Connector 102">
                  <a:extLst>
                    <a:ext uri="{FF2B5EF4-FFF2-40B4-BE49-F238E27FC236}">
                      <a16:creationId xmlns:a16="http://schemas.microsoft.com/office/drawing/2014/main" id="{0C96A83E-17A8-C54D-A34D-A4D00E992C7A}"/>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EE874F0A-C444-FD4A-ABF6-C6D41FC80E5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05" name="Rectangle 104">
                  <a:extLst>
                    <a:ext uri="{FF2B5EF4-FFF2-40B4-BE49-F238E27FC236}">
                      <a16:creationId xmlns:a16="http://schemas.microsoft.com/office/drawing/2014/main" id="{E74B379E-15F9-2A4A-A6FF-49649073612C}"/>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100" name="TextBox 99">
                <a:extLst>
                  <a:ext uri="{FF2B5EF4-FFF2-40B4-BE49-F238E27FC236}">
                    <a16:creationId xmlns:a16="http://schemas.microsoft.com/office/drawing/2014/main" id="{4B9BE125-E956-8941-AE3B-AD6895BD1F8B}"/>
                  </a:ext>
                </a:extLst>
              </p:cNvPr>
              <p:cNvSpPr txBox="1"/>
              <p:nvPr userDrawn="1"/>
            </p:nvSpPr>
            <p:spPr>
              <a:xfrm>
                <a:off x="3914336" y="-176700"/>
                <a:ext cx="1315339"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101" name="Straight Arrow Connector 100">
                <a:extLst>
                  <a:ext uri="{FF2B5EF4-FFF2-40B4-BE49-F238E27FC236}">
                    <a16:creationId xmlns:a16="http://schemas.microsoft.com/office/drawing/2014/main" id="{B40F167B-24AA-EA40-9DF5-3D37F00624E8}"/>
                  </a:ext>
                </a:extLst>
              </p:cNvPr>
              <p:cNvCxnSpPr>
                <a:cxnSpLocks/>
                <a:stCxn id="100" idx="1"/>
                <a:endCxn id="105" idx="2"/>
              </p:cNvCxnSpPr>
              <p:nvPr userDrawn="1"/>
            </p:nvCxnSpPr>
            <p:spPr>
              <a:xfrm flipH="1">
                <a:off x="431801" y="-122839"/>
                <a:ext cx="3482535"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102" name="Straight Arrow Connector 101">
                <a:extLst>
                  <a:ext uri="{FF2B5EF4-FFF2-40B4-BE49-F238E27FC236}">
                    <a16:creationId xmlns:a16="http://schemas.microsoft.com/office/drawing/2014/main" id="{4111FD70-76FA-D84E-9207-CC62337BE3E4}"/>
                  </a:ext>
                </a:extLst>
              </p:cNvPr>
              <p:cNvCxnSpPr>
                <a:cxnSpLocks/>
                <a:stCxn id="100" idx="3"/>
                <a:endCxn id="105" idx="0"/>
              </p:cNvCxnSpPr>
              <p:nvPr userDrawn="1"/>
            </p:nvCxnSpPr>
            <p:spPr>
              <a:xfrm flipV="1">
                <a:off x="5229674" y="-122840"/>
                <a:ext cx="3482527"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04590203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Q+A (Plain)">
    <p:spTree>
      <p:nvGrpSpPr>
        <p:cNvPr id="1" name=""/>
        <p:cNvGrpSpPr/>
        <p:nvPr/>
      </p:nvGrpSpPr>
      <p:grpSpPr>
        <a:xfrm>
          <a:off x="0" y="0"/>
          <a:ext cx="0" cy="0"/>
          <a:chOff x="0" y="0"/>
          <a:chExt cx="0" cy="0"/>
        </a:xfrm>
      </p:grpSpPr>
      <p:sp>
        <p:nvSpPr>
          <p:cNvPr id="48" name="Freeform 47">
            <a:extLst>
              <a:ext uri="{FF2B5EF4-FFF2-40B4-BE49-F238E27FC236}">
                <a16:creationId xmlns:a16="http://schemas.microsoft.com/office/drawing/2014/main" id="{C03A9194-4143-4341-BD04-5CC4B8AD8B99}"/>
              </a:ext>
            </a:extLst>
          </p:cNvPr>
          <p:cNvSpPr/>
          <p:nvPr userDrawn="1"/>
        </p:nvSpPr>
        <p:spPr>
          <a:xfrm>
            <a:off x="0" y="6200775"/>
            <a:ext cx="12192000" cy="658368"/>
          </a:xfrm>
          <a:custGeom>
            <a:avLst/>
            <a:gdLst>
              <a:gd name="connsiteX0" fmla="*/ 8381735 w 9144000"/>
              <a:gd name="connsiteY0" fmla="*/ 376390 h 658368"/>
              <a:gd name="connsiteX1" fmla="*/ 8398942 w 9144000"/>
              <a:gd name="connsiteY1" fmla="*/ 378245 h 658368"/>
              <a:gd name="connsiteX2" fmla="*/ 8407847 w 9144000"/>
              <a:gd name="connsiteY2" fmla="*/ 385034 h 658368"/>
              <a:gd name="connsiteX3" fmla="*/ 8413547 w 9144000"/>
              <a:gd name="connsiteY3" fmla="*/ 395359 h 658368"/>
              <a:gd name="connsiteX4" fmla="*/ 8415584 w 9144000"/>
              <a:gd name="connsiteY4" fmla="*/ 408571 h 658368"/>
              <a:gd name="connsiteX5" fmla="*/ 8413646 w 9144000"/>
              <a:gd name="connsiteY5" fmla="*/ 421642 h 658368"/>
              <a:gd name="connsiteX6" fmla="*/ 8407947 w 9144000"/>
              <a:gd name="connsiteY6" fmla="*/ 432037 h 658368"/>
              <a:gd name="connsiteX7" fmla="*/ 8375887 w 9144000"/>
              <a:gd name="connsiteY7" fmla="*/ 438882 h 658368"/>
              <a:gd name="connsiteX8" fmla="*/ 8366910 w 9144000"/>
              <a:gd name="connsiteY8" fmla="*/ 432037 h 658368"/>
              <a:gd name="connsiteX9" fmla="*/ 8361211 w 9144000"/>
              <a:gd name="connsiteY9" fmla="*/ 421642 h 658368"/>
              <a:gd name="connsiteX10" fmla="*/ 8359045 w 9144000"/>
              <a:gd name="connsiteY10" fmla="*/ 408571 h 658368"/>
              <a:gd name="connsiteX11" fmla="*/ 8361097 w 9144000"/>
              <a:gd name="connsiteY11" fmla="*/ 395359 h 658368"/>
              <a:gd name="connsiteX12" fmla="*/ 8366796 w 9144000"/>
              <a:gd name="connsiteY12" fmla="*/ 385034 h 658368"/>
              <a:gd name="connsiteX13" fmla="*/ 8381735 w 9144000"/>
              <a:gd name="connsiteY13" fmla="*/ 376390 h 658368"/>
              <a:gd name="connsiteX14" fmla="*/ 8525633 w 9144000"/>
              <a:gd name="connsiteY14" fmla="*/ 353854 h 658368"/>
              <a:gd name="connsiteX15" fmla="*/ 8525633 w 9144000"/>
              <a:gd name="connsiteY15" fmla="*/ 399800 h 658368"/>
              <a:gd name="connsiteX16" fmla="*/ 8525633 w 9144000"/>
              <a:gd name="connsiteY16" fmla="*/ 463141 h 658368"/>
              <a:gd name="connsiteX17" fmla="*/ 8595623 w 9144000"/>
              <a:gd name="connsiteY17" fmla="*/ 463141 h 658368"/>
              <a:gd name="connsiteX18" fmla="*/ 8596022 w 9144000"/>
              <a:gd name="connsiteY18" fmla="*/ 463141 h 658368"/>
              <a:gd name="connsiteX19" fmla="*/ 8596022 w 9144000"/>
              <a:gd name="connsiteY19" fmla="*/ 446140 h 658368"/>
              <a:gd name="connsiteX20" fmla="*/ 8595623 w 9144000"/>
              <a:gd name="connsiteY20" fmla="*/ 446140 h 658368"/>
              <a:gd name="connsiteX21" fmla="*/ 8595623 w 9144000"/>
              <a:gd name="connsiteY21" fmla="*/ 440042 h 658368"/>
              <a:gd name="connsiteX22" fmla="*/ 8551295 w 9144000"/>
              <a:gd name="connsiteY22" fmla="*/ 440042 h 658368"/>
              <a:gd name="connsiteX23" fmla="*/ 8551295 w 9144000"/>
              <a:gd name="connsiteY23" fmla="*/ 418717 h 658368"/>
              <a:gd name="connsiteX24" fmla="*/ 8591705 w 9144000"/>
              <a:gd name="connsiteY24" fmla="*/ 418717 h 658368"/>
              <a:gd name="connsiteX25" fmla="*/ 8591705 w 9144000"/>
              <a:gd name="connsiteY25" fmla="*/ 396645 h 658368"/>
              <a:gd name="connsiteX26" fmla="*/ 8551295 w 9144000"/>
              <a:gd name="connsiteY26" fmla="*/ 396645 h 658368"/>
              <a:gd name="connsiteX27" fmla="*/ 8551295 w 9144000"/>
              <a:gd name="connsiteY27" fmla="*/ 377123 h 658368"/>
              <a:gd name="connsiteX28" fmla="*/ 8595623 w 9144000"/>
              <a:gd name="connsiteY28" fmla="*/ 377123 h 658368"/>
              <a:gd name="connsiteX29" fmla="*/ 8595623 w 9144000"/>
              <a:gd name="connsiteY29" fmla="*/ 370855 h 658368"/>
              <a:gd name="connsiteX30" fmla="*/ 8596022 w 9144000"/>
              <a:gd name="connsiteY30" fmla="*/ 370855 h 658368"/>
              <a:gd name="connsiteX31" fmla="*/ 8596022 w 9144000"/>
              <a:gd name="connsiteY31" fmla="*/ 353854 h 658368"/>
              <a:gd name="connsiteX32" fmla="*/ 8595623 w 9144000"/>
              <a:gd name="connsiteY32" fmla="*/ 353854 h 658368"/>
              <a:gd name="connsiteX33" fmla="*/ 8547362 w 9144000"/>
              <a:gd name="connsiteY33" fmla="*/ 353854 h 658368"/>
              <a:gd name="connsiteX34" fmla="*/ 8448177 w 9144000"/>
              <a:gd name="connsiteY34" fmla="*/ 353854 h 658368"/>
              <a:gd name="connsiteX35" fmla="*/ 8448177 w 9144000"/>
              <a:gd name="connsiteY35" fmla="*/ 399800 h 658368"/>
              <a:gd name="connsiteX36" fmla="*/ 8448177 w 9144000"/>
              <a:gd name="connsiteY36" fmla="*/ 463141 h 658368"/>
              <a:gd name="connsiteX37" fmla="*/ 8518167 w 9144000"/>
              <a:gd name="connsiteY37" fmla="*/ 463141 h 658368"/>
              <a:gd name="connsiteX38" fmla="*/ 8518552 w 9144000"/>
              <a:gd name="connsiteY38" fmla="*/ 463141 h 658368"/>
              <a:gd name="connsiteX39" fmla="*/ 8518552 w 9144000"/>
              <a:gd name="connsiteY39" fmla="*/ 446140 h 658368"/>
              <a:gd name="connsiteX40" fmla="*/ 8518167 w 9144000"/>
              <a:gd name="connsiteY40" fmla="*/ 446140 h 658368"/>
              <a:gd name="connsiteX41" fmla="*/ 8518167 w 9144000"/>
              <a:gd name="connsiteY41" fmla="*/ 440042 h 658368"/>
              <a:gd name="connsiteX42" fmla="*/ 8473825 w 9144000"/>
              <a:gd name="connsiteY42" fmla="*/ 440042 h 658368"/>
              <a:gd name="connsiteX43" fmla="*/ 8473825 w 9144000"/>
              <a:gd name="connsiteY43" fmla="*/ 418717 h 658368"/>
              <a:gd name="connsiteX44" fmla="*/ 8514235 w 9144000"/>
              <a:gd name="connsiteY44" fmla="*/ 418717 h 658368"/>
              <a:gd name="connsiteX45" fmla="*/ 8514235 w 9144000"/>
              <a:gd name="connsiteY45" fmla="*/ 396645 h 658368"/>
              <a:gd name="connsiteX46" fmla="*/ 8473825 w 9144000"/>
              <a:gd name="connsiteY46" fmla="*/ 396645 h 658368"/>
              <a:gd name="connsiteX47" fmla="*/ 8473825 w 9144000"/>
              <a:gd name="connsiteY47" fmla="*/ 377123 h 658368"/>
              <a:gd name="connsiteX48" fmla="*/ 8518167 w 9144000"/>
              <a:gd name="connsiteY48" fmla="*/ 377123 h 658368"/>
              <a:gd name="connsiteX49" fmla="*/ 8518167 w 9144000"/>
              <a:gd name="connsiteY49" fmla="*/ 370855 h 658368"/>
              <a:gd name="connsiteX50" fmla="*/ 8518552 w 9144000"/>
              <a:gd name="connsiteY50" fmla="*/ 370855 h 658368"/>
              <a:gd name="connsiteX51" fmla="*/ 8518552 w 9144000"/>
              <a:gd name="connsiteY51" fmla="*/ 353854 h 658368"/>
              <a:gd name="connsiteX52" fmla="*/ 8518167 w 9144000"/>
              <a:gd name="connsiteY52" fmla="*/ 353854 h 658368"/>
              <a:gd name="connsiteX53" fmla="*/ 8469892 w 9144000"/>
              <a:gd name="connsiteY53" fmla="*/ 353854 h 658368"/>
              <a:gd name="connsiteX54" fmla="*/ 8387913 w 9144000"/>
              <a:gd name="connsiteY54" fmla="*/ 353821 h 658368"/>
              <a:gd name="connsiteX55" fmla="*/ 8365286 w 9144000"/>
              <a:gd name="connsiteY55" fmla="*/ 358047 h 658368"/>
              <a:gd name="connsiteX56" fmla="*/ 8357150 w 9144000"/>
              <a:gd name="connsiteY56" fmla="*/ 362174 h 658368"/>
              <a:gd name="connsiteX57" fmla="*/ 8332784 w 9144000"/>
              <a:gd name="connsiteY57" fmla="*/ 413740 h 658368"/>
              <a:gd name="connsiteX58" fmla="*/ 8336389 w 9144000"/>
              <a:gd name="connsiteY58" fmla="*/ 430220 h 658368"/>
              <a:gd name="connsiteX59" fmla="*/ 8364431 w 9144000"/>
              <a:gd name="connsiteY59" fmla="*/ 458953 h 658368"/>
              <a:gd name="connsiteX60" fmla="*/ 8386916 w 9144000"/>
              <a:gd name="connsiteY60" fmla="*/ 463179 h 658368"/>
              <a:gd name="connsiteX61" fmla="*/ 8409486 w 9144000"/>
              <a:gd name="connsiteY61" fmla="*/ 458953 h 658368"/>
              <a:gd name="connsiteX62" fmla="*/ 8426926 w 9144000"/>
              <a:gd name="connsiteY62" fmla="*/ 447474 h 658368"/>
              <a:gd name="connsiteX63" fmla="*/ 8438240 w 9144000"/>
              <a:gd name="connsiteY63" fmla="*/ 430220 h 658368"/>
              <a:gd name="connsiteX64" fmla="*/ 8442258 w 9144000"/>
              <a:gd name="connsiteY64" fmla="*/ 408571 h 658368"/>
              <a:gd name="connsiteX65" fmla="*/ 8438397 w 9144000"/>
              <a:gd name="connsiteY65" fmla="*/ 386837 h 658368"/>
              <a:gd name="connsiteX66" fmla="*/ 8427439 w 9144000"/>
              <a:gd name="connsiteY66" fmla="*/ 369526 h 658368"/>
              <a:gd name="connsiteX67" fmla="*/ 8410341 w 9144000"/>
              <a:gd name="connsiteY67" fmla="*/ 358047 h 658368"/>
              <a:gd name="connsiteX68" fmla="*/ 8387913 w 9144000"/>
              <a:gd name="connsiteY68" fmla="*/ 353821 h 658368"/>
              <a:gd name="connsiteX69" fmla="*/ 8245203 w 9144000"/>
              <a:gd name="connsiteY69" fmla="*/ 353474 h 658368"/>
              <a:gd name="connsiteX70" fmla="*/ 8261546 w 9144000"/>
              <a:gd name="connsiteY70" fmla="*/ 387546 h 658368"/>
              <a:gd name="connsiteX71" fmla="*/ 8288505 w 9144000"/>
              <a:gd name="connsiteY71" fmla="*/ 387546 h 658368"/>
              <a:gd name="connsiteX72" fmla="*/ 8274156 w 9144000"/>
              <a:gd name="connsiteY72" fmla="*/ 353474 h 658368"/>
              <a:gd name="connsiteX73" fmla="*/ 8325053 w 9144000"/>
              <a:gd name="connsiteY73" fmla="*/ 353460 h 658368"/>
              <a:gd name="connsiteX74" fmla="*/ 8299363 w 9144000"/>
              <a:gd name="connsiteY74" fmla="*/ 412590 h 658368"/>
              <a:gd name="connsiteX75" fmla="*/ 8292395 w 9144000"/>
              <a:gd name="connsiteY75" fmla="*/ 396251 h 658368"/>
              <a:gd name="connsiteX76" fmla="*/ 8265650 w 9144000"/>
              <a:gd name="connsiteY76" fmla="*/ 396251 h 658368"/>
              <a:gd name="connsiteX77" fmla="*/ 8297582 w 9144000"/>
              <a:gd name="connsiteY77" fmla="*/ 462916 h 658368"/>
              <a:gd name="connsiteX78" fmla="*/ 8300545 w 9144000"/>
              <a:gd name="connsiteY78" fmla="*/ 462916 h 658368"/>
              <a:gd name="connsiteX79" fmla="*/ 8352283 w 9144000"/>
              <a:gd name="connsiteY79" fmla="*/ 353460 h 658368"/>
              <a:gd name="connsiteX80" fmla="*/ 8704282 w 9144000"/>
              <a:gd name="connsiteY80" fmla="*/ 315922 h 658368"/>
              <a:gd name="connsiteX81" fmla="*/ 8704282 w 9144000"/>
              <a:gd name="connsiteY81" fmla="*/ 490850 h 658368"/>
              <a:gd name="connsiteX82" fmla="*/ 8723671 w 9144000"/>
              <a:gd name="connsiteY82" fmla="*/ 490850 h 658368"/>
              <a:gd name="connsiteX83" fmla="*/ 8723671 w 9144000"/>
              <a:gd name="connsiteY83" fmla="*/ 315922 h 658368"/>
              <a:gd name="connsiteX84" fmla="*/ 0 w 9144000"/>
              <a:gd name="connsiteY84" fmla="*/ 0 h 658368"/>
              <a:gd name="connsiteX85" fmla="*/ 9144000 w 9144000"/>
              <a:gd name="connsiteY85" fmla="*/ 0 h 658368"/>
              <a:gd name="connsiteX86" fmla="*/ 9144000 w 9144000"/>
              <a:gd name="connsiteY86" fmla="*/ 658368 h 658368"/>
              <a:gd name="connsiteX87" fmla="*/ 0 w 9144000"/>
              <a:gd name="connsiteY87" fmla="*/ 658368 h 65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9144000" h="658368">
                <a:moveTo>
                  <a:pt x="8381735" y="376390"/>
                </a:moveTo>
                <a:cubicBezTo>
                  <a:pt x="8387385" y="375197"/>
                  <a:pt x="8393413" y="375753"/>
                  <a:pt x="8398942" y="378245"/>
                </a:cubicBezTo>
                <a:cubicBezTo>
                  <a:pt x="8402361" y="379863"/>
                  <a:pt x="8405396" y="382176"/>
                  <a:pt x="8407847" y="385034"/>
                </a:cubicBezTo>
                <a:cubicBezTo>
                  <a:pt x="8410387" y="388091"/>
                  <a:pt x="8412320" y="391594"/>
                  <a:pt x="8413547" y="395359"/>
                </a:cubicBezTo>
                <a:cubicBezTo>
                  <a:pt x="8414952" y="399623"/>
                  <a:pt x="8415640" y="404086"/>
                  <a:pt x="8415584" y="408571"/>
                </a:cubicBezTo>
                <a:cubicBezTo>
                  <a:pt x="8415665" y="413003"/>
                  <a:pt x="8415011" y="417419"/>
                  <a:pt x="8413646" y="421642"/>
                </a:cubicBezTo>
                <a:cubicBezTo>
                  <a:pt x="8412411" y="425424"/>
                  <a:pt x="8410478" y="428948"/>
                  <a:pt x="8407947" y="432037"/>
                </a:cubicBezTo>
                <a:cubicBezTo>
                  <a:pt x="8399972" y="441083"/>
                  <a:pt x="8386928" y="443868"/>
                  <a:pt x="8375887" y="438882"/>
                </a:cubicBezTo>
                <a:cubicBezTo>
                  <a:pt x="8372423" y="437279"/>
                  <a:pt x="8369358" y="434942"/>
                  <a:pt x="8366910" y="432037"/>
                </a:cubicBezTo>
                <a:cubicBezTo>
                  <a:pt x="8364379" y="428948"/>
                  <a:pt x="8362446" y="425424"/>
                  <a:pt x="8361211" y="421642"/>
                </a:cubicBezTo>
                <a:cubicBezTo>
                  <a:pt x="8359769" y="417431"/>
                  <a:pt x="8359038" y="413015"/>
                  <a:pt x="8359045" y="408571"/>
                </a:cubicBezTo>
                <a:cubicBezTo>
                  <a:pt x="8358993" y="404085"/>
                  <a:pt x="8359686" y="399622"/>
                  <a:pt x="8361097" y="395359"/>
                </a:cubicBezTo>
                <a:cubicBezTo>
                  <a:pt x="8362323" y="391594"/>
                  <a:pt x="8364257" y="388091"/>
                  <a:pt x="8366796" y="385034"/>
                </a:cubicBezTo>
                <a:cubicBezTo>
                  <a:pt x="8370813" y="380526"/>
                  <a:pt x="8376085" y="377583"/>
                  <a:pt x="8381735" y="376390"/>
                </a:cubicBezTo>
                <a:close/>
                <a:moveTo>
                  <a:pt x="8525633" y="353854"/>
                </a:moveTo>
                <a:lnTo>
                  <a:pt x="8525633" y="399800"/>
                </a:lnTo>
                <a:lnTo>
                  <a:pt x="8525633" y="463141"/>
                </a:lnTo>
                <a:lnTo>
                  <a:pt x="8595623" y="463141"/>
                </a:lnTo>
                <a:lnTo>
                  <a:pt x="8596022" y="463141"/>
                </a:lnTo>
                <a:lnTo>
                  <a:pt x="8596022" y="446140"/>
                </a:lnTo>
                <a:lnTo>
                  <a:pt x="8595623" y="446140"/>
                </a:lnTo>
                <a:lnTo>
                  <a:pt x="8595623" y="440042"/>
                </a:lnTo>
                <a:lnTo>
                  <a:pt x="8551295" y="440042"/>
                </a:lnTo>
                <a:lnTo>
                  <a:pt x="8551295" y="418717"/>
                </a:lnTo>
                <a:lnTo>
                  <a:pt x="8591705" y="418717"/>
                </a:lnTo>
                <a:lnTo>
                  <a:pt x="8591705" y="396645"/>
                </a:lnTo>
                <a:lnTo>
                  <a:pt x="8551295" y="396645"/>
                </a:lnTo>
                <a:lnTo>
                  <a:pt x="8551295" y="377123"/>
                </a:lnTo>
                <a:lnTo>
                  <a:pt x="8595623" y="377123"/>
                </a:lnTo>
                <a:lnTo>
                  <a:pt x="8595623" y="370855"/>
                </a:lnTo>
                <a:lnTo>
                  <a:pt x="8596022" y="370855"/>
                </a:lnTo>
                <a:lnTo>
                  <a:pt x="8596022" y="353854"/>
                </a:lnTo>
                <a:lnTo>
                  <a:pt x="8595623" y="353854"/>
                </a:lnTo>
                <a:lnTo>
                  <a:pt x="8547362" y="353854"/>
                </a:lnTo>
                <a:close/>
                <a:moveTo>
                  <a:pt x="8448177" y="353854"/>
                </a:moveTo>
                <a:lnTo>
                  <a:pt x="8448177" y="399800"/>
                </a:lnTo>
                <a:lnTo>
                  <a:pt x="8448177" y="463141"/>
                </a:lnTo>
                <a:lnTo>
                  <a:pt x="8518167" y="463141"/>
                </a:lnTo>
                <a:lnTo>
                  <a:pt x="8518552" y="463141"/>
                </a:lnTo>
                <a:lnTo>
                  <a:pt x="8518552" y="446140"/>
                </a:lnTo>
                <a:lnTo>
                  <a:pt x="8518167" y="446140"/>
                </a:lnTo>
                <a:lnTo>
                  <a:pt x="8518167" y="440042"/>
                </a:lnTo>
                <a:lnTo>
                  <a:pt x="8473825" y="440042"/>
                </a:lnTo>
                <a:lnTo>
                  <a:pt x="8473825" y="418717"/>
                </a:lnTo>
                <a:lnTo>
                  <a:pt x="8514235" y="418717"/>
                </a:lnTo>
                <a:lnTo>
                  <a:pt x="8514235" y="396645"/>
                </a:lnTo>
                <a:lnTo>
                  <a:pt x="8473825" y="396645"/>
                </a:lnTo>
                <a:lnTo>
                  <a:pt x="8473825" y="377123"/>
                </a:lnTo>
                <a:lnTo>
                  <a:pt x="8518167" y="377123"/>
                </a:lnTo>
                <a:lnTo>
                  <a:pt x="8518167" y="370855"/>
                </a:lnTo>
                <a:lnTo>
                  <a:pt x="8518552" y="370855"/>
                </a:lnTo>
                <a:lnTo>
                  <a:pt x="8518552" y="353854"/>
                </a:lnTo>
                <a:lnTo>
                  <a:pt x="8518167" y="353854"/>
                </a:lnTo>
                <a:lnTo>
                  <a:pt x="8469892" y="353854"/>
                </a:lnTo>
                <a:close/>
                <a:moveTo>
                  <a:pt x="8387913" y="353821"/>
                </a:moveTo>
                <a:cubicBezTo>
                  <a:pt x="8380162" y="353737"/>
                  <a:pt x="8372471" y="355173"/>
                  <a:pt x="8365286" y="358047"/>
                </a:cubicBezTo>
                <a:cubicBezTo>
                  <a:pt x="8362463" y="359198"/>
                  <a:pt x="8359742" y="360579"/>
                  <a:pt x="8357150" y="362174"/>
                </a:cubicBezTo>
                <a:lnTo>
                  <a:pt x="8332784" y="413740"/>
                </a:lnTo>
                <a:cubicBezTo>
                  <a:pt x="8333178" y="419376"/>
                  <a:pt x="8334392" y="424926"/>
                  <a:pt x="8336389" y="430220"/>
                </a:cubicBezTo>
                <a:cubicBezTo>
                  <a:pt x="8341193" y="443294"/>
                  <a:pt x="8351385" y="453738"/>
                  <a:pt x="8364431" y="458953"/>
                </a:cubicBezTo>
                <a:cubicBezTo>
                  <a:pt x="8371564" y="461837"/>
                  <a:pt x="8379210" y="463274"/>
                  <a:pt x="8386916" y="463179"/>
                </a:cubicBezTo>
                <a:cubicBezTo>
                  <a:pt x="8394648" y="463266"/>
                  <a:pt x="8402321" y="461830"/>
                  <a:pt x="8409486" y="458953"/>
                </a:cubicBezTo>
                <a:cubicBezTo>
                  <a:pt x="8416013" y="456311"/>
                  <a:pt x="8421943" y="452409"/>
                  <a:pt x="8426926" y="447474"/>
                </a:cubicBezTo>
                <a:cubicBezTo>
                  <a:pt x="8431850" y="442547"/>
                  <a:pt x="8435700" y="436674"/>
                  <a:pt x="8438240" y="430220"/>
                </a:cubicBezTo>
                <a:cubicBezTo>
                  <a:pt x="8440974" y="423326"/>
                  <a:pt x="8442338" y="415975"/>
                  <a:pt x="8442258" y="408571"/>
                </a:cubicBezTo>
                <a:cubicBezTo>
                  <a:pt x="8442328" y="401153"/>
                  <a:pt x="8441019" y="393787"/>
                  <a:pt x="8438397" y="386837"/>
                </a:cubicBezTo>
                <a:cubicBezTo>
                  <a:pt x="8435967" y="380393"/>
                  <a:pt x="8432239" y="374504"/>
                  <a:pt x="8427439" y="369526"/>
                </a:cubicBezTo>
                <a:cubicBezTo>
                  <a:pt x="8422597" y="364580"/>
                  <a:pt x="8416777" y="360673"/>
                  <a:pt x="8410341" y="358047"/>
                </a:cubicBezTo>
                <a:cubicBezTo>
                  <a:pt x="8403230" y="355157"/>
                  <a:pt x="8395601" y="353720"/>
                  <a:pt x="8387913" y="353821"/>
                </a:cubicBezTo>
                <a:close/>
                <a:moveTo>
                  <a:pt x="8245203" y="353474"/>
                </a:moveTo>
                <a:lnTo>
                  <a:pt x="8261546" y="387546"/>
                </a:lnTo>
                <a:lnTo>
                  <a:pt x="8288505" y="387546"/>
                </a:lnTo>
                <a:lnTo>
                  <a:pt x="8274156" y="353474"/>
                </a:lnTo>
                <a:close/>
                <a:moveTo>
                  <a:pt x="8325053" y="353460"/>
                </a:moveTo>
                <a:lnTo>
                  <a:pt x="8299363" y="412590"/>
                </a:lnTo>
                <a:lnTo>
                  <a:pt x="8292395" y="396251"/>
                </a:lnTo>
                <a:lnTo>
                  <a:pt x="8265650" y="396251"/>
                </a:lnTo>
                <a:lnTo>
                  <a:pt x="8297582" y="462916"/>
                </a:lnTo>
                <a:lnTo>
                  <a:pt x="8300545" y="462916"/>
                </a:lnTo>
                <a:lnTo>
                  <a:pt x="8352283" y="353460"/>
                </a:lnTo>
                <a:close/>
                <a:moveTo>
                  <a:pt x="8704282" y="315922"/>
                </a:moveTo>
                <a:lnTo>
                  <a:pt x="8704282" y="490850"/>
                </a:lnTo>
                <a:lnTo>
                  <a:pt x="8723671" y="490850"/>
                </a:lnTo>
                <a:lnTo>
                  <a:pt x="8723671" y="315922"/>
                </a:lnTo>
                <a:close/>
                <a:moveTo>
                  <a:pt x="0" y="0"/>
                </a:moveTo>
                <a:lnTo>
                  <a:pt x="9144000" y="0"/>
                </a:lnTo>
                <a:lnTo>
                  <a:pt x="9144000" y="658368"/>
                </a:lnTo>
                <a:lnTo>
                  <a:pt x="0" y="6583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a:p>
        </p:txBody>
      </p:sp>
      <p:sp>
        <p:nvSpPr>
          <p:cNvPr id="24" name="Freeform 23">
            <a:extLst>
              <a:ext uri="{FF2B5EF4-FFF2-40B4-BE49-F238E27FC236}">
                <a16:creationId xmlns:a16="http://schemas.microsoft.com/office/drawing/2014/main" id="{E79AC3E7-6F38-DB4F-A28C-F43DDC379D28}"/>
              </a:ext>
            </a:extLst>
          </p:cNvPr>
          <p:cNvSpPr/>
          <p:nvPr userDrawn="1"/>
        </p:nvSpPr>
        <p:spPr>
          <a:xfrm>
            <a:off x="1" y="0"/>
            <a:ext cx="9622695"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2" y="1881813"/>
            <a:ext cx="6926468" cy="3094376"/>
          </a:xfrm>
          <a:prstGeom prst="rect">
            <a:avLst/>
          </a:prstGeom>
          <a:noFill/>
          <a:ln>
            <a:noFill/>
          </a:ln>
        </p:spPr>
        <p:txBody>
          <a:bodyPr wrap="square" lIns="432000" tIns="0" rIns="0" bIns="0" anchor="ctr">
            <a:noAutofit/>
          </a:bodyPr>
          <a:lstStyle>
            <a:lvl1pPr marL="20638" indent="0">
              <a:spcAft>
                <a:spcPts val="300"/>
              </a:spcAft>
              <a:buNone/>
              <a:tabLst/>
              <a:defRPr sz="66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dirty="0"/>
              <a:t>Q&amp;A message</a:t>
            </a:r>
          </a:p>
          <a:p>
            <a:pPr lvl="1"/>
            <a:r>
              <a:rPr lang="en-US" dirty="0"/>
              <a:t>Second level</a:t>
            </a:r>
          </a:p>
        </p:txBody>
      </p:sp>
      <p:grpSp>
        <p:nvGrpSpPr>
          <p:cNvPr id="25" name="Group 24">
            <a:extLst>
              <a:ext uri="{FF2B5EF4-FFF2-40B4-BE49-F238E27FC236}">
                <a16:creationId xmlns:a16="http://schemas.microsoft.com/office/drawing/2014/main" id="{8103AB71-ACF2-D747-99D4-1B67168DB846}"/>
              </a:ext>
            </a:extLst>
          </p:cNvPr>
          <p:cNvGrpSpPr/>
          <p:nvPr userDrawn="1"/>
        </p:nvGrpSpPr>
        <p:grpSpPr>
          <a:xfrm>
            <a:off x="-342618" y="2429705"/>
            <a:ext cx="335281" cy="1998593"/>
            <a:chOff x="-256404" y="360363"/>
            <a:chExt cx="251461" cy="692152"/>
          </a:xfrm>
        </p:grpSpPr>
        <p:grpSp>
          <p:nvGrpSpPr>
            <p:cNvPr id="26" name="Group 25">
              <a:extLst>
                <a:ext uri="{FF2B5EF4-FFF2-40B4-BE49-F238E27FC236}">
                  <a16:creationId xmlns:a16="http://schemas.microsoft.com/office/drawing/2014/main" id="{03C6CB04-838C-1B48-B38E-7B94BB69DD62}"/>
                </a:ext>
              </a:extLst>
            </p:cNvPr>
            <p:cNvGrpSpPr/>
            <p:nvPr userDrawn="1"/>
          </p:nvGrpSpPr>
          <p:grpSpPr>
            <a:xfrm rot="16200000">
              <a:off x="-476749" y="580708"/>
              <a:ext cx="692152" cy="251461"/>
              <a:chOff x="431800" y="-235792"/>
              <a:chExt cx="4400551" cy="235792"/>
            </a:xfrm>
          </p:grpSpPr>
          <p:cxnSp>
            <p:nvCxnSpPr>
              <p:cNvPr id="28" name="Straight Connector 27">
                <a:extLst>
                  <a:ext uri="{FF2B5EF4-FFF2-40B4-BE49-F238E27FC236}">
                    <a16:creationId xmlns:a16="http://schemas.microsoft.com/office/drawing/2014/main" id="{E791AF36-A848-784A-9A81-59277F52155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9DBC04DA-F43F-C344-981D-CACEBABFB90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BABEF78A-48F4-204E-80F9-FC75EBD140D2}"/>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27" name="TextBox 26">
              <a:extLst>
                <a:ext uri="{FF2B5EF4-FFF2-40B4-BE49-F238E27FC236}">
                  <a16:creationId xmlns:a16="http://schemas.microsoft.com/office/drawing/2014/main" id="{116AC5B1-5C25-304E-951F-89E93B11D04C}"/>
                </a:ext>
              </a:extLst>
            </p:cNvPr>
            <p:cNvSpPr txBox="1"/>
            <p:nvPr userDrawn="1"/>
          </p:nvSpPr>
          <p:spPr>
            <a:xfrm rot="16200000">
              <a:off x="-244472" y="662666"/>
              <a:ext cx="227612" cy="8079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Q&amp;A MESSAGE</a:t>
              </a:r>
            </a:p>
          </p:txBody>
        </p:sp>
      </p:grpSp>
      <p:grpSp>
        <p:nvGrpSpPr>
          <p:cNvPr id="9" name="Group 8">
            <a:extLst>
              <a:ext uri="{FF2B5EF4-FFF2-40B4-BE49-F238E27FC236}">
                <a16:creationId xmlns:a16="http://schemas.microsoft.com/office/drawing/2014/main" id="{A9A7483A-4424-4C4C-B1F2-8E0F2C79B3A4}"/>
              </a:ext>
            </a:extLst>
          </p:cNvPr>
          <p:cNvGrpSpPr/>
          <p:nvPr userDrawn="1"/>
        </p:nvGrpSpPr>
        <p:grpSpPr>
          <a:xfrm>
            <a:off x="12532244" y="-1"/>
            <a:ext cx="3948953" cy="6858001"/>
            <a:chOff x="9399182" y="-1"/>
            <a:chExt cx="2961715" cy="6858001"/>
          </a:xfrm>
        </p:grpSpPr>
        <p:sp>
          <p:nvSpPr>
            <p:cNvPr id="13" name="Rectangle 12">
              <a:extLst>
                <a:ext uri="{FF2B5EF4-FFF2-40B4-BE49-F238E27FC236}">
                  <a16:creationId xmlns:a16="http://schemas.microsoft.com/office/drawing/2014/main" id="{9743BD3E-2C67-B54E-81F0-54DACF7DFE45}"/>
                </a:ext>
              </a:extLst>
            </p:cNvPr>
            <p:cNvSpPr/>
            <p:nvPr userDrawn="1"/>
          </p:nvSpPr>
          <p:spPr>
            <a:xfrm>
              <a:off x="9399182"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47" name="Picture 46">
              <a:extLst>
                <a:ext uri="{FF2B5EF4-FFF2-40B4-BE49-F238E27FC236}">
                  <a16:creationId xmlns:a16="http://schemas.microsoft.com/office/drawing/2014/main" id="{A9367C43-CC85-224D-AD7D-1ED5A0D9F644}"/>
                </a:ext>
              </a:extLst>
            </p:cNvPr>
            <p:cNvPicPr>
              <a:picLocks noChangeAspect="1"/>
            </p:cNvPicPr>
            <p:nvPr userDrawn="1"/>
          </p:nvPicPr>
          <p:blipFill rotWithShape="1">
            <a:blip r:embed="rId2"/>
            <a:srcRect r="31332"/>
            <a:stretch/>
          </p:blipFill>
          <p:spPr>
            <a:xfrm>
              <a:off x="9558506" y="1334591"/>
              <a:ext cx="2639325" cy="793238"/>
            </a:xfrm>
            <a:prstGeom prst="rect">
              <a:avLst/>
            </a:prstGeom>
          </p:spPr>
        </p:pic>
        <p:grpSp>
          <p:nvGrpSpPr>
            <p:cNvPr id="17" name="Group 16">
              <a:extLst>
                <a:ext uri="{FF2B5EF4-FFF2-40B4-BE49-F238E27FC236}">
                  <a16:creationId xmlns:a16="http://schemas.microsoft.com/office/drawing/2014/main" id="{2A9C7FA4-FCE6-7949-A0D7-679DD9A64FDC}"/>
                </a:ext>
              </a:extLst>
            </p:cNvPr>
            <p:cNvGrpSpPr/>
            <p:nvPr userDrawn="1"/>
          </p:nvGrpSpPr>
          <p:grpSpPr>
            <a:xfrm>
              <a:off x="9541497" y="162442"/>
              <a:ext cx="2819400" cy="814510"/>
              <a:chOff x="-3644733" y="165205"/>
              <a:chExt cx="2819400" cy="814510"/>
            </a:xfrm>
          </p:grpSpPr>
          <p:sp>
            <p:nvSpPr>
              <p:cNvPr id="53" name="Rectangle 52">
                <a:extLst>
                  <a:ext uri="{FF2B5EF4-FFF2-40B4-BE49-F238E27FC236}">
                    <a16:creationId xmlns:a16="http://schemas.microsoft.com/office/drawing/2014/main" id="{E6A4374B-28C4-A446-B944-F0B0823BD893}"/>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4" name="TextBox 53">
                <a:extLst>
                  <a:ext uri="{FF2B5EF4-FFF2-40B4-BE49-F238E27FC236}">
                    <a16:creationId xmlns:a16="http://schemas.microsoft.com/office/drawing/2014/main" id="{EE586C57-8856-BD47-9CD4-B7DE17D313F0}"/>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55" name="Picture 54">
                <a:extLst>
                  <a:ext uri="{FF2B5EF4-FFF2-40B4-BE49-F238E27FC236}">
                    <a16:creationId xmlns:a16="http://schemas.microsoft.com/office/drawing/2014/main" id="{819A74B4-84E5-5946-9114-CF2C00B8314B}"/>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sp>
          <p:nvSpPr>
            <p:cNvPr id="35" name="TextBox 34">
              <a:extLst>
                <a:ext uri="{FF2B5EF4-FFF2-40B4-BE49-F238E27FC236}">
                  <a16:creationId xmlns:a16="http://schemas.microsoft.com/office/drawing/2014/main" id="{0C99A293-5185-464D-9613-58B7520A8FFD}"/>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36" name="Straight Connector 35">
              <a:extLst>
                <a:ext uri="{FF2B5EF4-FFF2-40B4-BE49-F238E27FC236}">
                  <a16:creationId xmlns:a16="http://schemas.microsoft.com/office/drawing/2014/main" id="{1C5A7CD5-C968-D840-92D1-2E763C0E070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6" name="Date Placeholder 5">
            <a:extLst>
              <a:ext uri="{FF2B5EF4-FFF2-40B4-BE49-F238E27FC236}">
                <a16:creationId xmlns:a16="http://schemas.microsoft.com/office/drawing/2014/main" id="{2A94A909-1D52-5E46-B1A0-D0AF81D2814A}"/>
              </a:ext>
            </a:extLst>
          </p:cNvPr>
          <p:cNvSpPr>
            <a:spLocks noGrp="1"/>
          </p:cNvSpPr>
          <p:nvPr userDrawn="1">
            <p:ph type="dt" sz="half" idx="16"/>
          </p:nvPr>
        </p:nvSpPr>
        <p:spPr/>
        <p:txBody>
          <a:bodyPr/>
          <a:lstStyle/>
          <a:p>
            <a:endParaRPr lang="en-US" dirty="0"/>
          </a:p>
        </p:txBody>
      </p:sp>
      <p:sp>
        <p:nvSpPr>
          <p:cNvPr id="7" name="Footer Placeholder 6">
            <a:extLst>
              <a:ext uri="{FF2B5EF4-FFF2-40B4-BE49-F238E27FC236}">
                <a16:creationId xmlns:a16="http://schemas.microsoft.com/office/drawing/2014/main" id="{37A6EC4E-A217-D940-A712-EF8E45593574}"/>
              </a:ext>
            </a:extLst>
          </p:cNvPr>
          <p:cNvSpPr>
            <a:spLocks noGrp="1"/>
          </p:cNvSpPr>
          <p:nvPr userDrawn="1">
            <p:ph type="ftr" sz="quarter" idx="17"/>
          </p:nvPr>
        </p:nvSpPr>
        <p:spPr/>
        <p:txBody>
          <a:bodyPr/>
          <a:lstStyle/>
          <a:p>
            <a:endParaRPr lang="en-US" dirty="0"/>
          </a:p>
        </p:txBody>
      </p:sp>
      <p:sp>
        <p:nvSpPr>
          <p:cNvPr id="8" name="Slide Number Placeholder 7">
            <a:extLst>
              <a:ext uri="{FF2B5EF4-FFF2-40B4-BE49-F238E27FC236}">
                <a16:creationId xmlns:a16="http://schemas.microsoft.com/office/drawing/2014/main" id="{95FB6912-B810-8A46-94FD-A4C9F97EBB58}"/>
              </a:ext>
            </a:extLst>
          </p:cNvPr>
          <p:cNvSpPr>
            <a:spLocks noGrp="1"/>
          </p:cNvSpPr>
          <p:nvPr userDrawn="1">
            <p:ph type="sldNum" sz="quarter" idx="18"/>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grpSp>
        <p:nvGrpSpPr>
          <p:cNvPr id="31" name="Group 30">
            <a:extLst>
              <a:ext uri="{FF2B5EF4-FFF2-40B4-BE49-F238E27FC236}">
                <a16:creationId xmlns:a16="http://schemas.microsoft.com/office/drawing/2014/main" id="{ECDB5F78-53FA-F540-9184-B4244AFBB550}"/>
              </a:ext>
            </a:extLst>
          </p:cNvPr>
          <p:cNvGrpSpPr/>
          <p:nvPr userDrawn="1"/>
        </p:nvGrpSpPr>
        <p:grpSpPr>
          <a:xfrm>
            <a:off x="574987" y="-246933"/>
            <a:ext cx="11040535" cy="7347304"/>
            <a:chOff x="431240" y="-246933"/>
            <a:chExt cx="8280401" cy="7347304"/>
          </a:xfrm>
        </p:grpSpPr>
        <p:grpSp>
          <p:nvGrpSpPr>
            <p:cNvPr id="32" name="Group 31">
              <a:extLst>
                <a:ext uri="{FF2B5EF4-FFF2-40B4-BE49-F238E27FC236}">
                  <a16:creationId xmlns:a16="http://schemas.microsoft.com/office/drawing/2014/main" id="{E94D2956-4630-B947-85C0-FA902055800D}"/>
                </a:ext>
              </a:extLst>
            </p:cNvPr>
            <p:cNvGrpSpPr/>
            <p:nvPr userDrawn="1"/>
          </p:nvGrpSpPr>
          <p:grpSpPr>
            <a:xfrm>
              <a:off x="431242" y="6864579"/>
              <a:ext cx="8280398" cy="235792"/>
              <a:chOff x="431801" y="-235792"/>
              <a:chExt cx="4400550" cy="235792"/>
            </a:xfrm>
          </p:grpSpPr>
          <p:cxnSp>
            <p:nvCxnSpPr>
              <p:cNvPr id="45" name="Straight Connector 44">
                <a:extLst>
                  <a:ext uri="{FF2B5EF4-FFF2-40B4-BE49-F238E27FC236}">
                    <a16:creationId xmlns:a16="http://schemas.microsoft.com/office/drawing/2014/main" id="{A9DCB243-7CBD-CF41-A847-4743B31F6F48}"/>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A3C3437-8E87-6441-8B0A-8F8F806A150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37" name="Group 36">
              <a:extLst>
                <a:ext uri="{FF2B5EF4-FFF2-40B4-BE49-F238E27FC236}">
                  <a16:creationId xmlns:a16="http://schemas.microsoft.com/office/drawing/2014/main" id="{C6173C6B-B5E5-C049-9D82-7736499206BB}"/>
                </a:ext>
              </a:extLst>
            </p:cNvPr>
            <p:cNvGrpSpPr/>
            <p:nvPr userDrawn="1"/>
          </p:nvGrpSpPr>
          <p:grpSpPr>
            <a:xfrm>
              <a:off x="431240" y="-246933"/>
              <a:ext cx="8280401" cy="235792"/>
              <a:chOff x="431800" y="-240735"/>
              <a:chExt cx="8280401" cy="235792"/>
            </a:xfrm>
          </p:grpSpPr>
          <p:grpSp>
            <p:nvGrpSpPr>
              <p:cNvPr id="38" name="Group 37">
                <a:extLst>
                  <a:ext uri="{FF2B5EF4-FFF2-40B4-BE49-F238E27FC236}">
                    <a16:creationId xmlns:a16="http://schemas.microsoft.com/office/drawing/2014/main" id="{7DB3214B-5835-0A45-ACF6-5EA3D2A2C2A4}"/>
                  </a:ext>
                </a:extLst>
              </p:cNvPr>
              <p:cNvGrpSpPr/>
              <p:nvPr userDrawn="1"/>
            </p:nvGrpSpPr>
            <p:grpSpPr>
              <a:xfrm>
                <a:off x="431800" y="-240735"/>
                <a:ext cx="8280400" cy="235792"/>
                <a:chOff x="431800" y="-235792"/>
                <a:chExt cx="4400551" cy="235792"/>
              </a:xfrm>
            </p:grpSpPr>
            <p:cxnSp>
              <p:nvCxnSpPr>
                <p:cNvPr id="42" name="Straight Connector 41">
                  <a:extLst>
                    <a:ext uri="{FF2B5EF4-FFF2-40B4-BE49-F238E27FC236}">
                      <a16:creationId xmlns:a16="http://schemas.microsoft.com/office/drawing/2014/main" id="{9CD9029C-552E-3842-9142-2A9B992CBCD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55CB89CE-5B72-E546-9AC4-BA4ABE7B6E5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96D438F2-534B-EE4B-B585-C4CC5EDDB6F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39" name="TextBox 38">
                <a:extLst>
                  <a:ext uri="{FF2B5EF4-FFF2-40B4-BE49-F238E27FC236}">
                    <a16:creationId xmlns:a16="http://schemas.microsoft.com/office/drawing/2014/main" id="{64038C5B-89D1-BD45-9508-F03D30A080FB}"/>
                  </a:ext>
                </a:extLst>
              </p:cNvPr>
              <p:cNvSpPr txBox="1"/>
              <p:nvPr userDrawn="1"/>
            </p:nvSpPr>
            <p:spPr>
              <a:xfrm>
                <a:off x="3914336" y="-176700"/>
                <a:ext cx="1315339"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40" name="Straight Arrow Connector 39">
                <a:extLst>
                  <a:ext uri="{FF2B5EF4-FFF2-40B4-BE49-F238E27FC236}">
                    <a16:creationId xmlns:a16="http://schemas.microsoft.com/office/drawing/2014/main" id="{EF67F087-0FB9-A040-AE75-7F2F09852397}"/>
                  </a:ext>
                </a:extLst>
              </p:cNvPr>
              <p:cNvCxnSpPr>
                <a:cxnSpLocks/>
                <a:stCxn id="39" idx="1"/>
                <a:endCxn id="44" idx="2"/>
              </p:cNvCxnSpPr>
              <p:nvPr userDrawn="1"/>
            </p:nvCxnSpPr>
            <p:spPr>
              <a:xfrm flipH="1">
                <a:off x="431801" y="-122839"/>
                <a:ext cx="3482535"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CD7BC267-67E7-4F46-8C2A-B2420627EE12}"/>
                  </a:ext>
                </a:extLst>
              </p:cNvPr>
              <p:cNvCxnSpPr>
                <a:cxnSpLocks/>
                <a:stCxn id="39" idx="3"/>
                <a:endCxn id="44" idx="0"/>
              </p:cNvCxnSpPr>
              <p:nvPr userDrawn="1"/>
            </p:nvCxnSpPr>
            <p:spPr>
              <a:xfrm flipV="1">
                <a:off x="5229674" y="-122840"/>
                <a:ext cx="3482527"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3510023617"/>
      </p:ext>
    </p:extLst>
  </p:cSld>
  <p:clrMapOvr>
    <a:overrideClrMapping bg1="lt1" tx1="dk1" bg2="lt2" tx2="dk2" accent1="accent1" accent2="accent2" accent3="accent3" accent4="accent4" accent5="accent5" accent6="accent6" hlink="lt1" folHlink="lt1"/>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hank You (Photo)">
    <p:bg>
      <p:bgPr>
        <a:solidFill>
          <a:schemeClr val="bg1"/>
        </a:solidFill>
        <a:effectLst/>
      </p:bgPr>
    </p:bg>
    <p:spTree>
      <p:nvGrpSpPr>
        <p:cNvPr id="1" name=""/>
        <p:cNvGrpSpPr/>
        <p:nvPr/>
      </p:nvGrpSpPr>
      <p:grpSpPr>
        <a:xfrm>
          <a:off x="0" y="0"/>
          <a:ext cx="0" cy="0"/>
          <a:chOff x="0" y="0"/>
          <a:chExt cx="0" cy="0"/>
        </a:xfrm>
      </p:grpSpPr>
      <p:sp>
        <p:nvSpPr>
          <p:cNvPr id="62" name="Picture Placeholder 61">
            <a:extLst>
              <a:ext uri="{FF2B5EF4-FFF2-40B4-BE49-F238E27FC236}">
                <a16:creationId xmlns:a16="http://schemas.microsoft.com/office/drawing/2014/main" id="{612C77EC-2A54-F64F-BCF8-8B49176B9502}"/>
              </a:ext>
            </a:extLst>
          </p:cNvPr>
          <p:cNvSpPr>
            <a:spLocks noGrp="1"/>
          </p:cNvSpPr>
          <p:nvPr>
            <p:ph type="pic" sz="quarter" idx="10" hasCustomPrompt="1"/>
          </p:nvPr>
        </p:nvSpPr>
        <p:spPr>
          <a:xfrm>
            <a:off x="0" y="0"/>
            <a:ext cx="12192000" cy="6858000"/>
          </a:xfrm>
          <a:custGeom>
            <a:avLst/>
            <a:gdLst>
              <a:gd name="connsiteX0" fmla="*/ 8381735 w 9144000"/>
              <a:gd name="connsiteY0" fmla="*/ 6576022 h 6858000"/>
              <a:gd name="connsiteX1" fmla="*/ 8398942 w 9144000"/>
              <a:gd name="connsiteY1" fmla="*/ 6577877 h 6858000"/>
              <a:gd name="connsiteX2" fmla="*/ 8407847 w 9144000"/>
              <a:gd name="connsiteY2" fmla="*/ 6584666 h 6858000"/>
              <a:gd name="connsiteX3" fmla="*/ 8413547 w 9144000"/>
              <a:gd name="connsiteY3" fmla="*/ 6594991 h 6858000"/>
              <a:gd name="connsiteX4" fmla="*/ 8415584 w 9144000"/>
              <a:gd name="connsiteY4" fmla="*/ 6608203 h 6858000"/>
              <a:gd name="connsiteX5" fmla="*/ 8413646 w 9144000"/>
              <a:gd name="connsiteY5" fmla="*/ 6621274 h 6858000"/>
              <a:gd name="connsiteX6" fmla="*/ 8407947 w 9144000"/>
              <a:gd name="connsiteY6" fmla="*/ 6631669 h 6858000"/>
              <a:gd name="connsiteX7" fmla="*/ 8375887 w 9144000"/>
              <a:gd name="connsiteY7" fmla="*/ 6638514 h 6858000"/>
              <a:gd name="connsiteX8" fmla="*/ 8366910 w 9144000"/>
              <a:gd name="connsiteY8" fmla="*/ 6631669 h 6858000"/>
              <a:gd name="connsiteX9" fmla="*/ 8361211 w 9144000"/>
              <a:gd name="connsiteY9" fmla="*/ 6621274 h 6858000"/>
              <a:gd name="connsiteX10" fmla="*/ 8359045 w 9144000"/>
              <a:gd name="connsiteY10" fmla="*/ 6608203 h 6858000"/>
              <a:gd name="connsiteX11" fmla="*/ 8361097 w 9144000"/>
              <a:gd name="connsiteY11" fmla="*/ 6594991 h 6858000"/>
              <a:gd name="connsiteX12" fmla="*/ 8366796 w 9144000"/>
              <a:gd name="connsiteY12" fmla="*/ 6584666 h 6858000"/>
              <a:gd name="connsiteX13" fmla="*/ 8381735 w 9144000"/>
              <a:gd name="connsiteY13" fmla="*/ 6576022 h 6858000"/>
              <a:gd name="connsiteX14" fmla="*/ 8525633 w 9144000"/>
              <a:gd name="connsiteY14" fmla="*/ 6553486 h 6858000"/>
              <a:gd name="connsiteX15" fmla="*/ 8525633 w 9144000"/>
              <a:gd name="connsiteY15" fmla="*/ 6599432 h 6858000"/>
              <a:gd name="connsiteX16" fmla="*/ 8525633 w 9144000"/>
              <a:gd name="connsiteY16" fmla="*/ 6662773 h 6858000"/>
              <a:gd name="connsiteX17" fmla="*/ 8595623 w 9144000"/>
              <a:gd name="connsiteY17" fmla="*/ 6662773 h 6858000"/>
              <a:gd name="connsiteX18" fmla="*/ 8596022 w 9144000"/>
              <a:gd name="connsiteY18" fmla="*/ 6662773 h 6858000"/>
              <a:gd name="connsiteX19" fmla="*/ 8596022 w 9144000"/>
              <a:gd name="connsiteY19" fmla="*/ 6645772 h 6858000"/>
              <a:gd name="connsiteX20" fmla="*/ 8595623 w 9144000"/>
              <a:gd name="connsiteY20" fmla="*/ 6645772 h 6858000"/>
              <a:gd name="connsiteX21" fmla="*/ 8595623 w 9144000"/>
              <a:gd name="connsiteY21" fmla="*/ 6639674 h 6858000"/>
              <a:gd name="connsiteX22" fmla="*/ 8551295 w 9144000"/>
              <a:gd name="connsiteY22" fmla="*/ 6639674 h 6858000"/>
              <a:gd name="connsiteX23" fmla="*/ 8551295 w 9144000"/>
              <a:gd name="connsiteY23" fmla="*/ 6618349 h 6858000"/>
              <a:gd name="connsiteX24" fmla="*/ 8591705 w 9144000"/>
              <a:gd name="connsiteY24" fmla="*/ 6618349 h 6858000"/>
              <a:gd name="connsiteX25" fmla="*/ 8591705 w 9144000"/>
              <a:gd name="connsiteY25" fmla="*/ 6596277 h 6858000"/>
              <a:gd name="connsiteX26" fmla="*/ 8551295 w 9144000"/>
              <a:gd name="connsiteY26" fmla="*/ 6596277 h 6858000"/>
              <a:gd name="connsiteX27" fmla="*/ 8551295 w 9144000"/>
              <a:gd name="connsiteY27" fmla="*/ 6576755 h 6858000"/>
              <a:gd name="connsiteX28" fmla="*/ 8595623 w 9144000"/>
              <a:gd name="connsiteY28" fmla="*/ 6576755 h 6858000"/>
              <a:gd name="connsiteX29" fmla="*/ 8595623 w 9144000"/>
              <a:gd name="connsiteY29" fmla="*/ 6570487 h 6858000"/>
              <a:gd name="connsiteX30" fmla="*/ 8596022 w 9144000"/>
              <a:gd name="connsiteY30" fmla="*/ 6570487 h 6858000"/>
              <a:gd name="connsiteX31" fmla="*/ 8596022 w 9144000"/>
              <a:gd name="connsiteY31" fmla="*/ 6553486 h 6858000"/>
              <a:gd name="connsiteX32" fmla="*/ 8595623 w 9144000"/>
              <a:gd name="connsiteY32" fmla="*/ 6553486 h 6858000"/>
              <a:gd name="connsiteX33" fmla="*/ 8547362 w 9144000"/>
              <a:gd name="connsiteY33" fmla="*/ 6553486 h 6858000"/>
              <a:gd name="connsiteX34" fmla="*/ 8448177 w 9144000"/>
              <a:gd name="connsiteY34" fmla="*/ 6553486 h 6858000"/>
              <a:gd name="connsiteX35" fmla="*/ 8448177 w 9144000"/>
              <a:gd name="connsiteY35" fmla="*/ 6599432 h 6858000"/>
              <a:gd name="connsiteX36" fmla="*/ 8448177 w 9144000"/>
              <a:gd name="connsiteY36" fmla="*/ 6662773 h 6858000"/>
              <a:gd name="connsiteX37" fmla="*/ 8518167 w 9144000"/>
              <a:gd name="connsiteY37" fmla="*/ 6662773 h 6858000"/>
              <a:gd name="connsiteX38" fmla="*/ 8518552 w 9144000"/>
              <a:gd name="connsiteY38" fmla="*/ 6662773 h 6858000"/>
              <a:gd name="connsiteX39" fmla="*/ 8518552 w 9144000"/>
              <a:gd name="connsiteY39" fmla="*/ 6645772 h 6858000"/>
              <a:gd name="connsiteX40" fmla="*/ 8518167 w 9144000"/>
              <a:gd name="connsiteY40" fmla="*/ 6645772 h 6858000"/>
              <a:gd name="connsiteX41" fmla="*/ 8518167 w 9144000"/>
              <a:gd name="connsiteY41" fmla="*/ 6639674 h 6858000"/>
              <a:gd name="connsiteX42" fmla="*/ 8473825 w 9144000"/>
              <a:gd name="connsiteY42" fmla="*/ 6639674 h 6858000"/>
              <a:gd name="connsiteX43" fmla="*/ 8473825 w 9144000"/>
              <a:gd name="connsiteY43" fmla="*/ 6618349 h 6858000"/>
              <a:gd name="connsiteX44" fmla="*/ 8514235 w 9144000"/>
              <a:gd name="connsiteY44" fmla="*/ 6618349 h 6858000"/>
              <a:gd name="connsiteX45" fmla="*/ 8514235 w 9144000"/>
              <a:gd name="connsiteY45" fmla="*/ 6596277 h 6858000"/>
              <a:gd name="connsiteX46" fmla="*/ 8473825 w 9144000"/>
              <a:gd name="connsiteY46" fmla="*/ 6596277 h 6858000"/>
              <a:gd name="connsiteX47" fmla="*/ 8473825 w 9144000"/>
              <a:gd name="connsiteY47" fmla="*/ 6576755 h 6858000"/>
              <a:gd name="connsiteX48" fmla="*/ 8518167 w 9144000"/>
              <a:gd name="connsiteY48" fmla="*/ 6576755 h 6858000"/>
              <a:gd name="connsiteX49" fmla="*/ 8518167 w 9144000"/>
              <a:gd name="connsiteY49" fmla="*/ 6570487 h 6858000"/>
              <a:gd name="connsiteX50" fmla="*/ 8518552 w 9144000"/>
              <a:gd name="connsiteY50" fmla="*/ 6570487 h 6858000"/>
              <a:gd name="connsiteX51" fmla="*/ 8518552 w 9144000"/>
              <a:gd name="connsiteY51" fmla="*/ 6553486 h 6858000"/>
              <a:gd name="connsiteX52" fmla="*/ 8518167 w 9144000"/>
              <a:gd name="connsiteY52" fmla="*/ 6553486 h 6858000"/>
              <a:gd name="connsiteX53" fmla="*/ 8469892 w 9144000"/>
              <a:gd name="connsiteY53" fmla="*/ 6553486 h 6858000"/>
              <a:gd name="connsiteX54" fmla="*/ 8387913 w 9144000"/>
              <a:gd name="connsiteY54" fmla="*/ 6553453 h 6858000"/>
              <a:gd name="connsiteX55" fmla="*/ 8365286 w 9144000"/>
              <a:gd name="connsiteY55" fmla="*/ 6557679 h 6858000"/>
              <a:gd name="connsiteX56" fmla="*/ 8357150 w 9144000"/>
              <a:gd name="connsiteY56" fmla="*/ 6561806 h 6858000"/>
              <a:gd name="connsiteX57" fmla="*/ 8332784 w 9144000"/>
              <a:gd name="connsiteY57" fmla="*/ 6613372 h 6858000"/>
              <a:gd name="connsiteX58" fmla="*/ 8336389 w 9144000"/>
              <a:gd name="connsiteY58" fmla="*/ 6629852 h 6858000"/>
              <a:gd name="connsiteX59" fmla="*/ 8364431 w 9144000"/>
              <a:gd name="connsiteY59" fmla="*/ 6658585 h 6858000"/>
              <a:gd name="connsiteX60" fmla="*/ 8386916 w 9144000"/>
              <a:gd name="connsiteY60" fmla="*/ 6662811 h 6858000"/>
              <a:gd name="connsiteX61" fmla="*/ 8409486 w 9144000"/>
              <a:gd name="connsiteY61" fmla="*/ 6658585 h 6858000"/>
              <a:gd name="connsiteX62" fmla="*/ 8426926 w 9144000"/>
              <a:gd name="connsiteY62" fmla="*/ 6647106 h 6858000"/>
              <a:gd name="connsiteX63" fmla="*/ 8438240 w 9144000"/>
              <a:gd name="connsiteY63" fmla="*/ 6629852 h 6858000"/>
              <a:gd name="connsiteX64" fmla="*/ 8442258 w 9144000"/>
              <a:gd name="connsiteY64" fmla="*/ 6608203 h 6858000"/>
              <a:gd name="connsiteX65" fmla="*/ 8438397 w 9144000"/>
              <a:gd name="connsiteY65" fmla="*/ 6586469 h 6858000"/>
              <a:gd name="connsiteX66" fmla="*/ 8427439 w 9144000"/>
              <a:gd name="connsiteY66" fmla="*/ 6569158 h 6858000"/>
              <a:gd name="connsiteX67" fmla="*/ 8410341 w 9144000"/>
              <a:gd name="connsiteY67" fmla="*/ 6557679 h 6858000"/>
              <a:gd name="connsiteX68" fmla="*/ 8387913 w 9144000"/>
              <a:gd name="connsiteY68" fmla="*/ 6553453 h 6858000"/>
              <a:gd name="connsiteX69" fmla="*/ 8245203 w 9144000"/>
              <a:gd name="connsiteY69" fmla="*/ 6553106 h 6858000"/>
              <a:gd name="connsiteX70" fmla="*/ 8261546 w 9144000"/>
              <a:gd name="connsiteY70" fmla="*/ 6587178 h 6858000"/>
              <a:gd name="connsiteX71" fmla="*/ 8288505 w 9144000"/>
              <a:gd name="connsiteY71" fmla="*/ 6587178 h 6858000"/>
              <a:gd name="connsiteX72" fmla="*/ 8274156 w 9144000"/>
              <a:gd name="connsiteY72" fmla="*/ 6553106 h 6858000"/>
              <a:gd name="connsiteX73" fmla="*/ 8325053 w 9144000"/>
              <a:gd name="connsiteY73" fmla="*/ 6553092 h 6858000"/>
              <a:gd name="connsiteX74" fmla="*/ 8299363 w 9144000"/>
              <a:gd name="connsiteY74" fmla="*/ 6612222 h 6858000"/>
              <a:gd name="connsiteX75" fmla="*/ 8292395 w 9144000"/>
              <a:gd name="connsiteY75" fmla="*/ 6595883 h 6858000"/>
              <a:gd name="connsiteX76" fmla="*/ 8265650 w 9144000"/>
              <a:gd name="connsiteY76" fmla="*/ 6595883 h 6858000"/>
              <a:gd name="connsiteX77" fmla="*/ 8297582 w 9144000"/>
              <a:gd name="connsiteY77" fmla="*/ 6662548 h 6858000"/>
              <a:gd name="connsiteX78" fmla="*/ 8300545 w 9144000"/>
              <a:gd name="connsiteY78" fmla="*/ 6662548 h 6858000"/>
              <a:gd name="connsiteX79" fmla="*/ 8352283 w 9144000"/>
              <a:gd name="connsiteY79" fmla="*/ 6553092 h 6858000"/>
              <a:gd name="connsiteX80" fmla="*/ 8704282 w 9144000"/>
              <a:gd name="connsiteY80" fmla="*/ 6515554 h 6858000"/>
              <a:gd name="connsiteX81" fmla="*/ 8704282 w 9144000"/>
              <a:gd name="connsiteY81" fmla="*/ 6690482 h 6858000"/>
              <a:gd name="connsiteX82" fmla="*/ 8723671 w 9144000"/>
              <a:gd name="connsiteY82" fmla="*/ 6690482 h 6858000"/>
              <a:gd name="connsiteX83" fmla="*/ 8723671 w 9144000"/>
              <a:gd name="connsiteY83" fmla="*/ 6515554 h 6858000"/>
              <a:gd name="connsiteX84" fmla="*/ 0 w 9144000"/>
              <a:gd name="connsiteY84" fmla="*/ 0 h 6858000"/>
              <a:gd name="connsiteX85" fmla="*/ 9144000 w 9144000"/>
              <a:gd name="connsiteY85" fmla="*/ 0 h 6858000"/>
              <a:gd name="connsiteX86" fmla="*/ 9144000 w 9144000"/>
              <a:gd name="connsiteY86" fmla="*/ 6214681 h 6858000"/>
              <a:gd name="connsiteX87" fmla="*/ 9144000 w 9144000"/>
              <a:gd name="connsiteY87" fmla="*/ 6397151 h 6858000"/>
              <a:gd name="connsiteX88" fmla="*/ 9144000 w 9144000"/>
              <a:gd name="connsiteY88" fmla="*/ 6401792 h 6858000"/>
              <a:gd name="connsiteX89" fmla="*/ 9144000 w 9144000"/>
              <a:gd name="connsiteY89" fmla="*/ 6434962 h 6858000"/>
              <a:gd name="connsiteX90" fmla="*/ 9144000 w 9144000"/>
              <a:gd name="connsiteY90" fmla="*/ 6858000 h 6858000"/>
              <a:gd name="connsiteX91" fmla="*/ 8995529 w 9144000"/>
              <a:gd name="connsiteY91" fmla="*/ 6858000 h 6858000"/>
              <a:gd name="connsiteX92" fmla="*/ 7924718 w 9144000"/>
              <a:gd name="connsiteY92" fmla="*/ 6858000 h 6858000"/>
              <a:gd name="connsiteX93" fmla="*/ 0 w 9144000"/>
              <a:gd name="connsiteY93" fmla="*/ 6858000 h 6858000"/>
              <a:gd name="connsiteX94" fmla="*/ 0 w 9144000"/>
              <a:gd name="connsiteY94" fmla="*/ 6434962 h 6858000"/>
              <a:gd name="connsiteX95" fmla="*/ 0 w 9144000"/>
              <a:gd name="connsiteY95" fmla="*/ 6401792 h 6858000"/>
              <a:gd name="connsiteX96" fmla="*/ 0 w 9144000"/>
              <a:gd name="connsiteY96" fmla="*/ 6397151 h 6858000"/>
              <a:gd name="connsiteX97" fmla="*/ 0 w 9144000"/>
              <a:gd name="connsiteY97" fmla="*/ 621468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144000" h="6858000">
                <a:moveTo>
                  <a:pt x="8381735" y="6576022"/>
                </a:moveTo>
                <a:cubicBezTo>
                  <a:pt x="8387385" y="6574829"/>
                  <a:pt x="8393413" y="6575385"/>
                  <a:pt x="8398942" y="6577877"/>
                </a:cubicBezTo>
                <a:cubicBezTo>
                  <a:pt x="8402361" y="6579495"/>
                  <a:pt x="8405396" y="6581808"/>
                  <a:pt x="8407847" y="6584666"/>
                </a:cubicBezTo>
                <a:cubicBezTo>
                  <a:pt x="8410387" y="6587723"/>
                  <a:pt x="8412320" y="6591226"/>
                  <a:pt x="8413547" y="6594991"/>
                </a:cubicBezTo>
                <a:cubicBezTo>
                  <a:pt x="8414952" y="6599255"/>
                  <a:pt x="8415640" y="6603718"/>
                  <a:pt x="8415584" y="6608203"/>
                </a:cubicBezTo>
                <a:cubicBezTo>
                  <a:pt x="8415665" y="6612635"/>
                  <a:pt x="8415011" y="6617051"/>
                  <a:pt x="8413646" y="6621274"/>
                </a:cubicBezTo>
                <a:cubicBezTo>
                  <a:pt x="8412411" y="6625056"/>
                  <a:pt x="8410478" y="6628580"/>
                  <a:pt x="8407947" y="6631669"/>
                </a:cubicBezTo>
                <a:cubicBezTo>
                  <a:pt x="8399972" y="6640715"/>
                  <a:pt x="8386928" y="6643500"/>
                  <a:pt x="8375887" y="6638514"/>
                </a:cubicBezTo>
                <a:cubicBezTo>
                  <a:pt x="8372423" y="6636911"/>
                  <a:pt x="8369358" y="6634574"/>
                  <a:pt x="8366910" y="6631669"/>
                </a:cubicBezTo>
                <a:cubicBezTo>
                  <a:pt x="8364379" y="6628580"/>
                  <a:pt x="8362446" y="6625056"/>
                  <a:pt x="8361211" y="6621274"/>
                </a:cubicBezTo>
                <a:cubicBezTo>
                  <a:pt x="8359769" y="6617063"/>
                  <a:pt x="8359038" y="6612647"/>
                  <a:pt x="8359045" y="6608203"/>
                </a:cubicBezTo>
                <a:cubicBezTo>
                  <a:pt x="8358993" y="6603717"/>
                  <a:pt x="8359686" y="6599254"/>
                  <a:pt x="8361097" y="6594991"/>
                </a:cubicBezTo>
                <a:cubicBezTo>
                  <a:pt x="8362323" y="6591226"/>
                  <a:pt x="8364257" y="6587723"/>
                  <a:pt x="8366796" y="6584666"/>
                </a:cubicBezTo>
                <a:cubicBezTo>
                  <a:pt x="8370813" y="6580158"/>
                  <a:pt x="8376085" y="6577215"/>
                  <a:pt x="8381735" y="6576022"/>
                </a:cubicBezTo>
                <a:close/>
                <a:moveTo>
                  <a:pt x="8525633" y="6553486"/>
                </a:moveTo>
                <a:lnTo>
                  <a:pt x="8525633" y="6599432"/>
                </a:lnTo>
                <a:lnTo>
                  <a:pt x="8525633" y="6662773"/>
                </a:lnTo>
                <a:lnTo>
                  <a:pt x="8595623" y="6662773"/>
                </a:lnTo>
                <a:lnTo>
                  <a:pt x="8596022" y="6662773"/>
                </a:lnTo>
                <a:lnTo>
                  <a:pt x="8596022" y="6645772"/>
                </a:lnTo>
                <a:lnTo>
                  <a:pt x="8595623" y="6645772"/>
                </a:lnTo>
                <a:lnTo>
                  <a:pt x="8595623" y="6639674"/>
                </a:lnTo>
                <a:lnTo>
                  <a:pt x="8551295" y="6639674"/>
                </a:lnTo>
                <a:lnTo>
                  <a:pt x="8551295" y="6618349"/>
                </a:lnTo>
                <a:lnTo>
                  <a:pt x="8591705" y="6618349"/>
                </a:lnTo>
                <a:lnTo>
                  <a:pt x="8591705" y="6596277"/>
                </a:lnTo>
                <a:lnTo>
                  <a:pt x="8551295" y="6596277"/>
                </a:lnTo>
                <a:lnTo>
                  <a:pt x="8551295" y="6576755"/>
                </a:lnTo>
                <a:lnTo>
                  <a:pt x="8595623" y="6576755"/>
                </a:lnTo>
                <a:lnTo>
                  <a:pt x="8595623" y="6570487"/>
                </a:lnTo>
                <a:lnTo>
                  <a:pt x="8596022" y="6570487"/>
                </a:lnTo>
                <a:lnTo>
                  <a:pt x="8596022" y="6553486"/>
                </a:lnTo>
                <a:lnTo>
                  <a:pt x="8595623" y="6553486"/>
                </a:lnTo>
                <a:lnTo>
                  <a:pt x="8547362" y="6553486"/>
                </a:lnTo>
                <a:close/>
                <a:moveTo>
                  <a:pt x="8448177" y="6553486"/>
                </a:moveTo>
                <a:lnTo>
                  <a:pt x="8448177" y="6599432"/>
                </a:lnTo>
                <a:lnTo>
                  <a:pt x="8448177" y="6662773"/>
                </a:lnTo>
                <a:lnTo>
                  <a:pt x="8518167" y="6662773"/>
                </a:lnTo>
                <a:lnTo>
                  <a:pt x="8518552" y="6662773"/>
                </a:lnTo>
                <a:lnTo>
                  <a:pt x="8518552" y="6645772"/>
                </a:lnTo>
                <a:lnTo>
                  <a:pt x="8518167" y="6645772"/>
                </a:lnTo>
                <a:lnTo>
                  <a:pt x="8518167" y="6639674"/>
                </a:lnTo>
                <a:lnTo>
                  <a:pt x="8473825" y="6639674"/>
                </a:lnTo>
                <a:lnTo>
                  <a:pt x="8473825" y="6618349"/>
                </a:lnTo>
                <a:lnTo>
                  <a:pt x="8514235" y="6618349"/>
                </a:lnTo>
                <a:lnTo>
                  <a:pt x="8514235" y="6596277"/>
                </a:lnTo>
                <a:lnTo>
                  <a:pt x="8473825" y="6596277"/>
                </a:lnTo>
                <a:lnTo>
                  <a:pt x="8473825" y="6576755"/>
                </a:lnTo>
                <a:lnTo>
                  <a:pt x="8518167" y="6576755"/>
                </a:lnTo>
                <a:lnTo>
                  <a:pt x="8518167" y="6570487"/>
                </a:lnTo>
                <a:lnTo>
                  <a:pt x="8518552" y="6570487"/>
                </a:lnTo>
                <a:lnTo>
                  <a:pt x="8518552" y="6553486"/>
                </a:lnTo>
                <a:lnTo>
                  <a:pt x="8518167" y="6553486"/>
                </a:lnTo>
                <a:lnTo>
                  <a:pt x="8469892" y="6553486"/>
                </a:lnTo>
                <a:close/>
                <a:moveTo>
                  <a:pt x="8387913" y="6553453"/>
                </a:moveTo>
                <a:cubicBezTo>
                  <a:pt x="8380162" y="6553369"/>
                  <a:pt x="8372471" y="6554805"/>
                  <a:pt x="8365286" y="6557679"/>
                </a:cubicBezTo>
                <a:cubicBezTo>
                  <a:pt x="8362463" y="6558830"/>
                  <a:pt x="8359742" y="6560211"/>
                  <a:pt x="8357150" y="6561806"/>
                </a:cubicBezTo>
                <a:lnTo>
                  <a:pt x="8332784" y="6613372"/>
                </a:lnTo>
                <a:cubicBezTo>
                  <a:pt x="8333178" y="6619008"/>
                  <a:pt x="8334392" y="6624558"/>
                  <a:pt x="8336389" y="6629852"/>
                </a:cubicBezTo>
                <a:cubicBezTo>
                  <a:pt x="8341193" y="6642926"/>
                  <a:pt x="8351385" y="6653370"/>
                  <a:pt x="8364431" y="6658585"/>
                </a:cubicBezTo>
                <a:cubicBezTo>
                  <a:pt x="8371564" y="6661469"/>
                  <a:pt x="8379210" y="6662906"/>
                  <a:pt x="8386916" y="6662811"/>
                </a:cubicBezTo>
                <a:cubicBezTo>
                  <a:pt x="8394648" y="6662898"/>
                  <a:pt x="8402321" y="6661462"/>
                  <a:pt x="8409486" y="6658585"/>
                </a:cubicBezTo>
                <a:cubicBezTo>
                  <a:pt x="8416013" y="6655943"/>
                  <a:pt x="8421943" y="6652041"/>
                  <a:pt x="8426926" y="6647106"/>
                </a:cubicBezTo>
                <a:cubicBezTo>
                  <a:pt x="8431850" y="6642179"/>
                  <a:pt x="8435700" y="6636306"/>
                  <a:pt x="8438240" y="6629852"/>
                </a:cubicBezTo>
                <a:cubicBezTo>
                  <a:pt x="8440974" y="6622958"/>
                  <a:pt x="8442338" y="6615607"/>
                  <a:pt x="8442258" y="6608203"/>
                </a:cubicBezTo>
                <a:cubicBezTo>
                  <a:pt x="8442328" y="6600785"/>
                  <a:pt x="8441019" y="6593419"/>
                  <a:pt x="8438397" y="6586469"/>
                </a:cubicBezTo>
                <a:cubicBezTo>
                  <a:pt x="8435967" y="6580025"/>
                  <a:pt x="8432239" y="6574136"/>
                  <a:pt x="8427439" y="6569158"/>
                </a:cubicBezTo>
                <a:cubicBezTo>
                  <a:pt x="8422597" y="6564212"/>
                  <a:pt x="8416777" y="6560305"/>
                  <a:pt x="8410341" y="6557679"/>
                </a:cubicBezTo>
                <a:cubicBezTo>
                  <a:pt x="8403230" y="6554789"/>
                  <a:pt x="8395601" y="6553352"/>
                  <a:pt x="8387913" y="6553453"/>
                </a:cubicBezTo>
                <a:close/>
                <a:moveTo>
                  <a:pt x="8245203" y="6553106"/>
                </a:moveTo>
                <a:lnTo>
                  <a:pt x="8261546" y="6587178"/>
                </a:lnTo>
                <a:lnTo>
                  <a:pt x="8288505" y="6587178"/>
                </a:lnTo>
                <a:lnTo>
                  <a:pt x="8274156" y="6553106"/>
                </a:lnTo>
                <a:close/>
                <a:moveTo>
                  <a:pt x="8325053" y="6553092"/>
                </a:moveTo>
                <a:lnTo>
                  <a:pt x="8299363" y="6612222"/>
                </a:lnTo>
                <a:lnTo>
                  <a:pt x="8292395" y="6595883"/>
                </a:lnTo>
                <a:lnTo>
                  <a:pt x="8265650" y="6595883"/>
                </a:lnTo>
                <a:lnTo>
                  <a:pt x="8297582" y="6662548"/>
                </a:lnTo>
                <a:lnTo>
                  <a:pt x="8300545" y="6662548"/>
                </a:lnTo>
                <a:lnTo>
                  <a:pt x="8352283" y="6553092"/>
                </a:lnTo>
                <a:close/>
                <a:moveTo>
                  <a:pt x="8704282" y="6515554"/>
                </a:moveTo>
                <a:lnTo>
                  <a:pt x="8704282" y="6690482"/>
                </a:lnTo>
                <a:lnTo>
                  <a:pt x="8723671" y="6690482"/>
                </a:lnTo>
                <a:lnTo>
                  <a:pt x="8723671" y="6515554"/>
                </a:lnTo>
                <a:close/>
                <a:moveTo>
                  <a:pt x="0" y="0"/>
                </a:moveTo>
                <a:lnTo>
                  <a:pt x="9144000" y="0"/>
                </a:lnTo>
                <a:lnTo>
                  <a:pt x="9144000" y="6214681"/>
                </a:lnTo>
                <a:lnTo>
                  <a:pt x="9144000" y="6397151"/>
                </a:lnTo>
                <a:lnTo>
                  <a:pt x="9144000" y="6401792"/>
                </a:lnTo>
                <a:lnTo>
                  <a:pt x="9144000" y="6434962"/>
                </a:lnTo>
                <a:lnTo>
                  <a:pt x="9144000" y="6858000"/>
                </a:lnTo>
                <a:lnTo>
                  <a:pt x="8995529" y="6858000"/>
                </a:lnTo>
                <a:lnTo>
                  <a:pt x="7924718" y="6858000"/>
                </a:lnTo>
                <a:lnTo>
                  <a:pt x="0" y="6858000"/>
                </a:lnTo>
                <a:lnTo>
                  <a:pt x="0" y="6434962"/>
                </a:lnTo>
                <a:lnTo>
                  <a:pt x="0" y="6401792"/>
                </a:lnTo>
                <a:lnTo>
                  <a:pt x="0" y="6397151"/>
                </a:lnTo>
                <a:lnTo>
                  <a:pt x="0" y="6214681"/>
                </a:lnTo>
                <a:close/>
              </a:path>
            </a:pathLst>
          </a:custGeom>
          <a:solidFill>
            <a:schemeClr val="accent2"/>
          </a:solidFill>
        </p:spPr>
        <p:txBody>
          <a:bodyPr wrap="square" rIns="432000" anchor="ctr">
            <a:noAutofit/>
          </a:bodyPr>
          <a:lstStyle>
            <a:lvl1pPr algn="r">
              <a:defRPr b="0">
                <a:solidFill>
                  <a:schemeClr val="bg1"/>
                </a:solidFill>
              </a:defRPr>
            </a:lvl1pPr>
          </a:lstStyle>
          <a:p>
            <a:r>
              <a:rPr lang="en-US" dirty="0"/>
              <a:t> Drag image onto slide to add photo </a:t>
            </a:r>
          </a:p>
        </p:txBody>
      </p:sp>
      <p:sp>
        <p:nvSpPr>
          <p:cNvPr id="24" name="Rectangle 23">
            <a:extLst>
              <a:ext uri="{FF2B5EF4-FFF2-40B4-BE49-F238E27FC236}">
                <a16:creationId xmlns:a16="http://schemas.microsoft.com/office/drawing/2014/main" id="{8F61A072-3C5F-4846-BB8E-52BBAAD71B0D}"/>
              </a:ext>
            </a:extLst>
          </p:cNvPr>
          <p:cNvSpPr/>
          <p:nvPr userDrawn="1"/>
        </p:nvSpPr>
        <p:spPr>
          <a:xfrm>
            <a:off x="12532243" y="-1"/>
            <a:ext cx="3731535" cy="786089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73" name="Picture 72">
            <a:extLst>
              <a:ext uri="{FF2B5EF4-FFF2-40B4-BE49-F238E27FC236}">
                <a16:creationId xmlns:a16="http://schemas.microsoft.com/office/drawing/2014/main" id="{9623AF5A-508B-0F44-9682-E5B1C5647AF4}"/>
              </a:ext>
            </a:extLst>
          </p:cNvPr>
          <p:cNvPicPr>
            <a:picLocks noChangeAspect="1"/>
          </p:cNvPicPr>
          <p:nvPr userDrawn="1"/>
        </p:nvPicPr>
        <p:blipFill rotWithShape="1">
          <a:blip r:embed="rId2"/>
          <a:srcRect r="44021" b="6017"/>
          <a:stretch/>
        </p:blipFill>
        <p:spPr>
          <a:xfrm>
            <a:off x="12744675" y="1323798"/>
            <a:ext cx="3510051" cy="532435"/>
          </a:xfrm>
          <a:prstGeom prst="rect">
            <a:avLst/>
          </a:prstGeom>
        </p:spPr>
      </p:pic>
      <p:sp>
        <p:nvSpPr>
          <p:cNvPr id="11" name="Text Placeholder 10">
            <a:extLst>
              <a:ext uri="{FF2B5EF4-FFF2-40B4-BE49-F238E27FC236}">
                <a16:creationId xmlns:a16="http://schemas.microsoft.com/office/drawing/2014/main" id="{B44084FA-14AD-964B-87DF-2AC4D0E2555D}"/>
              </a:ext>
            </a:extLst>
          </p:cNvPr>
          <p:cNvSpPr>
            <a:spLocks noGrp="1"/>
          </p:cNvSpPr>
          <p:nvPr>
            <p:ph type="body" sz="quarter" idx="15" hasCustomPrompt="1"/>
          </p:nvPr>
        </p:nvSpPr>
        <p:spPr>
          <a:xfrm>
            <a:off x="2" y="1"/>
            <a:ext cx="9622695" cy="6858000"/>
          </a:xfrm>
          <a:custGeom>
            <a:avLst/>
            <a:gdLst>
              <a:gd name="connsiteX0" fmla="*/ 0 w 7217021"/>
              <a:gd name="connsiteY0" fmla="*/ 0 h 6858000"/>
              <a:gd name="connsiteX1" fmla="*/ 3962555 w 7217021"/>
              <a:gd name="connsiteY1" fmla="*/ 0 h 6858000"/>
              <a:gd name="connsiteX2" fmla="*/ 7217021 w 7217021"/>
              <a:gd name="connsiteY2" fmla="*/ 6858000 h 6858000"/>
              <a:gd name="connsiteX3" fmla="*/ 0 w 7217021"/>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217021" h="6858000">
                <a:moveTo>
                  <a:pt x="0" y="0"/>
                </a:moveTo>
                <a:lnTo>
                  <a:pt x="3962555" y="0"/>
                </a:lnTo>
                <a:lnTo>
                  <a:pt x="7217021" y="6858000"/>
                </a:lnTo>
                <a:lnTo>
                  <a:pt x="0" y="6858000"/>
                </a:lnTo>
                <a:close/>
              </a:path>
            </a:pathLst>
          </a:custGeom>
          <a:gradFill>
            <a:gsLst>
              <a:gs pos="13000">
                <a:schemeClr val="accent1"/>
              </a:gs>
              <a:gs pos="97000">
                <a:schemeClr val="accent1">
                  <a:alpha val="80000"/>
                </a:schemeClr>
              </a:gs>
            </a:gsLst>
            <a:lin ang="5400000" scaled="0"/>
          </a:gradFill>
          <a:ln>
            <a:solidFill>
              <a:srgbClr val="003865">
                <a:shade val="50000"/>
                <a:alpha val="0"/>
              </a:srgbClr>
            </a:solidFill>
          </a:ln>
        </p:spPr>
        <p:txBody>
          <a:bodyPr wrap="square" lIns="432000" tIns="3600000" rIns="2160000" bIns="648000" anchor="t">
            <a:noAutofit/>
          </a:bodyPr>
          <a:lstStyle>
            <a:lvl1pPr marL="20638" indent="0">
              <a:spcAft>
                <a:spcPts val="300"/>
              </a:spcAft>
              <a:buNone/>
              <a:tabLst/>
              <a:defRPr sz="1400" b="1">
                <a:solidFill>
                  <a:schemeClr val="bg1"/>
                </a:solidFill>
              </a:defRPr>
            </a:lvl1pPr>
            <a:lvl2pPr marL="20638" indent="0">
              <a:spcAft>
                <a:spcPts val="200"/>
              </a:spcAft>
              <a:buNone/>
              <a:tabLst/>
              <a:defRPr sz="1400">
                <a:solidFill>
                  <a:schemeClr val="bg1"/>
                </a:solidFill>
              </a:defRPr>
            </a:lvl2pPr>
            <a:lvl3pPr marL="20638" indent="0">
              <a:spcAft>
                <a:spcPts val="200"/>
              </a:spcAft>
              <a:buFont typeface="Wingdings" pitchFamily="2" charset="2"/>
              <a:buNone/>
              <a:tabLst/>
              <a:defRPr sz="1400">
                <a:solidFill>
                  <a:schemeClr val="bg1"/>
                </a:solidFill>
              </a:defRPr>
            </a:lvl3pPr>
            <a:lvl4pPr marL="20638" indent="0">
              <a:spcAft>
                <a:spcPts val="200"/>
              </a:spcAft>
              <a:buFont typeface="System Font Regular"/>
              <a:buNone/>
              <a:tabLst/>
              <a:defRPr sz="1400">
                <a:solidFill>
                  <a:schemeClr val="bg1"/>
                </a:solidFill>
              </a:defRPr>
            </a:lvl4pPr>
            <a:lvl5pPr marL="20638" indent="0">
              <a:spcAft>
                <a:spcPts val="200"/>
              </a:spcAft>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dirty="0"/>
              <a:t>Click to add contact information</a:t>
            </a:r>
          </a:p>
          <a:p>
            <a:pPr lvl="1"/>
            <a:r>
              <a:rPr lang="en-US" dirty="0"/>
              <a:t>Second level</a:t>
            </a:r>
          </a:p>
        </p:txBody>
      </p:sp>
      <p:sp>
        <p:nvSpPr>
          <p:cNvPr id="2" name="Title 1">
            <a:extLst>
              <a:ext uri="{FF2B5EF4-FFF2-40B4-BE49-F238E27FC236}">
                <a16:creationId xmlns:a16="http://schemas.microsoft.com/office/drawing/2014/main" id="{AE92DE0F-EE53-C14F-99E3-F9D9748A8383}"/>
              </a:ext>
            </a:extLst>
          </p:cNvPr>
          <p:cNvSpPr>
            <a:spLocks noGrp="1"/>
          </p:cNvSpPr>
          <p:nvPr>
            <p:ph type="title" hasCustomPrompt="1"/>
          </p:nvPr>
        </p:nvSpPr>
        <p:spPr>
          <a:xfrm>
            <a:off x="575734" y="2402732"/>
            <a:ext cx="6177993" cy="922907"/>
          </a:xfrm>
        </p:spPr>
        <p:txBody>
          <a:bodyPr/>
          <a:lstStyle>
            <a:lvl1pPr>
              <a:defRPr sz="3200">
                <a:solidFill>
                  <a:schemeClr val="bg2"/>
                </a:solidFill>
              </a:defRPr>
            </a:lvl1pPr>
          </a:lstStyle>
          <a:p>
            <a:r>
              <a:rPr lang="en-US" dirty="0"/>
              <a:t>Click to add</a:t>
            </a:r>
            <a:br>
              <a:rPr lang="en-US" dirty="0"/>
            </a:br>
            <a:r>
              <a:rPr lang="en-US" dirty="0"/>
              <a:t>thank-you message</a:t>
            </a:r>
          </a:p>
        </p:txBody>
      </p:sp>
      <p:grpSp>
        <p:nvGrpSpPr>
          <p:cNvPr id="7" name="Group 6">
            <a:extLst>
              <a:ext uri="{FF2B5EF4-FFF2-40B4-BE49-F238E27FC236}">
                <a16:creationId xmlns:a16="http://schemas.microsoft.com/office/drawing/2014/main" id="{B0A164B3-8FCE-4E4B-B360-04ECA3CD2AA8}"/>
              </a:ext>
            </a:extLst>
          </p:cNvPr>
          <p:cNvGrpSpPr/>
          <p:nvPr userDrawn="1"/>
        </p:nvGrpSpPr>
        <p:grpSpPr>
          <a:xfrm>
            <a:off x="-342618" y="2477066"/>
            <a:ext cx="335281" cy="787628"/>
            <a:chOff x="-256404" y="360363"/>
            <a:chExt cx="251461" cy="692152"/>
          </a:xfrm>
        </p:grpSpPr>
        <p:grpSp>
          <p:nvGrpSpPr>
            <p:cNvPr id="8" name="Group 7">
              <a:extLst>
                <a:ext uri="{FF2B5EF4-FFF2-40B4-BE49-F238E27FC236}">
                  <a16:creationId xmlns:a16="http://schemas.microsoft.com/office/drawing/2014/main" id="{B41D2554-9517-BF41-8E4D-516D3FB68F51}"/>
                </a:ext>
              </a:extLst>
            </p:cNvPr>
            <p:cNvGrpSpPr/>
            <p:nvPr userDrawn="1"/>
          </p:nvGrpSpPr>
          <p:grpSpPr>
            <a:xfrm rot="16200000">
              <a:off x="-476749" y="580708"/>
              <a:ext cx="692152" cy="251461"/>
              <a:chOff x="431800" y="-235792"/>
              <a:chExt cx="4400551" cy="235792"/>
            </a:xfrm>
          </p:grpSpPr>
          <p:cxnSp>
            <p:nvCxnSpPr>
              <p:cNvPr id="10" name="Straight Connector 9">
                <a:extLst>
                  <a:ext uri="{FF2B5EF4-FFF2-40B4-BE49-F238E27FC236}">
                    <a16:creationId xmlns:a16="http://schemas.microsoft.com/office/drawing/2014/main" id="{663ADAD1-481A-7B4C-986E-CFA8555641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A3487CA-6D0B-C049-B9A4-75466E8DD3B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5" name="Rectangle 14">
                <a:extLst>
                  <a:ext uri="{FF2B5EF4-FFF2-40B4-BE49-F238E27FC236}">
                    <a16:creationId xmlns:a16="http://schemas.microsoft.com/office/drawing/2014/main" id="{EB925DF6-3FFE-BD40-9EE2-29A73ECA1CE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9" name="TextBox 8">
              <a:extLst>
                <a:ext uri="{FF2B5EF4-FFF2-40B4-BE49-F238E27FC236}">
                  <a16:creationId xmlns:a16="http://schemas.microsoft.com/office/drawing/2014/main" id="{6D5BF6DD-76B4-0145-A962-2C82A8F2CC6B}"/>
                </a:ext>
              </a:extLst>
            </p:cNvPr>
            <p:cNvSpPr txBox="1"/>
            <p:nvPr userDrawn="1"/>
          </p:nvSpPr>
          <p:spPr>
            <a:xfrm rot="16200000">
              <a:off x="-359580" y="622270"/>
              <a:ext cx="457823" cy="161583"/>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50A982D0-E4B8-1041-813F-BDDC3436A88D}"/>
              </a:ext>
            </a:extLst>
          </p:cNvPr>
          <p:cNvGrpSpPr/>
          <p:nvPr userDrawn="1"/>
        </p:nvGrpSpPr>
        <p:grpSpPr>
          <a:xfrm>
            <a:off x="-342618" y="3622630"/>
            <a:ext cx="335281" cy="1365066"/>
            <a:chOff x="-256404" y="360363"/>
            <a:chExt cx="251461" cy="692152"/>
          </a:xfrm>
        </p:grpSpPr>
        <p:grpSp>
          <p:nvGrpSpPr>
            <p:cNvPr id="17" name="Group 16">
              <a:extLst>
                <a:ext uri="{FF2B5EF4-FFF2-40B4-BE49-F238E27FC236}">
                  <a16:creationId xmlns:a16="http://schemas.microsoft.com/office/drawing/2014/main" id="{C83CFF79-5962-9D49-8E42-F2AF4C267204}"/>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A6F525C6-8B46-4140-AF00-48FB794ECBC7}"/>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A604655F-D15F-D843-AA38-CAA6FDF115A0}"/>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43ACDE28-DF49-C14A-B556-C3FBEB96DDE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18" name="TextBox 17">
              <a:extLst>
                <a:ext uri="{FF2B5EF4-FFF2-40B4-BE49-F238E27FC236}">
                  <a16:creationId xmlns:a16="http://schemas.microsoft.com/office/drawing/2014/main" id="{509205E5-0F35-EB40-8B2F-8E547892AACD}"/>
                </a:ext>
              </a:extLst>
            </p:cNvPr>
            <p:cNvSpPr txBox="1"/>
            <p:nvPr userDrawn="1"/>
          </p:nvSpPr>
          <p:spPr>
            <a:xfrm rot="16200000">
              <a:off x="-300948" y="662666"/>
              <a:ext cx="340562" cy="8079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59" name="Rectangle 58">
            <a:extLst>
              <a:ext uri="{FF2B5EF4-FFF2-40B4-BE49-F238E27FC236}">
                <a16:creationId xmlns:a16="http://schemas.microsoft.com/office/drawing/2014/main" id="{74FE977B-E645-754F-A6D9-0F8ACDA35EAF}"/>
              </a:ext>
            </a:extLst>
          </p:cNvPr>
          <p:cNvSpPr/>
          <p:nvPr userDrawn="1"/>
        </p:nvSpPr>
        <p:spPr>
          <a:xfrm>
            <a:off x="12721996" y="162442"/>
            <a:ext cx="37592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0" name="TextBox 59">
            <a:extLst>
              <a:ext uri="{FF2B5EF4-FFF2-40B4-BE49-F238E27FC236}">
                <a16:creationId xmlns:a16="http://schemas.microsoft.com/office/drawing/2014/main" id="{BFC01FD0-DC6E-0747-B9A3-3D0A61805785}"/>
              </a:ext>
            </a:extLst>
          </p:cNvPr>
          <p:cNvSpPr txBox="1"/>
          <p:nvPr userDrawn="1"/>
        </p:nvSpPr>
        <p:spPr>
          <a:xfrm>
            <a:off x="13529413" y="306442"/>
            <a:ext cx="2839451"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1" name="Picture 60">
            <a:extLst>
              <a:ext uri="{FF2B5EF4-FFF2-40B4-BE49-F238E27FC236}">
                <a16:creationId xmlns:a16="http://schemas.microsoft.com/office/drawing/2014/main" id="{1ADEDEE9-2E86-2D43-BC1C-F833B71D59CB}"/>
              </a:ext>
            </a:extLst>
          </p:cNvPr>
          <p:cNvPicPr>
            <a:picLocks noChangeAspect="1"/>
          </p:cNvPicPr>
          <p:nvPr userDrawn="1"/>
        </p:nvPicPr>
        <p:blipFill rotWithShape="1">
          <a:blip r:embed="rId3"/>
          <a:srcRect l="8882" t="5165" r="-1"/>
          <a:stretch/>
        </p:blipFill>
        <p:spPr>
          <a:xfrm>
            <a:off x="12926585" y="411251"/>
            <a:ext cx="432023" cy="289055"/>
          </a:xfrm>
          <a:prstGeom prst="roundRect">
            <a:avLst/>
          </a:prstGeom>
        </p:spPr>
      </p:pic>
      <p:grpSp>
        <p:nvGrpSpPr>
          <p:cNvPr id="22" name="Group 21">
            <a:extLst>
              <a:ext uri="{FF2B5EF4-FFF2-40B4-BE49-F238E27FC236}">
                <a16:creationId xmlns:a16="http://schemas.microsoft.com/office/drawing/2014/main" id="{4F5FC086-2AFA-E34A-9BC9-834E9C2AD811}"/>
              </a:ext>
            </a:extLst>
          </p:cNvPr>
          <p:cNvGrpSpPr/>
          <p:nvPr userDrawn="1"/>
        </p:nvGrpSpPr>
        <p:grpSpPr>
          <a:xfrm>
            <a:off x="12695778" y="1994857"/>
            <a:ext cx="3673087" cy="6013825"/>
            <a:chOff x="9521833" y="2167456"/>
            <a:chExt cx="2754815" cy="6013825"/>
          </a:xfrm>
        </p:grpSpPr>
        <p:sp>
          <p:nvSpPr>
            <p:cNvPr id="27" name="TextBox 26">
              <a:extLst>
                <a:ext uri="{FF2B5EF4-FFF2-40B4-BE49-F238E27FC236}">
                  <a16:creationId xmlns:a16="http://schemas.microsoft.com/office/drawing/2014/main" id="{DFE94FA6-7F73-404E-B7F6-E23829C5FAF7}"/>
                </a:ext>
              </a:extLst>
            </p:cNvPr>
            <p:cNvSpPr txBox="1"/>
            <p:nvPr userDrawn="1"/>
          </p:nvSpPr>
          <p:spPr>
            <a:xfrm>
              <a:off x="9558507" y="2167456"/>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28" name="Straight Connector 27">
              <a:extLst>
                <a:ext uri="{FF2B5EF4-FFF2-40B4-BE49-F238E27FC236}">
                  <a16:creationId xmlns:a16="http://schemas.microsoft.com/office/drawing/2014/main" id="{CFBCA6E4-9782-E348-A2BA-54F7934E4B21}"/>
                </a:ext>
              </a:extLst>
            </p:cNvPr>
            <p:cNvCxnSpPr>
              <a:cxnSpLocks/>
            </p:cNvCxnSpPr>
            <p:nvPr userDrawn="1"/>
          </p:nvCxnSpPr>
          <p:spPr>
            <a:xfrm>
              <a:off x="9558507" y="2370073"/>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9" name="TextBox 28">
              <a:extLst>
                <a:ext uri="{FF2B5EF4-FFF2-40B4-BE49-F238E27FC236}">
                  <a16:creationId xmlns:a16="http://schemas.microsoft.com/office/drawing/2014/main" id="{81BD7423-242E-5345-8960-AE7228257A9D}"/>
                </a:ext>
              </a:extLst>
            </p:cNvPr>
            <p:cNvSpPr txBox="1"/>
            <p:nvPr userDrawn="1"/>
          </p:nvSpPr>
          <p:spPr>
            <a:xfrm>
              <a:off x="9686426" y="3228383"/>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sp>
          <p:nvSpPr>
            <p:cNvPr id="53" name="Rectangle 52">
              <a:extLst>
                <a:ext uri="{FF2B5EF4-FFF2-40B4-BE49-F238E27FC236}">
                  <a16:creationId xmlns:a16="http://schemas.microsoft.com/office/drawing/2014/main" id="{13084C70-8D46-D64B-9F1E-ECB869353637}"/>
                </a:ext>
              </a:extLst>
            </p:cNvPr>
            <p:cNvSpPr/>
            <p:nvPr userDrawn="1"/>
          </p:nvSpPr>
          <p:spPr>
            <a:xfrm>
              <a:off x="9541497" y="6769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4" name="TextBox 53">
              <a:extLst>
                <a:ext uri="{FF2B5EF4-FFF2-40B4-BE49-F238E27FC236}">
                  <a16:creationId xmlns:a16="http://schemas.microsoft.com/office/drawing/2014/main" id="{501420C3-DFA0-9C4F-813C-BAFA8958E874}"/>
                </a:ext>
              </a:extLst>
            </p:cNvPr>
            <p:cNvSpPr txBox="1"/>
            <p:nvPr userDrawn="1"/>
          </p:nvSpPr>
          <p:spPr>
            <a:xfrm>
              <a:off x="9907688" y="6898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55" name="Graphic 54">
              <a:extLst>
                <a:ext uri="{FF2B5EF4-FFF2-40B4-BE49-F238E27FC236}">
                  <a16:creationId xmlns:a16="http://schemas.microsoft.com/office/drawing/2014/main" id="{CB867BF1-BBC5-8C4A-97CA-FD5D5D78260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6909049"/>
              <a:ext cx="155227" cy="155227"/>
            </a:xfrm>
            <a:prstGeom prst="rect">
              <a:avLst/>
            </a:prstGeom>
          </p:spPr>
        </p:pic>
        <p:sp>
          <p:nvSpPr>
            <p:cNvPr id="56" name="TextBox 55">
              <a:extLst>
                <a:ext uri="{FF2B5EF4-FFF2-40B4-BE49-F238E27FC236}">
                  <a16:creationId xmlns:a16="http://schemas.microsoft.com/office/drawing/2014/main" id="{E62E6250-142A-854D-8FFE-79C80019AAB8}"/>
                </a:ext>
              </a:extLst>
            </p:cNvPr>
            <p:cNvSpPr txBox="1"/>
            <p:nvPr userDrawn="1"/>
          </p:nvSpPr>
          <p:spPr>
            <a:xfrm>
              <a:off x="9716735" y="7478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57" name="TextBox 56">
              <a:extLst>
                <a:ext uri="{FF2B5EF4-FFF2-40B4-BE49-F238E27FC236}">
                  <a16:creationId xmlns:a16="http://schemas.microsoft.com/office/drawing/2014/main" id="{08381C9B-F145-0B48-ADFA-FE8B8E0A8A82}"/>
                </a:ext>
              </a:extLst>
            </p:cNvPr>
            <p:cNvSpPr txBox="1"/>
            <p:nvPr userDrawn="1"/>
          </p:nvSpPr>
          <p:spPr>
            <a:xfrm>
              <a:off x="9716735" y="7159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58" name="TextBox 57">
              <a:extLst>
                <a:ext uri="{FF2B5EF4-FFF2-40B4-BE49-F238E27FC236}">
                  <a16:creationId xmlns:a16="http://schemas.microsoft.com/office/drawing/2014/main" id="{F22092C6-EF53-B243-83B3-2B8877623AFD}"/>
                </a:ext>
              </a:extLst>
            </p:cNvPr>
            <p:cNvSpPr txBox="1"/>
            <p:nvPr userDrawn="1"/>
          </p:nvSpPr>
          <p:spPr>
            <a:xfrm>
              <a:off x="9716735" y="7928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46" name="Rectangle 45">
              <a:extLst>
                <a:ext uri="{FF2B5EF4-FFF2-40B4-BE49-F238E27FC236}">
                  <a16:creationId xmlns:a16="http://schemas.microsoft.com/office/drawing/2014/main" id="{26FED399-29B3-9447-940E-56B9040B4EF7}"/>
                </a:ext>
              </a:extLst>
            </p:cNvPr>
            <p:cNvSpPr/>
            <p:nvPr userDrawn="1"/>
          </p:nvSpPr>
          <p:spPr>
            <a:xfrm>
              <a:off x="9541497" y="5413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7" name="TextBox 46">
              <a:extLst>
                <a:ext uri="{FF2B5EF4-FFF2-40B4-BE49-F238E27FC236}">
                  <a16:creationId xmlns:a16="http://schemas.microsoft.com/office/drawing/2014/main" id="{15CE3E14-463F-4D4E-B0C6-D4F7A0935AFF}"/>
                </a:ext>
              </a:extLst>
            </p:cNvPr>
            <p:cNvSpPr txBox="1"/>
            <p:nvPr userDrawn="1"/>
          </p:nvSpPr>
          <p:spPr>
            <a:xfrm>
              <a:off x="9907688" y="5542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8" name="Graphic 47">
              <a:extLst>
                <a:ext uri="{FF2B5EF4-FFF2-40B4-BE49-F238E27FC236}">
                  <a16:creationId xmlns:a16="http://schemas.microsoft.com/office/drawing/2014/main" id="{BC8A9006-4EDB-7C4F-9624-E02C261E560E}"/>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552392"/>
              <a:ext cx="155227" cy="155227"/>
            </a:xfrm>
            <a:prstGeom prst="rect">
              <a:avLst/>
            </a:prstGeom>
          </p:spPr>
        </p:pic>
        <p:sp>
          <p:nvSpPr>
            <p:cNvPr id="49" name="TextBox 48">
              <a:extLst>
                <a:ext uri="{FF2B5EF4-FFF2-40B4-BE49-F238E27FC236}">
                  <a16:creationId xmlns:a16="http://schemas.microsoft.com/office/drawing/2014/main" id="{F28125A0-17EA-6B41-8117-DCA0C5236435}"/>
                </a:ext>
              </a:extLst>
            </p:cNvPr>
            <p:cNvSpPr txBox="1"/>
            <p:nvPr userDrawn="1"/>
          </p:nvSpPr>
          <p:spPr>
            <a:xfrm>
              <a:off x="9701720" y="5806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0" name="Picture 49">
              <a:extLst>
                <a:ext uri="{FF2B5EF4-FFF2-40B4-BE49-F238E27FC236}">
                  <a16:creationId xmlns:a16="http://schemas.microsoft.com/office/drawing/2014/main" id="{C5041B41-AD98-EE4B-8F39-82AFCFAEC610}"/>
                </a:ext>
              </a:extLst>
            </p:cNvPr>
            <p:cNvPicPr>
              <a:picLocks noChangeAspect="1"/>
            </p:cNvPicPr>
            <p:nvPr userDrawn="1"/>
          </p:nvPicPr>
          <p:blipFill rotWithShape="1">
            <a:blip r:embed="rId6"/>
            <a:srcRect l="33684" t="12097" r="43371" b="20368"/>
            <a:stretch/>
          </p:blipFill>
          <p:spPr>
            <a:xfrm>
              <a:off x="11498723" y="5890726"/>
              <a:ext cx="136897" cy="213643"/>
            </a:xfrm>
            <a:prstGeom prst="rect">
              <a:avLst/>
            </a:prstGeom>
            <a:ln w="19050">
              <a:solidFill>
                <a:schemeClr val="accent3">
                  <a:lumMod val="60000"/>
                  <a:lumOff val="40000"/>
                </a:schemeClr>
              </a:solidFill>
            </a:ln>
          </p:spPr>
        </p:pic>
        <p:sp>
          <p:nvSpPr>
            <p:cNvPr id="43" name="TextBox 42">
              <a:extLst>
                <a:ext uri="{FF2B5EF4-FFF2-40B4-BE49-F238E27FC236}">
                  <a16:creationId xmlns:a16="http://schemas.microsoft.com/office/drawing/2014/main" id="{C8DAA1F3-3919-A74B-B632-FF6C6D301C4C}"/>
                </a:ext>
              </a:extLst>
            </p:cNvPr>
            <p:cNvSpPr txBox="1">
              <a:spLocks noChangeAspect="1"/>
            </p:cNvSpPr>
            <p:nvPr/>
          </p:nvSpPr>
          <p:spPr>
            <a:xfrm>
              <a:off x="9521833" y="2517603"/>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4" name="TextBox 43">
              <a:extLst>
                <a:ext uri="{FF2B5EF4-FFF2-40B4-BE49-F238E27FC236}">
                  <a16:creationId xmlns:a16="http://schemas.microsoft.com/office/drawing/2014/main" id="{82652DDD-CB8F-E945-8AF3-2BB91733F597}"/>
                </a:ext>
              </a:extLst>
            </p:cNvPr>
            <p:cNvSpPr txBox="1">
              <a:spLocks noChangeAspect="1"/>
            </p:cNvSpPr>
            <p:nvPr/>
          </p:nvSpPr>
          <p:spPr>
            <a:xfrm>
              <a:off x="9521833" y="3013157"/>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5" name="TextBox 44">
              <a:extLst>
                <a:ext uri="{FF2B5EF4-FFF2-40B4-BE49-F238E27FC236}">
                  <a16:creationId xmlns:a16="http://schemas.microsoft.com/office/drawing/2014/main" id="{091C757D-B387-E847-9E94-2F6EEF57801C}"/>
                </a:ext>
              </a:extLst>
            </p:cNvPr>
            <p:cNvSpPr txBox="1"/>
            <p:nvPr userDrawn="1"/>
          </p:nvSpPr>
          <p:spPr>
            <a:xfrm>
              <a:off x="9686426" y="2492576"/>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sp>
          <p:nvSpPr>
            <p:cNvPr id="35" name="TextBox 34">
              <a:extLst>
                <a:ext uri="{FF2B5EF4-FFF2-40B4-BE49-F238E27FC236}">
                  <a16:creationId xmlns:a16="http://schemas.microsoft.com/office/drawing/2014/main" id="{CAFE63F6-9FBD-C64E-80C3-50B9F353BF5D}"/>
                </a:ext>
              </a:extLst>
            </p:cNvPr>
            <p:cNvSpPr txBox="1"/>
            <p:nvPr userDrawn="1"/>
          </p:nvSpPr>
          <p:spPr>
            <a:xfrm>
              <a:off x="9674267" y="3511688"/>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6" name="TextBox 35">
              <a:extLst>
                <a:ext uri="{FF2B5EF4-FFF2-40B4-BE49-F238E27FC236}">
                  <a16:creationId xmlns:a16="http://schemas.microsoft.com/office/drawing/2014/main" id="{AA7141EF-2646-B14F-ABCC-C67B27BD3A7C}"/>
                </a:ext>
              </a:extLst>
            </p:cNvPr>
            <p:cNvSpPr txBox="1"/>
            <p:nvPr userDrawn="1"/>
          </p:nvSpPr>
          <p:spPr>
            <a:xfrm>
              <a:off x="9686426" y="3926945"/>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7" name="TextBox 36">
              <a:extLst>
                <a:ext uri="{FF2B5EF4-FFF2-40B4-BE49-F238E27FC236}">
                  <a16:creationId xmlns:a16="http://schemas.microsoft.com/office/drawing/2014/main" id="{11D9FCFA-F40E-B24E-8540-B475629EECD1}"/>
                </a:ext>
              </a:extLst>
            </p:cNvPr>
            <p:cNvSpPr txBox="1"/>
            <p:nvPr userDrawn="1"/>
          </p:nvSpPr>
          <p:spPr>
            <a:xfrm>
              <a:off x="9686426" y="4647035"/>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38" name="TextBox 37">
              <a:extLst>
                <a:ext uri="{FF2B5EF4-FFF2-40B4-BE49-F238E27FC236}">
                  <a16:creationId xmlns:a16="http://schemas.microsoft.com/office/drawing/2014/main" id="{7B36E0C2-0DDC-0E43-A8B5-AAD3722ABC98}"/>
                </a:ext>
              </a:extLst>
            </p:cNvPr>
            <p:cNvSpPr txBox="1"/>
            <p:nvPr userDrawn="1"/>
          </p:nvSpPr>
          <p:spPr>
            <a:xfrm>
              <a:off x="9674267" y="5077598"/>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sp>
        <p:nvSpPr>
          <p:cNvPr id="41" name="TextBox 40">
            <a:extLst>
              <a:ext uri="{FF2B5EF4-FFF2-40B4-BE49-F238E27FC236}">
                <a16:creationId xmlns:a16="http://schemas.microsoft.com/office/drawing/2014/main" id="{A5BBEC5F-5FC4-4543-B661-598C68695314}"/>
              </a:ext>
            </a:extLst>
          </p:cNvPr>
          <p:cNvSpPr txBox="1"/>
          <p:nvPr userDrawn="1"/>
        </p:nvSpPr>
        <p:spPr>
          <a:xfrm>
            <a:off x="12744676" y="1119892"/>
            <a:ext cx="2236190"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42" name="Straight Connector 41">
            <a:extLst>
              <a:ext uri="{FF2B5EF4-FFF2-40B4-BE49-F238E27FC236}">
                <a16:creationId xmlns:a16="http://schemas.microsoft.com/office/drawing/2014/main" id="{28C6DE0C-61AB-CD48-9657-673BA80A6635}"/>
              </a:ext>
            </a:extLst>
          </p:cNvPr>
          <p:cNvCxnSpPr>
            <a:cxnSpLocks/>
          </p:cNvCxnSpPr>
          <p:nvPr userDrawn="1"/>
        </p:nvCxnSpPr>
        <p:spPr>
          <a:xfrm>
            <a:off x="12744676" y="1322508"/>
            <a:ext cx="3519104"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5" name="Text Placeholder 21">
            <a:extLst>
              <a:ext uri="{FF2B5EF4-FFF2-40B4-BE49-F238E27FC236}">
                <a16:creationId xmlns:a16="http://schemas.microsoft.com/office/drawing/2014/main" id="{41291117-3B8F-E84F-819C-E9D1B31461BA}"/>
              </a:ext>
            </a:extLst>
          </p:cNvPr>
          <p:cNvSpPr>
            <a:spLocks noGrp="1"/>
          </p:cNvSpPr>
          <p:nvPr userDrawn="1">
            <p:ph type="body" sz="quarter" idx="14" hasCustomPrompt="1"/>
          </p:nvPr>
        </p:nvSpPr>
        <p:spPr>
          <a:xfrm>
            <a:off x="9812449" y="6200776"/>
            <a:ext cx="1791763" cy="152349"/>
          </a:xfrm>
          <a:effectLst/>
        </p:spPr>
        <p:txBody>
          <a:bodyPr wrap="square" anchor="b">
            <a:spAutoFit/>
          </a:bodyPr>
          <a:lstStyle>
            <a:lvl1pPr marL="0" indent="0" algn="r">
              <a:spcBef>
                <a:spcPts val="0"/>
              </a:spcBef>
              <a:spcAft>
                <a:spcPts val="0"/>
              </a:spcAft>
              <a:buFontTx/>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3" name="Date Placeholder 2">
            <a:extLst>
              <a:ext uri="{FF2B5EF4-FFF2-40B4-BE49-F238E27FC236}">
                <a16:creationId xmlns:a16="http://schemas.microsoft.com/office/drawing/2014/main" id="{1E2FA3C1-DFDE-954E-A045-DA2C23D87C79}"/>
              </a:ext>
            </a:extLst>
          </p:cNvPr>
          <p:cNvSpPr>
            <a:spLocks noGrp="1"/>
          </p:cNvSpPr>
          <p:nvPr userDrawn="1">
            <p:ph type="dt" sz="half" idx="16"/>
          </p:nvPr>
        </p:nvSpPr>
        <p:spPr/>
        <p:txBody>
          <a:bodyPr/>
          <a:lstStyle/>
          <a:p>
            <a:endParaRPr lang="en-US" dirty="0"/>
          </a:p>
        </p:txBody>
      </p:sp>
      <p:sp>
        <p:nvSpPr>
          <p:cNvPr id="5" name="Footer Placeholder 4">
            <a:extLst>
              <a:ext uri="{FF2B5EF4-FFF2-40B4-BE49-F238E27FC236}">
                <a16:creationId xmlns:a16="http://schemas.microsoft.com/office/drawing/2014/main" id="{8E3C21A6-2F34-CB41-9CB8-465C5A165E2E}"/>
              </a:ext>
            </a:extLst>
          </p:cNvPr>
          <p:cNvSpPr>
            <a:spLocks noGrp="1"/>
          </p:cNvSpPr>
          <p:nvPr userDrawn="1">
            <p:ph type="ftr" sz="quarter" idx="17"/>
          </p:nvPr>
        </p:nvSpPr>
        <p:spPr/>
        <p:txBody>
          <a:bodyPr/>
          <a:lstStyle/>
          <a:p>
            <a:endParaRPr lang="en-US" dirty="0"/>
          </a:p>
        </p:txBody>
      </p:sp>
      <p:sp>
        <p:nvSpPr>
          <p:cNvPr id="6" name="Slide Number Placeholder 5">
            <a:extLst>
              <a:ext uri="{FF2B5EF4-FFF2-40B4-BE49-F238E27FC236}">
                <a16:creationId xmlns:a16="http://schemas.microsoft.com/office/drawing/2014/main" id="{345A57F9-6F4F-954D-883C-298340BAC4E8}"/>
              </a:ext>
            </a:extLst>
          </p:cNvPr>
          <p:cNvSpPr>
            <a:spLocks noGrp="1"/>
          </p:cNvSpPr>
          <p:nvPr userDrawn="1">
            <p:ph type="sldNum" sz="quarter" idx="18"/>
          </p:nvPr>
        </p:nvSpPr>
        <p:spPr>
          <a:noFill/>
        </p:spPr>
        <p:txBody>
          <a:bodyPr/>
          <a:lstStyle>
            <a:lvl1pPr>
              <a:defRPr>
                <a:solidFill>
                  <a:schemeClr val="bg1"/>
                </a:solidFill>
              </a:defRPr>
            </a:lvl1p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dirty="0"/>
          </a:p>
        </p:txBody>
      </p:sp>
      <p:grpSp>
        <p:nvGrpSpPr>
          <p:cNvPr id="77" name="Group 76">
            <a:extLst>
              <a:ext uri="{FF2B5EF4-FFF2-40B4-BE49-F238E27FC236}">
                <a16:creationId xmlns:a16="http://schemas.microsoft.com/office/drawing/2014/main" id="{BB7448AF-7E4C-3B4B-8EEC-CADF56A2032C}"/>
              </a:ext>
            </a:extLst>
          </p:cNvPr>
          <p:cNvGrpSpPr/>
          <p:nvPr userDrawn="1"/>
        </p:nvGrpSpPr>
        <p:grpSpPr>
          <a:xfrm>
            <a:off x="574987" y="-246933"/>
            <a:ext cx="11040535" cy="7347304"/>
            <a:chOff x="431240" y="-246933"/>
            <a:chExt cx="8280401" cy="7347304"/>
          </a:xfrm>
        </p:grpSpPr>
        <p:grpSp>
          <p:nvGrpSpPr>
            <p:cNvPr id="78" name="Group 77">
              <a:extLst>
                <a:ext uri="{FF2B5EF4-FFF2-40B4-BE49-F238E27FC236}">
                  <a16:creationId xmlns:a16="http://schemas.microsoft.com/office/drawing/2014/main" id="{672BAF4C-241C-FC45-8467-60B10AF7AB65}"/>
                </a:ext>
              </a:extLst>
            </p:cNvPr>
            <p:cNvGrpSpPr/>
            <p:nvPr userDrawn="1"/>
          </p:nvGrpSpPr>
          <p:grpSpPr>
            <a:xfrm>
              <a:off x="431242" y="6864579"/>
              <a:ext cx="8280398" cy="235792"/>
              <a:chOff x="431801" y="-235792"/>
              <a:chExt cx="4400550" cy="235792"/>
            </a:xfrm>
          </p:grpSpPr>
          <p:cxnSp>
            <p:nvCxnSpPr>
              <p:cNvPr id="87" name="Straight Connector 86">
                <a:extLst>
                  <a:ext uri="{FF2B5EF4-FFF2-40B4-BE49-F238E27FC236}">
                    <a16:creationId xmlns:a16="http://schemas.microsoft.com/office/drawing/2014/main" id="{590F8A25-E020-6846-8351-4AC93F1283B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5BB4FF16-C4BE-2F41-97E4-CA7412FE1A76}"/>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9" name="Group 78">
              <a:extLst>
                <a:ext uri="{FF2B5EF4-FFF2-40B4-BE49-F238E27FC236}">
                  <a16:creationId xmlns:a16="http://schemas.microsoft.com/office/drawing/2014/main" id="{1FBF7B4D-D315-D841-998E-600E7FD39B85}"/>
                </a:ext>
              </a:extLst>
            </p:cNvPr>
            <p:cNvGrpSpPr/>
            <p:nvPr userDrawn="1"/>
          </p:nvGrpSpPr>
          <p:grpSpPr>
            <a:xfrm>
              <a:off x="431240" y="-246933"/>
              <a:ext cx="8280401" cy="235792"/>
              <a:chOff x="431800" y="-240735"/>
              <a:chExt cx="8280401" cy="235792"/>
            </a:xfrm>
          </p:grpSpPr>
          <p:grpSp>
            <p:nvGrpSpPr>
              <p:cNvPr id="80" name="Group 79">
                <a:extLst>
                  <a:ext uri="{FF2B5EF4-FFF2-40B4-BE49-F238E27FC236}">
                    <a16:creationId xmlns:a16="http://schemas.microsoft.com/office/drawing/2014/main" id="{262CB220-7BBD-9A40-8EFE-DBF481D41325}"/>
                  </a:ext>
                </a:extLst>
              </p:cNvPr>
              <p:cNvGrpSpPr/>
              <p:nvPr userDrawn="1"/>
            </p:nvGrpSpPr>
            <p:grpSpPr>
              <a:xfrm>
                <a:off x="431800" y="-240735"/>
                <a:ext cx="8280400" cy="235792"/>
                <a:chOff x="431800" y="-235792"/>
                <a:chExt cx="4400551" cy="235792"/>
              </a:xfrm>
            </p:grpSpPr>
            <p:cxnSp>
              <p:nvCxnSpPr>
                <p:cNvPr id="84" name="Straight Connector 83">
                  <a:extLst>
                    <a:ext uri="{FF2B5EF4-FFF2-40B4-BE49-F238E27FC236}">
                      <a16:creationId xmlns:a16="http://schemas.microsoft.com/office/drawing/2014/main" id="{4C0212DE-4F3A-064A-8852-84F9520CE40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54F88236-9314-6245-BA34-4C419A15253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6" name="Rectangle 85">
                  <a:extLst>
                    <a:ext uri="{FF2B5EF4-FFF2-40B4-BE49-F238E27FC236}">
                      <a16:creationId xmlns:a16="http://schemas.microsoft.com/office/drawing/2014/main" id="{208F0B2C-2ECF-FF4E-9454-5EE223675D0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81" name="TextBox 80">
                <a:extLst>
                  <a:ext uri="{FF2B5EF4-FFF2-40B4-BE49-F238E27FC236}">
                    <a16:creationId xmlns:a16="http://schemas.microsoft.com/office/drawing/2014/main" id="{52854B52-8256-764E-870F-8B12DFC75805}"/>
                  </a:ext>
                </a:extLst>
              </p:cNvPr>
              <p:cNvSpPr txBox="1"/>
              <p:nvPr userDrawn="1"/>
            </p:nvSpPr>
            <p:spPr>
              <a:xfrm>
                <a:off x="3914336" y="-176700"/>
                <a:ext cx="1315339"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82" name="Straight Arrow Connector 81">
                <a:extLst>
                  <a:ext uri="{FF2B5EF4-FFF2-40B4-BE49-F238E27FC236}">
                    <a16:creationId xmlns:a16="http://schemas.microsoft.com/office/drawing/2014/main" id="{EE3A4062-FF2D-804A-88FA-53139017D530}"/>
                  </a:ext>
                </a:extLst>
              </p:cNvPr>
              <p:cNvCxnSpPr>
                <a:cxnSpLocks/>
                <a:stCxn id="81" idx="1"/>
                <a:endCxn id="86" idx="2"/>
              </p:cNvCxnSpPr>
              <p:nvPr userDrawn="1"/>
            </p:nvCxnSpPr>
            <p:spPr>
              <a:xfrm flipH="1">
                <a:off x="431801" y="-122839"/>
                <a:ext cx="3482535"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83" name="Straight Arrow Connector 82">
                <a:extLst>
                  <a:ext uri="{FF2B5EF4-FFF2-40B4-BE49-F238E27FC236}">
                    <a16:creationId xmlns:a16="http://schemas.microsoft.com/office/drawing/2014/main" id="{89961C7F-EE2F-4844-874C-FABF729B3E38}"/>
                  </a:ext>
                </a:extLst>
              </p:cNvPr>
              <p:cNvCxnSpPr>
                <a:cxnSpLocks/>
                <a:stCxn id="81" idx="3"/>
                <a:endCxn id="86" idx="0"/>
              </p:cNvCxnSpPr>
              <p:nvPr userDrawn="1"/>
            </p:nvCxnSpPr>
            <p:spPr>
              <a:xfrm flipV="1">
                <a:off x="5229674" y="-122840"/>
                <a:ext cx="3482527"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493795943"/>
      </p:ext>
    </p:extLst>
  </p:cSld>
  <p:clrMapOvr>
    <a:overrideClrMapping bg1="lt1" tx1="dk1" bg2="lt2" tx2="dk2" accent1="accent1" accent2="accent2" accent3="accent3" accent4="accent4" accent5="accent5" accent6="accent6" hlink="lt1" folHlink="lt1"/>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Thank You (Headshot)">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A733D6C8-2947-664C-94C0-9AD79C24D8BC}"/>
              </a:ext>
            </a:extLst>
          </p:cNvPr>
          <p:cNvSpPr/>
          <p:nvPr userDrawn="1"/>
        </p:nvSpPr>
        <p:spPr>
          <a:xfrm flipH="1">
            <a:off x="-1" y="2402809"/>
            <a:ext cx="12192000" cy="329409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1200"/>
          </a:p>
        </p:txBody>
      </p:sp>
      <p:sp>
        <p:nvSpPr>
          <p:cNvPr id="21" name="Picture Placeholder 20">
            <a:extLst>
              <a:ext uri="{FF2B5EF4-FFF2-40B4-BE49-F238E27FC236}">
                <a16:creationId xmlns:a16="http://schemas.microsoft.com/office/drawing/2014/main" id="{0B98A494-7A59-1347-AC1A-9CEFC6F3BA30}"/>
              </a:ext>
            </a:extLst>
          </p:cNvPr>
          <p:cNvSpPr>
            <a:spLocks noGrp="1"/>
          </p:cNvSpPr>
          <p:nvPr>
            <p:ph type="pic" sz="quarter" idx="16" hasCustomPrompt="1"/>
          </p:nvPr>
        </p:nvSpPr>
        <p:spPr>
          <a:xfrm>
            <a:off x="6474629" y="2402809"/>
            <a:ext cx="5717371" cy="3294098"/>
          </a:xfrm>
          <a:custGeom>
            <a:avLst/>
            <a:gdLst>
              <a:gd name="connsiteX0" fmla="*/ 0 w 4288028"/>
              <a:gd name="connsiteY0" fmla="*/ 0 h 3294098"/>
              <a:gd name="connsiteX1" fmla="*/ 4288028 w 4288028"/>
              <a:gd name="connsiteY1" fmla="*/ 0 h 3294098"/>
              <a:gd name="connsiteX2" fmla="*/ 4288028 w 4288028"/>
              <a:gd name="connsiteY2" fmla="*/ 3294098 h 3294098"/>
              <a:gd name="connsiteX3" fmla="*/ 1563214 w 4288028"/>
              <a:gd name="connsiteY3" fmla="*/ 3294098 h 3294098"/>
            </a:gdLst>
            <a:ahLst/>
            <a:cxnLst>
              <a:cxn ang="0">
                <a:pos x="connsiteX0" y="connsiteY0"/>
              </a:cxn>
              <a:cxn ang="0">
                <a:pos x="connsiteX1" y="connsiteY1"/>
              </a:cxn>
              <a:cxn ang="0">
                <a:pos x="connsiteX2" y="connsiteY2"/>
              </a:cxn>
              <a:cxn ang="0">
                <a:pos x="connsiteX3" y="connsiteY3"/>
              </a:cxn>
            </a:cxnLst>
            <a:rect l="l" t="t" r="r" b="b"/>
            <a:pathLst>
              <a:path w="4288028" h="3294098">
                <a:moveTo>
                  <a:pt x="0" y="0"/>
                </a:moveTo>
                <a:lnTo>
                  <a:pt x="4288028" y="0"/>
                </a:lnTo>
                <a:lnTo>
                  <a:pt x="4288028" y="3294098"/>
                </a:lnTo>
                <a:lnTo>
                  <a:pt x="1563214" y="3294098"/>
                </a:lnTo>
                <a:close/>
              </a:path>
            </a:pathLst>
          </a:custGeom>
          <a:solidFill>
            <a:schemeClr val="accent2"/>
          </a:solidFill>
        </p:spPr>
        <p:txBody>
          <a:bodyPr wrap="square" rIns="432000" anchor="ctr">
            <a:noAutofit/>
          </a:bodyPr>
          <a:lstStyle>
            <a:lvl1pPr marL="0" indent="0" algn="r">
              <a:buNone/>
              <a:defRPr b="0">
                <a:solidFill>
                  <a:schemeClr val="bg1"/>
                </a:solidFill>
              </a:defRPr>
            </a:lvl1pPr>
          </a:lstStyle>
          <a:p>
            <a:r>
              <a:rPr lang="en-US" dirty="0"/>
              <a:t>Click icon to add photo or headshot</a:t>
            </a:r>
          </a:p>
        </p:txBody>
      </p:sp>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575734" y="1219067"/>
            <a:ext cx="11040533" cy="914400"/>
          </a:xfrm>
        </p:spPr>
        <p:txBody>
          <a:bodyPr/>
          <a:lstStyle>
            <a:lvl1pPr>
              <a:defRPr sz="3200"/>
            </a:lvl1pPr>
          </a:lstStyle>
          <a:p>
            <a:r>
              <a:rPr lang="en-US" dirty="0"/>
              <a:t>Click to add</a:t>
            </a:r>
            <a:br>
              <a:rPr lang="en-US" dirty="0"/>
            </a:br>
            <a:r>
              <a:rPr lang="en-US" dirty="0"/>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575733" y="2714222"/>
            <a:ext cx="5520267" cy="2671270"/>
          </a:xfrm>
          <a:prstGeom prst="rect">
            <a:avLst/>
          </a:prstGeom>
          <a:noFill/>
          <a:ln>
            <a:noFill/>
          </a:ln>
        </p:spPr>
        <p:txBody>
          <a:bodyPr wrap="square" lIns="0" tIns="0" rIns="0" bIns="0" anchor="ctr">
            <a:noAutofit/>
          </a:bodyPr>
          <a:lstStyle>
            <a:lvl1pPr marL="20638" indent="0">
              <a:spcAft>
                <a:spcPts val="300"/>
              </a:spcAft>
              <a:buFont typeface="Arial" panose="020B0604020202020204" pitchFamily="34" charset="0"/>
              <a:buNone/>
              <a:tabLst/>
              <a:defRPr sz="1400" b="1">
                <a:solidFill>
                  <a:schemeClr val="bg1"/>
                </a:solidFill>
              </a:defRPr>
            </a:lvl1pPr>
            <a:lvl2pPr marL="20638" indent="0">
              <a:spcAft>
                <a:spcPts val="200"/>
              </a:spcAft>
              <a:buFont typeface="Arial" panose="020B0604020202020204" pitchFamily="34" charset="0"/>
              <a:buNone/>
              <a:tabLst/>
              <a:defRPr sz="1400">
                <a:solidFill>
                  <a:schemeClr val="bg1"/>
                </a:solidFill>
              </a:defRPr>
            </a:lvl2pPr>
            <a:lvl3pPr marL="20638" indent="0">
              <a:spcAft>
                <a:spcPts val="200"/>
              </a:spcAft>
              <a:buFont typeface="Arial" panose="020B0604020202020204" pitchFamily="34" charset="0"/>
              <a:buNone/>
              <a:tabLst/>
              <a:defRPr sz="1400">
                <a:solidFill>
                  <a:schemeClr val="bg1"/>
                </a:solidFill>
              </a:defRPr>
            </a:lvl3pPr>
            <a:lvl4pPr marL="20638" indent="0">
              <a:spcAft>
                <a:spcPts val="200"/>
              </a:spcAft>
              <a:buFont typeface="Arial" panose="020B0604020202020204" pitchFamily="34" charset="0"/>
              <a:buNone/>
              <a:tabLst/>
              <a:defRPr sz="1400">
                <a:solidFill>
                  <a:schemeClr val="bg1"/>
                </a:solidFill>
              </a:defRPr>
            </a:lvl4pPr>
            <a:lvl5pPr marL="20638" indent="0">
              <a:spcAft>
                <a:spcPts val="200"/>
              </a:spcAft>
              <a:buFont typeface="Arial" panose="020B0604020202020204" pitchFamily="34" charset="0"/>
              <a:buNone/>
              <a:tabLst/>
              <a:defRPr sz="1400">
                <a:solidFill>
                  <a:schemeClr val="bg1"/>
                </a:solidFill>
              </a:defRPr>
            </a:lvl5pPr>
            <a:lvl6pPr marL="20638" indent="0">
              <a:buNone/>
              <a:tabLst/>
              <a:defRPr>
                <a:solidFill>
                  <a:schemeClr val="bg1"/>
                </a:solidFill>
              </a:defRPr>
            </a:lvl6pPr>
            <a:lvl7pPr marL="20638" indent="0">
              <a:buNone/>
              <a:tabLst/>
              <a:defRPr>
                <a:solidFill>
                  <a:schemeClr val="bg1"/>
                </a:solidFill>
              </a:defRPr>
            </a:lvl7pPr>
            <a:lvl8pPr marL="20638" indent="0">
              <a:buNone/>
              <a:tabLst/>
              <a:defRPr>
                <a:solidFill>
                  <a:schemeClr val="bg1"/>
                </a:solidFill>
              </a:defRPr>
            </a:lvl8pPr>
            <a:lvl9pPr marL="20638" indent="0">
              <a:buNone/>
              <a:tabLst/>
              <a:defRPr>
                <a:solidFill>
                  <a:schemeClr val="bg1"/>
                </a:solidFill>
              </a:defRPr>
            </a:lvl9pPr>
          </a:lstStyle>
          <a:p>
            <a:pPr lvl="0"/>
            <a:r>
              <a:rPr lang="en-US" dirty="0"/>
              <a:t>Click to add contact information</a:t>
            </a:r>
          </a:p>
          <a:p>
            <a:pPr lvl="1"/>
            <a:r>
              <a:rPr lang="en-US" dirty="0"/>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2"/>
            <a:ext cx="9041763"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1200"/>
          </a:p>
        </p:txBody>
      </p:sp>
      <p:grpSp>
        <p:nvGrpSpPr>
          <p:cNvPr id="50" name="Group 49">
            <a:extLst>
              <a:ext uri="{FF2B5EF4-FFF2-40B4-BE49-F238E27FC236}">
                <a16:creationId xmlns:a16="http://schemas.microsoft.com/office/drawing/2014/main" id="{8154AF59-E4FF-3346-B926-57EDAB1FE062}"/>
              </a:ext>
            </a:extLst>
          </p:cNvPr>
          <p:cNvGrpSpPr/>
          <p:nvPr userDrawn="1"/>
        </p:nvGrpSpPr>
        <p:grpSpPr>
          <a:xfrm>
            <a:off x="-342618" y="1261817"/>
            <a:ext cx="335281" cy="787628"/>
            <a:chOff x="-256404" y="360363"/>
            <a:chExt cx="251461" cy="692152"/>
          </a:xfrm>
        </p:grpSpPr>
        <p:grpSp>
          <p:nvGrpSpPr>
            <p:cNvPr id="51" name="Group 50">
              <a:extLst>
                <a:ext uri="{FF2B5EF4-FFF2-40B4-BE49-F238E27FC236}">
                  <a16:creationId xmlns:a16="http://schemas.microsoft.com/office/drawing/2014/main" id="{36AB50BF-4718-484C-B6EA-0C330459021B}"/>
                </a:ext>
              </a:extLst>
            </p:cNvPr>
            <p:cNvGrpSpPr/>
            <p:nvPr userDrawn="1"/>
          </p:nvGrpSpPr>
          <p:grpSpPr>
            <a:xfrm rot="16200000">
              <a:off x="-476749" y="580708"/>
              <a:ext cx="692152" cy="251461"/>
              <a:chOff x="431800" y="-235792"/>
              <a:chExt cx="4400551" cy="235792"/>
            </a:xfrm>
          </p:grpSpPr>
          <p:cxnSp>
            <p:nvCxnSpPr>
              <p:cNvPr id="53" name="Straight Connector 52">
                <a:extLst>
                  <a:ext uri="{FF2B5EF4-FFF2-40B4-BE49-F238E27FC236}">
                    <a16:creationId xmlns:a16="http://schemas.microsoft.com/office/drawing/2014/main" id="{A30C18D2-1D99-164F-A515-FE124A48FC0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10DDE84-4C05-1A4A-A2D8-AAE8FB3D3429}"/>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0FEB97B8-81FD-4541-B92C-ADB8AD94CD4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52" name="TextBox 51">
              <a:extLst>
                <a:ext uri="{FF2B5EF4-FFF2-40B4-BE49-F238E27FC236}">
                  <a16:creationId xmlns:a16="http://schemas.microsoft.com/office/drawing/2014/main" id="{5D9FF21D-3A71-2548-A8D3-8888EABDC88B}"/>
                </a:ext>
              </a:extLst>
            </p:cNvPr>
            <p:cNvSpPr txBox="1"/>
            <p:nvPr userDrawn="1"/>
          </p:nvSpPr>
          <p:spPr>
            <a:xfrm rot="16200000">
              <a:off x="-359580" y="622270"/>
              <a:ext cx="457823" cy="161583"/>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56" name="Group 55">
            <a:extLst>
              <a:ext uri="{FF2B5EF4-FFF2-40B4-BE49-F238E27FC236}">
                <a16:creationId xmlns:a16="http://schemas.microsoft.com/office/drawing/2014/main" id="{85D3DB86-D979-BC43-82F9-D7DB16BFB915}"/>
              </a:ext>
            </a:extLst>
          </p:cNvPr>
          <p:cNvGrpSpPr/>
          <p:nvPr userDrawn="1"/>
        </p:nvGrpSpPr>
        <p:grpSpPr>
          <a:xfrm>
            <a:off x="-342618" y="3367324"/>
            <a:ext cx="335281" cy="1365066"/>
            <a:chOff x="-256404" y="360363"/>
            <a:chExt cx="251461" cy="692152"/>
          </a:xfrm>
        </p:grpSpPr>
        <p:grpSp>
          <p:nvGrpSpPr>
            <p:cNvPr id="57" name="Group 56">
              <a:extLst>
                <a:ext uri="{FF2B5EF4-FFF2-40B4-BE49-F238E27FC236}">
                  <a16:creationId xmlns:a16="http://schemas.microsoft.com/office/drawing/2014/main" id="{BBE9AB7B-CC36-1C48-8850-B428D53FD54E}"/>
                </a:ext>
              </a:extLst>
            </p:cNvPr>
            <p:cNvGrpSpPr/>
            <p:nvPr userDrawn="1"/>
          </p:nvGrpSpPr>
          <p:grpSpPr>
            <a:xfrm rot="16200000">
              <a:off x="-476749" y="580708"/>
              <a:ext cx="692152" cy="251461"/>
              <a:chOff x="431800" y="-235792"/>
              <a:chExt cx="4400551" cy="235792"/>
            </a:xfrm>
          </p:grpSpPr>
          <p:cxnSp>
            <p:nvCxnSpPr>
              <p:cNvPr id="59" name="Straight Connector 58">
                <a:extLst>
                  <a:ext uri="{FF2B5EF4-FFF2-40B4-BE49-F238E27FC236}">
                    <a16:creationId xmlns:a16="http://schemas.microsoft.com/office/drawing/2014/main" id="{383BC659-DE1A-AD46-BABB-4216D5152A6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6C4EDB7-BE73-C648-8454-EDBF3A3BCEC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98F7CC41-3485-F345-AD6D-DA420283A29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58" name="TextBox 57">
              <a:extLst>
                <a:ext uri="{FF2B5EF4-FFF2-40B4-BE49-F238E27FC236}">
                  <a16:creationId xmlns:a16="http://schemas.microsoft.com/office/drawing/2014/main" id="{8CDD96D5-24AE-C84E-9626-2669E4455CE7}"/>
                </a:ext>
              </a:extLst>
            </p:cNvPr>
            <p:cNvSpPr txBox="1"/>
            <p:nvPr userDrawn="1"/>
          </p:nvSpPr>
          <p:spPr>
            <a:xfrm rot="16200000">
              <a:off x="-300948" y="662666"/>
              <a:ext cx="340562" cy="8079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2" name="Group 1">
            <a:extLst>
              <a:ext uri="{FF2B5EF4-FFF2-40B4-BE49-F238E27FC236}">
                <a16:creationId xmlns:a16="http://schemas.microsoft.com/office/drawing/2014/main" id="{B3E31308-5073-4344-9CE0-58B65E2EFAD8}"/>
              </a:ext>
            </a:extLst>
          </p:cNvPr>
          <p:cNvGrpSpPr/>
          <p:nvPr userDrawn="1"/>
        </p:nvGrpSpPr>
        <p:grpSpPr>
          <a:xfrm>
            <a:off x="12532244" y="-1"/>
            <a:ext cx="3948953" cy="9888233"/>
            <a:chOff x="9399182" y="-1"/>
            <a:chExt cx="2961715" cy="9888233"/>
          </a:xfrm>
        </p:grpSpPr>
        <p:sp>
          <p:nvSpPr>
            <p:cNvPr id="24" name="Rectangle 23">
              <a:extLst>
                <a:ext uri="{FF2B5EF4-FFF2-40B4-BE49-F238E27FC236}">
                  <a16:creationId xmlns:a16="http://schemas.microsoft.com/office/drawing/2014/main" id="{4E76269E-8C78-D343-B169-EBF41DC6C7A1}"/>
                </a:ext>
              </a:extLst>
            </p:cNvPr>
            <p:cNvSpPr/>
            <p:nvPr userDrawn="1"/>
          </p:nvSpPr>
          <p:spPr>
            <a:xfrm>
              <a:off x="9399182" y="-1"/>
              <a:ext cx="2798651" cy="974868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90" name="Picture 89">
              <a:extLst>
                <a:ext uri="{FF2B5EF4-FFF2-40B4-BE49-F238E27FC236}">
                  <a16:creationId xmlns:a16="http://schemas.microsoft.com/office/drawing/2014/main" id="{F246FA3C-064F-9848-8568-CFCFAD40560E}"/>
                </a:ext>
              </a:extLst>
            </p:cNvPr>
            <p:cNvPicPr>
              <a:picLocks noChangeAspect="1"/>
            </p:cNvPicPr>
            <p:nvPr userDrawn="1"/>
          </p:nvPicPr>
          <p:blipFill rotWithShape="1">
            <a:blip r:embed="rId2"/>
            <a:srcRect r="44021" b="6017"/>
            <a:stretch/>
          </p:blipFill>
          <p:spPr>
            <a:xfrm>
              <a:off x="9558506" y="1323797"/>
              <a:ext cx="2632538" cy="532435"/>
            </a:xfrm>
            <a:prstGeom prst="rect">
              <a:avLst/>
            </a:prstGeom>
          </p:spPr>
        </p:pic>
        <p:sp>
          <p:nvSpPr>
            <p:cNvPr id="25" name="TextBox 24">
              <a:extLst>
                <a:ext uri="{FF2B5EF4-FFF2-40B4-BE49-F238E27FC236}">
                  <a16:creationId xmlns:a16="http://schemas.microsoft.com/office/drawing/2014/main" id="{1671C85D-BA5D-4D49-929C-B172CAD4A8DC}"/>
                </a:ext>
              </a:extLst>
            </p:cNvPr>
            <p:cNvSpPr txBox="1"/>
            <p:nvPr userDrawn="1"/>
          </p:nvSpPr>
          <p:spPr>
            <a:xfrm>
              <a:off x="9558507" y="3874407"/>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26" name="Straight Connector 25">
              <a:extLst>
                <a:ext uri="{FF2B5EF4-FFF2-40B4-BE49-F238E27FC236}">
                  <a16:creationId xmlns:a16="http://schemas.microsoft.com/office/drawing/2014/main" id="{FF6343EF-AD02-7847-99E6-3F12C4DE8DD6}"/>
                </a:ext>
              </a:extLst>
            </p:cNvPr>
            <p:cNvCxnSpPr>
              <a:cxnSpLocks/>
            </p:cNvCxnSpPr>
            <p:nvPr userDrawn="1"/>
          </p:nvCxnSpPr>
          <p:spPr>
            <a:xfrm>
              <a:off x="9558507" y="4077024"/>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489BD887-3769-7E4A-84E6-A89C01DFBF0B}"/>
                </a:ext>
              </a:extLst>
            </p:cNvPr>
            <p:cNvSpPr txBox="1"/>
            <p:nvPr userDrawn="1"/>
          </p:nvSpPr>
          <p:spPr>
            <a:xfrm>
              <a:off x="9686426" y="4935334"/>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a:t>
              </a:r>
              <a:r>
                <a:rPr lang="en-US" sz="600" b="0" dirty="0"/>
                <a:t>from file browser</a:t>
              </a:r>
            </a:p>
            <a:p>
              <a:pPr lvl="1">
                <a:buNone/>
              </a:pPr>
              <a:r>
                <a:rPr lang="en-US" sz="1050" dirty="0"/>
                <a:t>Drag the image onto the slide.</a:t>
              </a:r>
            </a:p>
          </p:txBody>
        </p:sp>
        <p:grpSp>
          <p:nvGrpSpPr>
            <p:cNvPr id="28" name="Group 27">
              <a:extLst>
                <a:ext uri="{FF2B5EF4-FFF2-40B4-BE49-F238E27FC236}">
                  <a16:creationId xmlns:a16="http://schemas.microsoft.com/office/drawing/2014/main" id="{3BB7DFA5-86A8-2241-81D4-51CD6B2BCFFE}"/>
                </a:ext>
              </a:extLst>
            </p:cNvPr>
            <p:cNvGrpSpPr/>
            <p:nvPr userDrawn="1"/>
          </p:nvGrpSpPr>
          <p:grpSpPr>
            <a:xfrm>
              <a:off x="9541497" y="162442"/>
              <a:ext cx="2819400" cy="814510"/>
              <a:chOff x="-3644733" y="165205"/>
              <a:chExt cx="2819400" cy="814510"/>
            </a:xfrm>
          </p:grpSpPr>
          <p:sp>
            <p:nvSpPr>
              <p:cNvPr id="68" name="Rectangle 67">
                <a:extLst>
                  <a:ext uri="{FF2B5EF4-FFF2-40B4-BE49-F238E27FC236}">
                    <a16:creationId xmlns:a16="http://schemas.microsoft.com/office/drawing/2014/main" id="{9FA83002-5E66-5C4C-9655-0BA18B87C2B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9" name="TextBox 68">
                <a:extLst>
                  <a:ext uri="{FF2B5EF4-FFF2-40B4-BE49-F238E27FC236}">
                    <a16:creationId xmlns:a16="http://schemas.microsoft.com/office/drawing/2014/main" id="{5E1F513F-7453-184B-BF9C-0FE3D213F374}"/>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70" name="Picture 69">
                <a:extLst>
                  <a:ext uri="{FF2B5EF4-FFF2-40B4-BE49-F238E27FC236}">
                    <a16:creationId xmlns:a16="http://schemas.microsoft.com/office/drawing/2014/main" id="{DA1384A2-99EA-8F47-831A-0F69FD1BD1E9}"/>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48" name="Group 47">
              <a:extLst>
                <a:ext uri="{FF2B5EF4-FFF2-40B4-BE49-F238E27FC236}">
                  <a16:creationId xmlns:a16="http://schemas.microsoft.com/office/drawing/2014/main" id="{936DB6E4-613B-B043-BEEC-D9B02A473D15}"/>
                </a:ext>
              </a:extLst>
            </p:cNvPr>
            <p:cNvGrpSpPr/>
            <p:nvPr userDrawn="1"/>
          </p:nvGrpSpPr>
          <p:grpSpPr>
            <a:xfrm>
              <a:off x="9541497" y="8476917"/>
              <a:ext cx="2735151" cy="1411315"/>
              <a:chOff x="9296567" y="4910411"/>
              <a:chExt cx="2735151" cy="1411315"/>
            </a:xfrm>
          </p:grpSpPr>
          <p:sp>
            <p:nvSpPr>
              <p:cNvPr id="62" name="Rectangle 61">
                <a:extLst>
                  <a:ext uri="{FF2B5EF4-FFF2-40B4-BE49-F238E27FC236}">
                    <a16:creationId xmlns:a16="http://schemas.microsoft.com/office/drawing/2014/main" id="{B4B99D08-66F1-204B-AE0E-AE40EE746E64}"/>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3" name="TextBox 62">
                <a:extLst>
                  <a:ext uri="{FF2B5EF4-FFF2-40B4-BE49-F238E27FC236}">
                    <a16:creationId xmlns:a16="http://schemas.microsoft.com/office/drawing/2014/main" id="{D89DB38A-645F-144A-95C6-B29245BB782C}"/>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4" name="Graphic 63">
                <a:extLst>
                  <a:ext uri="{FF2B5EF4-FFF2-40B4-BE49-F238E27FC236}">
                    <a16:creationId xmlns:a16="http://schemas.microsoft.com/office/drawing/2014/main" id="{5844EBB1-69EC-374A-973E-FDB923CB63D4}"/>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56790" y="5049494"/>
                <a:ext cx="155227" cy="155227"/>
              </a:xfrm>
              <a:prstGeom prst="rect">
                <a:avLst/>
              </a:prstGeom>
            </p:spPr>
          </p:pic>
          <p:sp>
            <p:nvSpPr>
              <p:cNvPr id="65" name="TextBox 64">
                <a:extLst>
                  <a:ext uri="{FF2B5EF4-FFF2-40B4-BE49-F238E27FC236}">
                    <a16:creationId xmlns:a16="http://schemas.microsoft.com/office/drawing/2014/main" id="{2A7D2CE2-0888-254D-8182-E8B9B984C27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6" name="TextBox 65">
                <a:extLst>
                  <a:ext uri="{FF2B5EF4-FFF2-40B4-BE49-F238E27FC236}">
                    <a16:creationId xmlns:a16="http://schemas.microsoft.com/office/drawing/2014/main" id="{4BEAE704-A4F2-8846-BBA0-A78F408CC4F6}"/>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7" name="TextBox 66">
                <a:extLst>
                  <a:ext uri="{FF2B5EF4-FFF2-40B4-BE49-F238E27FC236}">
                    <a16:creationId xmlns:a16="http://schemas.microsoft.com/office/drawing/2014/main" id="{E827C2E6-4B03-3E40-A5C3-2897F09BF8B9}"/>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30" name="Group 29">
              <a:extLst>
                <a:ext uri="{FF2B5EF4-FFF2-40B4-BE49-F238E27FC236}">
                  <a16:creationId xmlns:a16="http://schemas.microsoft.com/office/drawing/2014/main" id="{85BD4996-1151-B14E-92B4-B6EB0B20C0D1}"/>
                </a:ext>
              </a:extLst>
            </p:cNvPr>
            <p:cNvGrpSpPr/>
            <p:nvPr userDrawn="1"/>
          </p:nvGrpSpPr>
          <p:grpSpPr>
            <a:xfrm>
              <a:off x="9541497" y="7120261"/>
              <a:ext cx="2735151" cy="1280928"/>
              <a:chOff x="9286315" y="6976989"/>
              <a:chExt cx="2735151" cy="1280928"/>
            </a:xfrm>
          </p:grpSpPr>
          <p:sp>
            <p:nvSpPr>
              <p:cNvPr id="43" name="Rectangle 42">
                <a:extLst>
                  <a:ext uri="{FF2B5EF4-FFF2-40B4-BE49-F238E27FC236}">
                    <a16:creationId xmlns:a16="http://schemas.microsoft.com/office/drawing/2014/main" id="{500FE895-1720-AB4B-9E0F-91C2C382303D}"/>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4" name="TextBox 43">
                <a:extLst>
                  <a:ext uri="{FF2B5EF4-FFF2-40B4-BE49-F238E27FC236}">
                    <a16:creationId xmlns:a16="http://schemas.microsoft.com/office/drawing/2014/main" id="{1B155C23-A6FC-4149-BF55-6313E95865F9}"/>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45" name="Graphic 44">
                <a:extLst>
                  <a:ext uri="{FF2B5EF4-FFF2-40B4-BE49-F238E27FC236}">
                    <a16:creationId xmlns:a16="http://schemas.microsoft.com/office/drawing/2014/main" id="{D666C49D-563C-9144-B854-B5D8FFA16E37}"/>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446538" y="7116071"/>
                <a:ext cx="155227" cy="155227"/>
              </a:xfrm>
              <a:prstGeom prst="rect">
                <a:avLst/>
              </a:prstGeom>
            </p:spPr>
          </p:pic>
          <p:sp>
            <p:nvSpPr>
              <p:cNvPr id="46" name="TextBox 45">
                <a:extLst>
                  <a:ext uri="{FF2B5EF4-FFF2-40B4-BE49-F238E27FC236}">
                    <a16:creationId xmlns:a16="http://schemas.microsoft.com/office/drawing/2014/main" id="{3CBE64FA-7748-1349-89EC-902B4A25BD00}"/>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47" name="Picture 46">
                <a:extLst>
                  <a:ext uri="{FF2B5EF4-FFF2-40B4-BE49-F238E27FC236}">
                    <a16:creationId xmlns:a16="http://schemas.microsoft.com/office/drawing/2014/main" id="{EBED6E0D-C534-0B4E-9ADA-CEEA5779E7B1}"/>
                  </a:ext>
                </a:extLst>
              </p:cNvPr>
              <p:cNvPicPr>
                <a:picLocks noChangeAspect="1"/>
              </p:cNvPicPr>
              <p:nvPr userDrawn="1"/>
            </p:nvPicPr>
            <p:blipFill rotWithShape="1">
              <a:blip r:embed="rId6"/>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31" name="Group 30">
              <a:extLst>
                <a:ext uri="{FF2B5EF4-FFF2-40B4-BE49-F238E27FC236}">
                  <a16:creationId xmlns:a16="http://schemas.microsoft.com/office/drawing/2014/main" id="{1ADEF5FC-92F8-0E47-9385-A4F9D9B30AF8}"/>
                </a:ext>
              </a:extLst>
            </p:cNvPr>
            <p:cNvGrpSpPr/>
            <p:nvPr userDrawn="1"/>
          </p:nvGrpSpPr>
          <p:grpSpPr>
            <a:xfrm>
              <a:off x="9521833" y="4199527"/>
              <a:ext cx="2617883" cy="651460"/>
              <a:chOff x="12352022" y="513115"/>
              <a:chExt cx="2617883" cy="651460"/>
            </a:xfrm>
          </p:grpSpPr>
          <p:sp>
            <p:nvSpPr>
              <p:cNvPr id="40" name="TextBox 39">
                <a:extLst>
                  <a:ext uri="{FF2B5EF4-FFF2-40B4-BE49-F238E27FC236}">
                    <a16:creationId xmlns:a16="http://schemas.microsoft.com/office/drawing/2014/main" id="{67B0499E-8D11-9D4A-A286-DEBDE9610976}"/>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41" name="TextBox 40">
                <a:extLst>
                  <a:ext uri="{FF2B5EF4-FFF2-40B4-BE49-F238E27FC236}">
                    <a16:creationId xmlns:a16="http://schemas.microsoft.com/office/drawing/2014/main" id="{D0D2B337-235A-7742-931F-C88DF26DF943}"/>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42" name="TextBox 41">
                <a:extLst>
                  <a:ext uri="{FF2B5EF4-FFF2-40B4-BE49-F238E27FC236}">
                    <a16:creationId xmlns:a16="http://schemas.microsoft.com/office/drawing/2014/main" id="{C57FC906-94A4-9340-B80B-5A4321C7FD97}"/>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32" name="TextBox 31">
              <a:extLst>
                <a:ext uri="{FF2B5EF4-FFF2-40B4-BE49-F238E27FC236}">
                  <a16:creationId xmlns:a16="http://schemas.microsoft.com/office/drawing/2014/main" id="{33DD3CB3-E4D8-D945-AB52-C6152FB5CEEE}"/>
                </a:ext>
              </a:extLst>
            </p:cNvPr>
            <p:cNvSpPr txBox="1"/>
            <p:nvPr userDrawn="1"/>
          </p:nvSpPr>
          <p:spPr>
            <a:xfrm>
              <a:off x="9674267" y="5218639"/>
              <a:ext cx="2374733" cy="29084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33" name="TextBox 32">
              <a:extLst>
                <a:ext uri="{FF2B5EF4-FFF2-40B4-BE49-F238E27FC236}">
                  <a16:creationId xmlns:a16="http://schemas.microsoft.com/office/drawing/2014/main" id="{F2294DF0-4D25-5543-B7E9-64BC32586F13}"/>
                </a:ext>
              </a:extLst>
            </p:cNvPr>
            <p:cNvSpPr txBox="1"/>
            <p:nvPr userDrawn="1"/>
          </p:nvSpPr>
          <p:spPr>
            <a:xfrm>
              <a:off x="9686426" y="5633896"/>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34" name="TextBox 33">
              <a:extLst>
                <a:ext uri="{FF2B5EF4-FFF2-40B4-BE49-F238E27FC236}">
                  <a16:creationId xmlns:a16="http://schemas.microsoft.com/office/drawing/2014/main" id="{E7593A18-4AA6-1740-8742-F41540517E1F}"/>
                </a:ext>
              </a:extLst>
            </p:cNvPr>
            <p:cNvSpPr txBox="1"/>
            <p:nvPr userDrawn="1"/>
          </p:nvSpPr>
          <p:spPr>
            <a:xfrm>
              <a:off x="9686426" y="6353986"/>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a:t>
              </a:r>
              <a:r>
                <a:rPr lang="en-US" sz="600" b="0" dirty="0"/>
                <a:t>Placeholder icon</a:t>
              </a:r>
            </a:p>
            <a:p>
              <a:pPr lvl="1">
                <a:buNone/>
              </a:pPr>
              <a:r>
                <a:rPr lang="en-US" sz="1050" dirty="0"/>
                <a:t>Click the image icon inside the placeholder to browse for an image.</a:t>
              </a:r>
            </a:p>
          </p:txBody>
        </p:sp>
        <p:sp>
          <p:nvSpPr>
            <p:cNvPr id="35" name="TextBox 34">
              <a:extLst>
                <a:ext uri="{FF2B5EF4-FFF2-40B4-BE49-F238E27FC236}">
                  <a16:creationId xmlns:a16="http://schemas.microsoft.com/office/drawing/2014/main" id="{956F856D-C4D3-334A-B1FE-BDBA5CA3B0E1}"/>
                </a:ext>
              </a:extLst>
            </p:cNvPr>
            <p:cNvSpPr txBox="1"/>
            <p:nvPr userDrawn="1"/>
          </p:nvSpPr>
          <p:spPr>
            <a:xfrm>
              <a:off x="9674267" y="6784549"/>
              <a:ext cx="2374733" cy="193899"/>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sp>
          <p:nvSpPr>
            <p:cNvPr id="38" name="TextBox 37">
              <a:extLst>
                <a:ext uri="{FF2B5EF4-FFF2-40B4-BE49-F238E27FC236}">
                  <a16:creationId xmlns:a16="http://schemas.microsoft.com/office/drawing/2014/main" id="{AB0AAF54-7965-B142-B874-EE47EADD6C0A}"/>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39" name="Straight Connector 38">
              <a:extLst>
                <a:ext uri="{FF2B5EF4-FFF2-40B4-BE49-F238E27FC236}">
                  <a16:creationId xmlns:a16="http://schemas.microsoft.com/office/drawing/2014/main" id="{9DED1D72-DEB5-E94A-A957-290E83552A0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6B557C09-E337-D24A-941E-6A7414CBA1D8}"/>
                </a:ext>
              </a:extLst>
            </p:cNvPr>
            <p:cNvGrpSpPr/>
            <p:nvPr userDrawn="1"/>
          </p:nvGrpSpPr>
          <p:grpSpPr>
            <a:xfrm>
              <a:off x="9541497" y="1993090"/>
              <a:ext cx="2735151" cy="1739504"/>
              <a:chOff x="9541497" y="2125825"/>
              <a:chExt cx="2735151" cy="1739504"/>
            </a:xfrm>
          </p:grpSpPr>
          <p:sp>
            <p:nvSpPr>
              <p:cNvPr id="72" name="Rectangle 71">
                <a:extLst>
                  <a:ext uri="{FF2B5EF4-FFF2-40B4-BE49-F238E27FC236}">
                    <a16:creationId xmlns:a16="http://schemas.microsoft.com/office/drawing/2014/main" id="{3EFFB818-B95A-9A4F-AA82-9F4D5FF20275}"/>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3" name="TextBox 72">
                <a:extLst>
                  <a:ext uri="{FF2B5EF4-FFF2-40B4-BE49-F238E27FC236}">
                    <a16:creationId xmlns:a16="http://schemas.microsoft.com/office/drawing/2014/main" id="{DEC5F26B-4D18-5442-B88B-C1A3C02042FF}"/>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74" name="Graphic 73">
                <a:extLst>
                  <a:ext uri="{FF2B5EF4-FFF2-40B4-BE49-F238E27FC236}">
                    <a16:creationId xmlns:a16="http://schemas.microsoft.com/office/drawing/2014/main" id="{474F1871-E7AA-694F-A055-112CE85079D9}"/>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264907"/>
                <a:ext cx="155227" cy="155227"/>
              </a:xfrm>
              <a:prstGeom prst="rect">
                <a:avLst/>
              </a:prstGeom>
            </p:spPr>
          </p:pic>
          <p:sp>
            <p:nvSpPr>
              <p:cNvPr id="75" name="TextBox 74">
                <a:extLst>
                  <a:ext uri="{FF2B5EF4-FFF2-40B4-BE49-F238E27FC236}">
                    <a16:creationId xmlns:a16="http://schemas.microsoft.com/office/drawing/2014/main" id="{E5FA5F2C-CB33-3742-94F7-FCC2AF53A1E3}"/>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78" name="TextBox 77">
                <a:extLst>
                  <a:ext uri="{FF2B5EF4-FFF2-40B4-BE49-F238E27FC236}">
                    <a16:creationId xmlns:a16="http://schemas.microsoft.com/office/drawing/2014/main" id="{2E1A285B-D1A8-7542-B57C-1FB7F1DE582E}"/>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79" name="TextBox 78">
                <a:extLst>
                  <a:ext uri="{FF2B5EF4-FFF2-40B4-BE49-F238E27FC236}">
                    <a16:creationId xmlns:a16="http://schemas.microsoft.com/office/drawing/2014/main" id="{9A7FC49C-9563-8045-A659-511775C12BE2}"/>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80" name="TextBox 79">
                <a:extLst>
                  <a:ext uri="{FF2B5EF4-FFF2-40B4-BE49-F238E27FC236}">
                    <a16:creationId xmlns:a16="http://schemas.microsoft.com/office/drawing/2014/main" id="{CD793767-48F5-464F-88A1-9CCB91E4C405}"/>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3" name="Picture 2">
                <a:extLst>
                  <a:ext uri="{FF2B5EF4-FFF2-40B4-BE49-F238E27FC236}">
                    <a16:creationId xmlns:a16="http://schemas.microsoft.com/office/drawing/2014/main" id="{101078BD-505E-0F4C-AD76-8DD34B7498CB}"/>
                  </a:ext>
                </a:extLst>
              </p:cNvPr>
              <p:cNvPicPr>
                <a:picLocks noChangeAspect="1"/>
              </p:cNvPicPr>
              <p:nvPr userDrawn="1"/>
            </p:nvPicPr>
            <p:blipFill rotWithShape="1">
              <a:blip r:embed="rId7"/>
              <a:srcRect l="4852" t="17138" r="10283" b="11792"/>
              <a:stretch/>
            </p:blipFill>
            <p:spPr>
              <a:xfrm>
                <a:off x="10676602" y="3604038"/>
                <a:ext cx="478277" cy="101726"/>
              </a:xfrm>
              <a:prstGeom prst="rect">
                <a:avLst/>
              </a:prstGeom>
              <a:ln>
                <a:solidFill>
                  <a:schemeClr val="accent3">
                    <a:lumMod val="60000"/>
                    <a:lumOff val="40000"/>
                  </a:schemeClr>
                </a:solidFill>
              </a:ln>
            </p:spPr>
          </p:pic>
        </p:grpSp>
      </p:grpSp>
      <p:grpSp>
        <p:nvGrpSpPr>
          <p:cNvPr id="71" name="Group 70">
            <a:extLst>
              <a:ext uri="{FF2B5EF4-FFF2-40B4-BE49-F238E27FC236}">
                <a16:creationId xmlns:a16="http://schemas.microsoft.com/office/drawing/2014/main" id="{7C71C768-6B06-514A-9B09-14236993DABA}"/>
              </a:ext>
            </a:extLst>
          </p:cNvPr>
          <p:cNvGrpSpPr/>
          <p:nvPr userDrawn="1"/>
        </p:nvGrpSpPr>
        <p:grpSpPr>
          <a:xfrm>
            <a:off x="574987" y="-246933"/>
            <a:ext cx="11040535" cy="7347304"/>
            <a:chOff x="431240" y="-246933"/>
            <a:chExt cx="8280401" cy="7347304"/>
          </a:xfrm>
        </p:grpSpPr>
        <p:grpSp>
          <p:nvGrpSpPr>
            <p:cNvPr id="76" name="Group 75">
              <a:extLst>
                <a:ext uri="{FF2B5EF4-FFF2-40B4-BE49-F238E27FC236}">
                  <a16:creationId xmlns:a16="http://schemas.microsoft.com/office/drawing/2014/main" id="{9B95636A-1056-924A-97B4-C3A6F8C3B1B4}"/>
                </a:ext>
              </a:extLst>
            </p:cNvPr>
            <p:cNvGrpSpPr/>
            <p:nvPr userDrawn="1"/>
          </p:nvGrpSpPr>
          <p:grpSpPr>
            <a:xfrm>
              <a:off x="431242" y="6864579"/>
              <a:ext cx="8280398" cy="235792"/>
              <a:chOff x="431801" y="-235792"/>
              <a:chExt cx="4400550" cy="235792"/>
            </a:xfrm>
          </p:grpSpPr>
          <p:cxnSp>
            <p:nvCxnSpPr>
              <p:cNvPr id="88" name="Straight Connector 87">
                <a:extLst>
                  <a:ext uri="{FF2B5EF4-FFF2-40B4-BE49-F238E27FC236}">
                    <a16:creationId xmlns:a16="http://schemas.microsoft.com/office/drawing/2014/main" id="{A3BD970C-9E24-EF4F-8A3A-73AB35542351}"/>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05D3E976-ACCC-3442-8667-B012B51D2E6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77" name="Group 76">
              <a:extLst>
                <a:ext uri="{FF2B5EF4-FFF2-40B4-BE49-F238E27FC236}">
                  <a16:creationId xmlns:a16="http://schemas.microsoft.com/office/drawing/2014/main" id="{0A1A29BA-21FE-BF4F-A419-8BEDC8913E4C}"/>
                </a:ext>
              </a:extLst>
            </p:cNvPr>
            <p:cNvGrpSpPr/>
            <p:nvPr userDrawn="1"/>
          </p:nvGrpSpPr>
          <p:grpSpPr>
            <a:xfrm>
              <a:off x="431240" y="-246933"/>
              <a:ext cx="8280401" cy="235792"/>
              <a:chOff x="431800" y="-240735"/>
              <a:chExt cx="8280401" cy="235792"/>
            </a:xfrm>
          </p:grpSpPr>
          <p:grpSp>
            <p:nvGrpSpPr>
              <p:cNvPr id="81" name="Group 80">
                <a:extLst>
                  <a:ext uri="{FF2B5EF4-FFF2-40B4-BE49-F238E27FC236}">
                    <a16:creationId xmlns:a16="http://schemas.microsoft.com/office/drawing/2014/main" id="{07CF734D-3FF9-4E47-A5C5-1D33DD70F237}"/>
                  </a:ext>
                </a:extLst>
              </p:cNvPr>
              <p:cNvGrpSpPr/>
              <p:nvPr userDrawn="1"/>
            </p:nvGrpSpPr>
            <p:grpSpPr>
              <a:xfrm>
                <a:off x="431800" y="-240735"/>
                <a:ext cx="8280400" cy="235792"/>
                <a:chOff x="431800" y="-235792"/>
                <a:chExt cx="4400551" cy="235792"/>
              </a:xfrm>
            </p:grpSpPr>
            <p:cxnSp>
              <p:nvCxnSpPr>
                <p:cNvPr id="85" name="Straight Connector 84">
                  <a:extLst>
                    <a:ext uri="{FF2B5EF4-FFF2-40B4-BE49-F238E27FC236}">
                      <a16:creationId xmlns:a16="http://schemas.microsoft.com/office/drawing/2014/main" id="{A3D8645B-FB11-AF4F-A236-5EEAA664B35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3479ADB-FA23-394E-8391-00230A9B7BB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87" name="Rectangle 86">
                  <a:extLst>
                    <a:ext uri="{FF2B5EF4-FFF2-40B4-BE49-F238E27FC236}">
                      <a16:creationId xmlns:a16="http://schemas.microsoft.com/office/drawing/2014/main" id="{5CE960C4-BA95-7E46-819D-BD872CA8C5ED}"/>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82" name="TextBox 81">
                <a:extLst>
                  <a:ext uri="{FF2B5EF4-FFF2-40B4-BE49-F238E27FC236}">
                    <a16:creationId xmlns:a16="http://schemas.microsoft.com/office/drawing/2014/main" id="{D1DED7A1-A6E1-1B4A-B40C-99489D2EB2D3}"/>
                  </a:ext>
                </a:extLst>
              </p:cNvPr>
              <p:cNvSpPr txBox="1"/>
              <p:nvPr userDrawn="1"/>
            </p:nvSpPr>
            <p:spPr>
              <a:xfrm>
                <a:off x="3914336" y="-176700"/>
                <a:ext cx="1315339"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83" name="Straight Arrow Connector 82">
                <a:extLst>
                  <a:ext uri="{FF2B5EF4-FFF2-40B4-BE49-F238E27FC236}">
                    <a16:creationId xmlns:a16="http://schemas.microsoft.com/office/drawing/2014/main" id="{EA4680D5-EBE2-9445-9E04-4B3E32771EF3}"/>
                  </a:ext>
                </a:extLst>
              </p:cNvPr>
              <p:cNvCxnSpPr>
                <a:cxnSpLocks/>
                <a:stCxn id="82" idx="1"/>
                <a:endCxn id="87" idx="2"/>
              </p:cNvCxnSpPr>
              <p:nvPr userDrawn="1"/>
            </p:nvCxnSpPr>
            <p:spPr>
              <a:xfrm flipH="1">
                <a:off x="431801" y="-122839"/>
                <a:ext cx="3482535"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id="{1C4946BD-BA2D-B243-9830-431EA0108821}"/>
                  </a:ext>
                </a:extLst>
              </p:cNvPr>
              <p:cNvCxnSpPr>
                <a:cxnSpLocks/>
                <a:stCxn id="82" idx="3"/>
                <a:endCxn id="87" idx="0"/>
              </p:cNvCxnSpPr>
              <p:nvPr userDrawn="1"/>
            </p:nvCxnSpPr>
            <p:spPr>
              <a:xfrm flipV="1">
                <a:off x="5229674" y="-122840"/>
                <a:ext cx="3482527"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pic>
        <p:nvPicPr>
          <p:cNvPr id="91" name="Picture 90">
            <a:extLst>
              <a:ext uri="{FF2B5EF4-FFF2-40B4-BE49-F238E27FC236}">
                <a16:creationId xmlns:a16="http://schemas.microsoft.com/office/drawing/2014/main" id="{7A3CC9EA-91E6-CC48-98F7-A3B3DA6A399F}"/>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102926" y="6070430"/>
            <a:ext cx="2132663" cy="329184"/>
          </a:xfrm>
          <a:prstGeom prst="rect">
            <a:avLst/>
          </a:prstGeom>
        </p:spPr>
      </p:pic>
    </p:spTree>
    <p:extLst>
      <p:ext uri="{BB962C8B-B14F-4D97-AF65-F5344CB8AC3E}">
        <p14:creationId xmlns:p14="http://schemas.microsoft.com/office/powerpoint/2010/main" val="2952025671"/>
      </p:ext>
    </p:extLst>
  </p:cSld>
  <p:clrMapOvr>
    <a:overrideClrMapping bg1="lt1" tx1="dk1" bg2="lt2" tx2="dk2" accent1="accent1" accent2="accent2" accent3="accent3" accent4="accent4" accent5="accent5" accent6="accent6" hlink="lt1" folHlink="lt1"/>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hank You (2 Headshots)">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51CCCAA-D40E-B44E-A126-920CC95387F8}"/>
              </a:ext>
            </a:extLst>
          </p:cNvPr>
          <p:cNvSpPr>
            <a:spLocks noGrp="1"/>
          </p:cNvSpPr>
          <p:nvPr>
            <p:ph type="title" hasCustomPrompt="1"/>
          </p:nvPr>
        </p:nvSpPr>
        <p:spPr>
          <a:xfrm>
            <a:off x="575734" y="2402732"/>
            <a:ext cx="11040533" cy="922907"/>
          </a:xfrm>
        </p:spPr>
        <p:txBody>
          <a:bodyPr/>
          <a:lstStyle>
            <a:lvl1pPr>
              <a:defRPr sz="3200"/>
            </a:lvl1pPr>
          </a:lstStyle>
          <a:p>
            <a:r>
              <a:rPr lang="en-US" dirty="0"/>
              <a:t>Click to add </a:t>
            </a:r>
            <a:br>
              <a:rPr lang="en-US" dirty="0"/>
            </a:br>
            <a:r>
              <a:rPr lang="en-US" dirty="0"/>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2862470" y="3604149"/>
            <a:ext cx="3068615"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dirty="0"/>
              <a:t>Click to add contact information</a:t>
            </a:r>
          </a:p>
          <a:p>
            <a:pPr lvl="1"/>
            <a:r>
              <a:rPr lang="en-US" dirty="0"/>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2"/>
            <a:ext cx="9041763"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1200"/>
          </a:p>
        </p:txBody>
      </p:sp>
      <p:grpSp>
        <p:nvGrpSpPr>
          <p:cNvPr id="7" name="Group 6">
            <a:extLst>
              <a:ext uri="{FF2B5EF4-FFF2-40B4-BE49-F238E27FC236}">
                <a16:creationId xmlns:a16="http://schemas.microsoft.com/office/drawing/2014/main" id="{329E5FF7-98BC-884F-840D-5E423F4AF849}"/>
              </a:ext>
            </a:extLst>
          </p:cNvPr>
          <p:cNvGrpSpPr/>
          <p:nvPr userDrawn="1"/>
        </p:nvGrpSpPr>
        <p:grpSpPr>
          <a:xfrm>
            <a:off x="-342618" y="2477066"/>
            <a:ext cx="33528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59580" y="622270"/>
              <a:ext cx="457823" cy="161583"/>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16" name="Group 15">
            <a:extLst>
              <a:ext uri="{FF2B5EF4-FFF2-40B4-BE49-F238E27FC236}">
                <a16:creationId xmlns:a16="http://schemas.microsoft.com/office/drawing/2014/main" id="{D8244616-2BA8-434E-A138-B2D5956D9EE1}"/>
              </a:ext>
            </a:extLst>
          </p:cNvPr>
          <p:cNvGrpSpPr/>
          <p:nvPr userDrawn="1"/>
        </p:nvGrpSpPr>
        <p:grpSpPr>
          <a:xfrm>
            <a:off x="-342618" y="3622630"/>
            <a:ext cx="335281" cy="1506813"/>
            <a:chOff x="-256404" y="360363"/>
            <a:chExt cx="251461" cy="692152"/>
          </a:xfrm>
        </p:grpSpPr>
        <p:grpSp>
          <p:nvGrpSpPr>
            <p:cNvPr id="17" name="Group 16">
              <a:extLst>
                <a:ext uri="{FF2B5EF4-FFF2-40B4-BE49-F238E27FC236}">
                  <a16:creationId xmlns:a16="http://schemas.microsoft.com/office/drawing/2014/main" id="{709CBFCC-B5CB-D24E-8728-2AAEE959FF6E}"/>
                </a:ext>
              </a:extLst>
            </p:cNvPr>
            <p:cNvGrpSpPr/>
            <p:nvPr userDrawn="1"/>
          </p:nvGrpSpPr>
          <p:grpSpPr>
            <a:xfrm rot="16200000">
              <a:off x="-476749" y="580708"/>
              <a:ext cx="692152" cy="251461"/>
              <a:chOff x="431800" y="-235792"/>
              <a:chExt cx="4400551" cy="235792"/>
            </a:xfrm>
          </p:grpSpPr>
          <p:cxnSp>
            <p:nvCxnSpPr>
              <p:cNvPr id="19" name="Straight Connector 18">
                <a:extLst>
                  <a:ext uri="{FF2B5EF4-FFF2-40B4-BE49-F238E27FC236}">
                    <a16:creationId xmlns:a16="http://schemas.microsoft.com/office/drawing/2014/main" id="{977E976A-5E64-D14B-BA4C-4F26EF696B7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100263B3-BEFA-F84D-A346-488994B5061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0D5E94FD-3E4F-7A4D-8F85-338D20425FB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18" name="TextBox 17">
              <a:extLst>
                <a:ext uri="{FF2B5EF4-FFF2-40B4-BE49-F238E27FC236}">
                  <a16:creationId xmlns:a16="http://schemas.microsoft.com/office/drawing/2014/main" id="{1C137DA0-E7A0-8348-964C-0094E9A21AD9}"/>
                </a:ext>
              </a:extLst>
            </p:cNvPr>
            <p:cNvSpPr txBox="1"/>
            <p:nvPr userDrawn="1"/>
          </p:nvSpPr>
          <p:spPr>
            <a:xfrm rot="16200000">
              <a:off x="-284929" y="662666"/>
              <a:ext cx="308525" cy="8079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sp>
        <p:nvSpPr>
          <p:cNvPr id="3" name="Picture Placeholder 2">
            <a:extLst>
              <a:ext uri="{FF2B5EF4-FFF2-40B4-BE49-F238E27FC236}">
                <a16:creationId xmlns:a16="http://schemas.microsoft.com/office/drawing/2014/main" id="{3953A8BD-C2FA-AE49-99CC-15B59CE56A15}"/>
              </a:ext>
            </a:extLst>
          </p:cNvPr>
          <p:cNvSpPr>
            <a:spLocks noGrp="1"/>
          </p:cNvSpPr>
          <p:nvPr>
            <p:ph type="pic" sz="quarter" idx="16" hasCustomPrompt="1"/>
          </p:nvPr>
        </p:nvSpPr>
        <p:spPr>
          <a:xfrm>
            <a:off x="575733" y="3603625"/>
            <a:ext cx="205740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22" name="Text Placeholder 7">
            <a:extLst>
              <a:ext uri="{FF2B5EF4-FFF2-40B4-BE49-F238E27FC236}">
                <a16:creationId xmlns:a16="http://schemas.microsoft.com/office/drawing/2014/main" id="{1B6BB86B-8CCA-614F-97F8-932E6DC1B83C}"/>
              </a:ext>
            </a:extLst>
          </p:cNvPr>
          <p:cNvSpPr>
            <a:spLocks noGrp="1"/>
          </p:cNvSpPr>
          <p:nvPr>
            <p:ph type="body" sz="quarter" idx="17" hasCustomPrompt="1"/>
          </p:nvPr>
        </p:nvSpPr>
        <p:spPr>
          <a:xfrm>
            <a:off x="8547653" y="3604149"/>
            <a:ext cx="3068615"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dirty="0"/>
              <a:t>Click to add contact information</a:t>
            </a:r>
          </a:p>
          <a:p>
            <a:pPr lvl="1"/>
            <a:r>
              <a:rPr lang="en-US" dirty="0"/>
              <a:t>Second level</a:t>
            </a:r>
          </a:p>
        </p:txBody>
      </p:sp>
      <p:sp>
        <p:nvSpPr>
          <p:cNvPr id="23" name="Picture Placeholder 2">
            <a:extLst>
              <a:ext uri="{FF2B5EF4-FFF2-40B4-BE49-F238E27FC236}">
                <a16:creationId xmlns:a16="http://schemas.microsoft.com/office/drawing/2014/main" id="{E582B670-FA91-C849-BD22-A066A6FE9B53}"/>
              </a:ext>
            </a:extLst>
          </p:cNvPr>
          <p:cNvSpPr>
            <a:spLocks noGrp="1"/>
          </p:cNvSpPr>
          <p:nvPr>
            <p:ph type="pic" sz="quarter" idx="18" hasCustomPrompt="1"/>
          </p:nvPr>
        </p:nvSpPr>
        <p:spPr>
          <a:xfrm>
            <a:off x="6260916" y="3603625"/>
            <a:ext cx="205740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2" name="Group 1">
            <a:extLst>
              <a:ext uri="{FF2B5EF4-FFF2-40B4-BE49-F238E27FC236}">
                <a16:creationId xmlns:a16="http://schemas.microsoft.com/office/drawing/2014/main" id="{C8C5271A-0BDF-8A4B-A174-563C1037B2D5}"/>
              </a:ext>
            </a:extLst>
          </p:cNvPr>
          <p:cNvGrpSpPr/>
          <p:nvPr userDrawn="1"/>
        </p:nvGrpSpPr>
        <p:grpSpPr>
          <a:xfrm>
            <a:off x="12532244" y="-1"/>
            <a:ext cx="3948953" cy="8383282"/>
            <a:chOff x="9399182" y="-1"/>
            <a:chExt cx="2961715" cy="8383282"/>
          </a:xfrm>
        </p:grpSpPr>
        <p:sp>
          <p:nvSpPr>
            <p:cNvPr id="25" name="Rectangle 24">
              <a:extLst>
                <a:ext uri="{FF2B5EF4-FFF2-40B4-BE49-F238E27FC236}">
                  <a16:creationId xmlns:a16="http://schemas.microsoft.com/office/drawing/2014/main" id="{545B4392-38F5-6C41-A941-E1CDFEF149BA}"/>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81" name="Picture 80">
              <a:extLst>
                <a:ext uri="{FF2B5EF4-FFF2-40B4-BE49-F238E27FC236}">
                  <a16:creationId xmlns:a16="http://schemas.microsoft.com/office/drawing/2014/main" id="{9505F31A-B1BD-6B43-93A4-B74F320C4E6C}"/>
                </a:ext>
              </a:extLst>
            </p:cNvPr>
            <p:cNvPicPr>
              <a:picLocks noChangeAspect="1"/>
            </p:cNvPicPr>
            <p:nvPr userDrawn="1"/>
          </p:nvPicPr>
          <p:blipFill rotWithShape="1">
            <a:blip r:embed="rId2"/>
            <a:srcRect r="44907"/>
            <a:stretch/>
          </p:blipFill>
          <p:spPr>
            <a:xfrm>
              <a:off x="9558505" y="1326787"/>
              <a:ext cx="2639326" cy="517021"/>
            </a:xfrm>
            <a:prstGeom prst="rect">
              <a:avLst/>
            </a:prstGeom>
          </p:spPr>
        </p:pic>
        <p:sp>
          <p:nvSpPr>
            <p:cNvPr id="26" name="TextBox 25">
              <a:extLst>
                <a:ext uri="{FF2B5EF4-FFF2-40B4-BE49-F238E27FC236}">
                  <a16:creationId xmlns:a16="http://schemas.microsoft.com/office/drawing/2014/main" id="{5258D4B1-E9C2-FB40-A4A9-66BEE0EF3965}"/>
                </a:ext>
              </a:extLst>
            </p:cNvPr>
            <p:cNvSpPr txBox="1"/>
            <p:nvPr userDrawn="1"/>
          </p:nvSpPr>
          <p:spPr>
            <a:xfrm>
              <a:off x="9558507" y="3863269"/>
              <a:ext cx="161943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IPS FOR ADDING HEADSHOTS</a:t>
              </a:r>
            </a:p>
          </p:txBody>
        </p:sp>
        <p:cxnSp>
          <p:nvCxnSpPr>
            <p:cNvPr id="27" name="Straight Connector 26">
              <a:extLst>
                <a:ext uri="{FF2B5EF4-FFF2-40B4-BE49-F238E27FC236}">
                  <a16:creationId xmlns:a16="http://schemas.microsoft.com/office/drawing/2014/main" id="{661008D7-F48E-CB4E-99B2-9CD9ECF9FBD6}"/>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EEB03B23-ECF8-7E4C-9DD0-D5EB04C22CCD}"/>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7" name="TextBox 66">
              <a:extLst>
                <a:ext uri="{FF2B5EF4-FFF2-40B4-BE49-F238E27FC236}">
                  <a16:creationId xmlns:a16="http://schemas.microsoft.com/office/drawing/2014/main" id="{D36E3FB2-9D3F-F345-8ABF-49772659DC3C}"/>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8" name="Picture 67">
              <a:extLst>
                <a:ext uri="{FF2B5EF4-FFF2-40B4-BE49-F238E27FC236}">
                  <a16:creationId xmlns:a16="http://schemas.microsoft.com/office/drawing/2014/main" id="{A2E380DD-5DBC-7B40-941B-9B833C5A4891}"/>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60" name="Rectangle 59">
              <a:extLst>
                <a:ext uri="{FF2B5EF4-FFF2-40B4-BE49-F238E27FC236}">
                  <a16:creationId xmlns:a16="http://schemas.microsoft.com/office/drawing/2014/main" id="{F9D5BAED-BA0A-B647-B7F6-5D6021FACCCF}"/>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1" name="TextBox 60">
              <a:extLst>
                <a:ext uri="{FF2B5EF4-FFF2-40B4-BE49-F238E27FC236}">
                  <a16:creationId xmlns:a16="http://schemas.microsoft.com/office/drawing/2014/main" id="{0526BF7F-3849-4849-8E5B-701D9AA18384}"/>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2" name="Graphic 61">
              <a:extLst>
                <a:ext uri="{FF2B5EF4-FFF2-40B4-BE49-F238E27FC236}">
                  <a16:creationId xmlns:a16="http://schemas.microsoft.com/office/drawing/2014/main" id="{A349D8B4-550A-014D-9076-DDDB3624A37A}"/>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111049"/>
              <a:ext cx="155227" cy="155227"/>
            </a:xfrm>
            <a:prstGeom prst="rect">
              <a:avLst/>
            </a:prstGeom>
          </p:spPr>
        </p:pic>
        <p:sp>
          <p:nvSpPr>
            <p:cNvPr id="63" name="TextBox 62">
              <a:extLst>
                <a:ext uri="{FF2B5EF4-FFF2-40B4-BE49-F238E27FC236}">
                  <a16:creationId xmlns:a16="http://schemas.microsoft.com/office/drawing/2014/main" id="{EE86AFA1-0C01-1D45-B393-A7B36DC10AE4}"/>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64" name="TextBox 63">
              <a:extLst>
                <a:ext uri="{FF2B5EF4-FFF2-40B4-BE49-F238E27FC236}">
                  <a16:creationId xmlns:a16="http://schemas.microsoft.com/office/drawing/2014/main" id="{B69B0D5D-8E81-F645-BCC8-64447E84902A}"/>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65" name="TextBox 64">
              <a:extLst>
                <a:ext uri="{FF2B5EF4-FFF2-40B4-BE49-F238E27FC236}">
                  <a16:creationId xmlns:a16="http://schemas.microsoft.com/office/drawing/2014/main" id="{EFADA951-D7D8-B14D-82B0-66F3604EF11D}"/>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53" name="Rectangle 52">
              <a:extLst>
                <a:ext uri="{FF2B5EF4-FFF2-40B4-BE49-F238E27FC236}">
                  <a16:creationId xmlns:a16="http://schemas.microsoft.com/office/drawing/2014/main" id="{1C6A9EE0-3F9B-9141-804D-7B7B3100D2F8}"/>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54" name="TextBox 53">
              <a:extLst>
                <a:ext uri="{FF2B5EF4-FFF2-40B4-BE49-F238E27FC236}">
                  <a16:creationId xmlns:a16="http://schemas.microsoft.com/office/drawing/2014/main" id="{F6EBC34F-18CE-E54E-9812-7C5701913234}"/>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55" name="Graphic 54">
              <a:extLst>
                <a:ext uri="{FF2B5EF4-FFF2-40B4-BE49-F238E27FC236}">
                  <a16:creationId xmlns:a16="http://schemas.microsoft.com/office/drawing/2014/main" id="{911FC2BF-E4F0-7447-8543-FE7B8063A27B}"/>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754392"/>
              <a:ext cx="155227" cy="155227"/>
            </a:xfrm>
            <a:prstGeom prst="rect">
              <a:avLst/>
            </a:prstGeom>
          </p:spPr>
        </p:pic>
        <p:sp>
          <p:nvSpPr>
            <p:cNvPr id="56" name="TextBox 55">
              <a:extLst>
                <a:ext uri="{FF2B5EF4-FFF2-40B4-BE49-F238E27FC236}">
                  <a16:creationId xmlns:a16="http://schemas.microsoft.com/office/drawing/2014/main" id="{7A713D6E-1306-BD46-9022-2EEA5CF4E52C}"/>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57" name="Picture 56">
              <a:extLst>
                <a:ext uri="{FF2B5EF4-FFF2-40B4-BE49-F238E27FC236}">
                  <a16:creationId xmlns:a16="http://schemas.microsoft.com/office/drawing/2014/main" id="{D30E2C41-A0A4-C34F-BD05-3F5C3C56ACC3}"/>
                </a:ext>
              </a:extLst>
            </p:cNvPr>
            <p:cNvPicPr>
              <a:picLocks noChangeAspect="1"/>
            </p:cNvPicPr>
            <p:nvPr userDrawn="1"/>
          </p:nvPicPr>
          <p:blipFill rotWithShape="1">
            <a:blip r:embed="rId6"/>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50" name="TextBox 49">
              <a:extLst>
                <a:ext uri="{FF2B5EF4-FFF2-40B4-BE49-F238E27FC236}">
                  <a16:creationId xmlns:a16="http://schemas.microsoft.com/office/drawing/2014/main" id="{6FE6E364-A45B-B842-AD58-20FEF7E057A3}"/>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51" name="TextBox 50">
              <a:extLst>
                <a:ext uri="{FF2B5EF4-FFF2-40B4-BE49-F238E27FC236}">
                  <a16:creationId xmlns:a16="http://schemas.microsoft.com/office/drawing/2014/main" id="{9B2852C9-AD22-FD42-B207-3FA60EC80EE1}"/>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52" name="TextBox 51">
              <a:extLst>
                <a:ext uri="{FF2B5EF4-FFF2-40B4-BE49-F238E27FC236}">
                  <a16:creationId xmlns:a16="http://schemas.microsoft.com/office/drawing/2014/main" id="{2B3D3979-13E7-BE49-84DE-225A4B2C314C}"/>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Add the photos to the placeholders.</a:t>
              </a:r>
            </a:p>
          </p:txBody>
        </p:sp>
        <p:sp>
          <p:nvSpPr>
            <p:cNvPr id="69" name="TextBox 68">
              <a:extLst>
                <a:ext uri="{FF2B5EF4-FFF2-40B4-BE49-F238E27FC236}">
                  <a16:creationId xmlns:a16="http://schemas.microsoft.com/office/drawing/2014/main" id="{D96C0231-DDB2-674E-BA33-8934B6975490}"/>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Crop the headshots so that they match:</a:t>
              </a:r>
            </a:p>
            <a:p>
              <a:pPr lvl="1"/>
              <a:r>
                <a:rPr lang="en-US" sz="900"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sz="900" dirty="0"/>
                <a:t>The entire head is visible</a:t>
              </a:r>
            </a:p>
            <a:p>
              <a:pPr lvl="1"/>
              <a:r>
                <a:rPr lang="en-US" sz="900" dirty="0"/>
                <a:t>Shoulders are visible</a:t>
              </a:r>
            </a:p>
          </p:txBody>
        </p:sp>
        <p:sp>
          <p:nvSpPr>
            <p:cNvPr id="40" name="Rectangle 39">
              <a:extLst>
                <a:ext uri="{FF2B5EF4-FFF2-40B4-BE49-F238E27FC236}">
                  <a16:creationId xmlns:a16="http://schemas.microsoft.com/office/drawing/2014/main" id="{34261B0B-0443-2947-86D5-57D446CA022B}"/>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41" name="TextBox 40">
              <a:extLst>
                <a:ext uri="{FF2B5EF4-FFF2-40B4-BE49-F238E27FC236}">
                  <a16:creationId xmlns:a16="http://schemas.microsoft.com/office/drawing/2014/main" id="{99B54DFE-A2F3-C645-9D97-EECBE782E039}"/>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42" name="Graphic 41">
              <a:extLst>
                <a:ext uri="{FF2B5EF4-FFF2-40B4-BE49-F238E27FC236}">
                  <a16:creationId xmlns:a16="http://schemas.microsoft.com/office/drawing/2014/main" id="{78A98A1A-F2C6-8B4A-B922-D0F44DD6FD1F}"/>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121034"/>
              <a:ext cx="155227" cy="155227"/>
            </a:xfrm>
            <a:prstGeom prst="rect">
              <a:avLst/>
            </a:prstGeom>
          </p:spPr>
        </p:pic>
        <p:sp>
          <p:nvSpPr>
            <p:cNvPr id="43" name="TextBox 42">
              <a:extLst>
                <a:ext uri="{FF2B5EF4-FFF2-40B4-BE49-F238E27FC236}">
                  <a16:creationId xmlns:a16="http://schemas.microsoft.com/office/drawing/2014/main" id="{C1821284-7515-6645-AD56-2112AB09410E}"/>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44" name="TextBox 43">
              <a:extLst>
                <a:ext uri="{FF2B5EF4-FFF2-40B4-BE49-F238E27FC236}">
                  <a16:creationId xmlns:a16="http://schemas.microsoft.com/office/drawing/2014/main" id="{73339CCA-9476-8145-AA5E-4BF66FED48CC}"/>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45" name="TextBox 44">
              <a:extLst>
                <a:ext uri="{FF2B5EF4-FFF2-40B4-BE49-F238E27FC236}">
                  <a16:creationId xmlns:a16="http://schemas.microsoft.com/office/drawing/2014/main" id="{D59F6E3B-D6C3-5046-821A-B0958EABAE66}"/>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46" name="TextBox 45">
              <a:extLst>
                <a:ext uri="{FF2B5EF4-FFF2-40B4-BE49-F238E27FC236}">
                  <a16:creationId xmlns:a16="http://schemas.microsoft.com/office/drawing/2014/main" id="{BB5D2460-8792-4C47-8772-D09B0975E99A}"/>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47" name="Picture 46">
              <a:extLst>
                <a:ext uri="{FF2B5EF4-FFF2-40B4-BE49-F238E27FC236}">
                  <a16:creationId xmlns:a16="http://schemas.microsoft.com/office/drawing/2014/main" id="{2024B849-BE34-3D47-836E-F64027EBFFBD}"/>
                </a:ext>
              </a:extLst>
            </p:cNvPr>
            <p:cNvPicPr>
              <a:picLocks noChangeAspect="1"/>
            </p:cNvPicPr>
            <p:nvPr userDrawn="1"/>
          </p:nvPicPr>
          <p:blipFill rotWithShape="1">
            <a:blip r:embed="rId7"/>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5" name="Picture 4">
              <a:extLst>
                <a:ext uri="{FF2B5EF4-FFF2-40B4-BE49-F238E27FC236}">
                  <a16:creationId xmlns:a16="http://schemas.microsoft.com/office/drawing/2014/main" id="{52FE0A6A-07E7-D846-9A21-107CEEAD3B6F}"/>
                </a:ext>
              </a:extLst>
            </p:cNvPr>
            <p:cNvPicPr>
              <a:picLocks noChangeAspect="1"/>
            </p:cNvPicPr>
            <p:nvPr userDrawn="1"/>
          </p:nvPicPr>
          <p:blipFill>
            <a:blip r:embed="rId8"/>
            <a:stretch>
              <a:fillRect/>
            </a:stretch>
          </p:blipFill>
          <p:spPr>
            <a:xfrm>
              <a:off x="11251841" y="4562988"/>
              <a:ext cx="849028" cy="849028"/>
            </a:xfrm>
            <a:prstGeom prst="rect">
              <a:avLst/>
            </a:prstGeom>
          </p:spPr>
        </p:pic>
        <p:sp>
          <p:nvSpPr>
            <p:cNvPr id="48" name="TextBox 47">
              <a:extLst>
                <a:ext uri="{FF2B5EF4-FFF2-40B4-BE49-F238E27FC236}">
                  <a16:creationId xmlns:a16="http://schemas.microsoft.com/office/drawing/2014/main" id="{4348059E-F311-3E49-929C-68406361B611}"/>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49" name="Straight Connector 48">
              <a:extLst>
                <a:ext uri="{FF2B5EF4-FFF2-40B4-BE49-F238E27FC236}">
                  <a16:creationId xmlns:a16="http://schemas.microsoft.com/office/drawing/2014/main" id="{6D32AA4D-A813-B740-8E61-D74D604CEE5C}"/>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grpSp>
        <p:nvGrpSpPr>
          <p:cNvPr id="84" name="Group 83">
            <a:extLst>
              <a:ext uri="{FF2B5EF4-FFF2-40B4-BE49-F238E27FC236}">
                <a16:creationId xmlns:a16="http://schemas.microsoft.com/office/drawing/2014/main" id="{9230EF6E-C845-D64E-BC72-F37EFCE9B7D8}"/>
              </a:ext>
            </a:extLst>
          </p:cNvPr>
          <p:cNvGrpSpPr/>
          <p:nvPr userDrawn="1"/>
        </p:nvGrpSpPr>
        <p:grpSpPr>
          <a:xfrm>
            <a:off x="574987" y="-246933"/>
            <a:ext cx="11040535" cy="7347304"/>
            <a:chOff x="431240" y="-246933"/>
            <a:chExt cx="8280401" cy="7347304"/>
          </a:xfrm>
        </p:grpSpPr>
        <p:grpSp>
          <p:nvGrpSpPr>
            <p:cNvPr id="85" name="Group 84">
              <a:extLst>
                <a:ext uri="{FF2B5EF4-FFF2-40B4-BE49-F238E27FC236}">
                  <a16:creationId xmlns:a16="http://schemas.microsoft.com/office/drawing/2014/main" id="{7B5DBABC-D043-5F48-AA9E-590EFDB7EE71}"/>
                </a:ext>
              </a:extLst>
            </p:cNvPr>
            <p:cNvGrpSpPr/>
            <p:nvPr userDrawn="1"/>
          </p:nvGrpSpPr>
          <p:grpSpPr>
            <a:xfrm>
              <a:off x="431242" y="6864579"/>
              <a:ext cx="8280398" cy="235792"/>
              <a:chOff x="431801" y="-235792"/>
              <a:chExt cx="4400550" cy="235792"/>
            </a:xfrm>
          </p:grpSpPr>
          <p:cxnSp>
            <p:nvCxnSpPr>
              <p:cNvPr id="94" name="Straight Connector 93">
                <a:extLst>
                  <a:ext uri="{FF2B5EF4-FFF2-40B4-BE49-F238E27FC236}">
                    <a16:creationId xmlns:a16="http://schemas.microsoft.com/office/drawing/2014/main" id="{A5D4D379-3F76-B448-9498-84AB6A27E01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DEF8E035-72A9-FE47-AC59-8D6A909E08E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6" name="Group 85">
              <a:extLst>
                <a:ext uri="{FF2B5EF4-FFF2-40B4-BE49-F238E27FC236}">
                  <a16:creationId xmlns:a16="http://schemas.microsoft.com/office/drawing/2014/main" id="{3486BB88-F072-2D44-AF2B-06DF2812AAA9}"/>
                </a:ext>
              </a:extLst>
            </p:cNvPr>
            <p:cNvGrpSpPr/>
            <p:nvPr userDrawn="1"/>
          </p:nvGrpSpPr>
          <p:grpSpPr>
            <a:xfrm>
              <a:off x="431240" y="-246933"/>
              <a:ext cx="8280401" cy="235792"/>
              <a:chOff x="431800" y="-240735"/>
              <a:chExt cx="8280401" cy="235792"/>
            </a:xfrm>
          </p:grpSpPr>
          <p:grpSp>
            <p:nvGrpSpPr>
              <p:cNvPr id="87" name="Group 86">
                <a:extLst>
                  <a:ext uri="{FF2B5EF4-FFF2-40B4-BE49-F238E27FC236}">
                    <a16:creationId xmlns:a16="http://schemas.microsoft.com/office/drawing/2014/main" id="{51F1AA18-8D70-B74C-9039-62189A303501}"/>
                  </a:ext>
                </a:extLst>
              </p:cNvPr>
              <p:cNvGrpSpPr/>
              <p:nvPr userDrawn="1"/>
            </p:nvGrpSpPr>
            <p:grpSpPr>
              <a:xfrm>
                <a:off x="431800" y="-240735"/>
                <a:ext cx="8280400" cy="235792"/>
                <a:chOff x="431800" y="-235792"/>
                <a:chExt cx="4400551" cy="235792"/>
              </a:xfrm>
            </p:grpSpPr>
            <p:cxnSp>
              <p:nvCxnSpPr>
                <p:cNvPr id="91" name="Straight Connector 90">
                  <a:extLst>
                    <a:ext uri="{FF2B5EF4-FFF2-40B4-BE49-F238E27FC236}">
                      <a16:creationId xmlns:a16="http://schemas.microsoft.com/office/drawing/2014/main" id="{55FEC584-665C-7545-84C6-2D2E1D2C018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2C5C3A87-06AD-2C4F-9DC4-6000A647C55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93" name="Rectangle 92">
                  <a:extLst>
                    <a:ext uri="{FF2B5EF4-FFF2-40B4-BE49-F238E27FC236}">
                      <a16:creationId xmlns:a16="http://schemas.microsoft.com/office/drawing/2014/main" id="{281582EA-F393-1147-828A-D50AB16A9909}"/>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88" name="TextBox 87">
                <a:extLst>
                  <a:ext uri="{FF2B5EF4-FFF2-40B4-BE49-F238E27FC236}">
                    <a16:creationId xmlns:a16="http://schemas.microsoft.com/office/drawing/2014/main" id="{BACC31F5-D05D-4A41-B49F-42A54E4620F2}"/>
                  </a:ext>
                </a:extLst>
              </p:cNvPr>
              <p:cNvSpPr txBox="1"/>
              <p:nvPr userDrawn="1"/>
            </p:nvSpPr>
            <p:spPr>
              <a:xfrm>
                <a:off x="3914336" y="-176700"/>
                <a:ext cx="1315339"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89" name="Straight Arrow Connector 88">
                <a:extLst>
                  <a:ext uri="{FF2B5EF4-FFF2-40B4-BE49-F238E27FC236}">
                    <a16:creationId xmlns:a16="http://schemas.microsoft.com/office/drawing/2014/main" id="{405C5C4B-BD92-D543-9EAC-B93AFF2A9CB7}"/>
                  </a:ext>
                </a:extLst>
              </p:cNvPr>
              <p:cNvCxnSpPr>
                <a:cxnSpLocks/>
                <a:stCxn id="88" idx="1"/>
                <a:endCxn id="93" idx="2"/>
              </p:cNvCxnSpPr>
              <p:nvPr userDrawn="1"/>
            </p:nvCxnSpPr>
            <p:spPr>
              <a:xfrm flipH="1">
                <a:off x="431801" y="-122839"/>
                <a:ext cx="3482535"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BCA96D44-28E2-B847-9649-7F42CD53BA49}"/>
                  </a:ext>
                </a:extLst>
              </p:cNvPr>
              <p:cNvCxnSpPr>
                <a:cxnSpLocks/>
                <a:stCxn id="88" idx="3"/>
                <a:endCxn id="93" idx="0"/>
              </p:cNvCxnSpPr>
              <p:nvPr userDrawn="1"/>
            </p:nvCxnSpPr>
            <p:spPr>
              <a:xfrm flipV="1">
                <a:off x="5229674" y="-122840"/>
                <a:ext cx="3482527"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pic>
        <p:nvPicPr>
          <p:cNvPr id="70" name="Picture 69">
            <a:extLst>
              <a:ext uri="{FF2B5EF4-FFF2-40B4-BE49-F238E27FC236}">
                <a16:creationId xmlns:a16="http://schemas.microsoft.com/office/drawing/2014/main" id="{E80CBB95-58F7-334A-AAED-55EE796BE9B6}"/>
              </a:ext>
            </a:extLst>
          </p:cNvPr>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9102926" y="6070430"/>
            <a:ext cx="2132663" cy="329184"/>
          </a:xfrm>
          <a:prstGeom prst="rect">
            <a:avLst/>
          </a:prstGeom>
        </p:spPr>
      </p:pic>
    </p:spTree>
    <p:extLst>
      <p:ext uri="{BB962C8B-B14F-4D97-AF65-F5344CB8AC3E}">
        <p14:creationId xmlns:p14="http://schemas.microsoft.com/office/powerpoint/2010/main" val="2282120489"/>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eam Members (6 Headshots)">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3E7C59C-7AB2-FD4B-9D3E-CA7E0D8CB2F3}"/>
              </a:ext>
            </a:extLst>
          </p:cNvPr>
          <p:cNvSpPr>
            <a:spLocks noGrp="1"/>
          </p:cNvSpPr>
          <p:nvPr>
            <p:ph type="title" hasCustomPrompt="1"/>
          </p:nvPr>
        </p:nvSpPr>
        <p:spPr/>
        <p:txBody>
          <a:bodyPr/>
          <a:lstStyle>
            <a:lvl1pPr>
              <a:defRPr/>
            </a:lvl1pPr>
          </a:lstStyle>
          <a:p>
            <a:pPr lvl="0"/>
            <a:r>
              <a:rPr lang="en-US" dirty="0"/>
              <a:t>CLICK TO ADD Slide TITLE. ALL CAPS. TWO LINES max.</a:t>
            </a:r>
          </a:p>
        </p:txBody>
      </p:sp>
      <p:sp>
        <p:nvSpPr>
          <p:cNvPr id="32" name="Date Placeholder 31">
            <a:extLst>
              <a:ext uri="{FF2B5EF4-FFF2-40B4-BE49-F238E27FC236}">
                <a16:creationId xmlns:a16="http://schemas.microsoft.com/office/drawing/2014/main" id="{063A222F-451A-4B49-AAE6-41BBAA48AC75}"/>
              </a:ext>
            </a:extLst>
          </p:cNvPr>
          <p:cNvSpPr>
            <a:spLocks noGrp="1"/>
          </p:cNvSpPr>
          <p:nvPr>
            <p:ph type="dt" sz="half" idx="105"/>
          </p:nvPr>
        </p:nvSpPr>
        <p:spPr/>
        <p:txBody>
          <a:bodyPr/>
          <a:lstStyle/>
          <a:p>
            <a:endParaRPr lang="en-US" dirty="0"/>
          </a:p>
        </p:txBody>
      </p:sp>
      <p:sp>
        <p:nvSpPr>
          <p:cNvPr id="33" name="Footer Placeholder 32">
            <a:extLst>
              <a:ext uri="{FF2B5EF4-FFF2-40B4-BE49-F238E27FC236}">
                <a16:creationId xmlns:a16="http://schemas.microsoft.com/office/drawing/2014/main" id="{7182972C-B32C-5242-9660-1F857E08362B}"/>
              </a:ext>
            </a:extLst>
          </p:cNvPr>
          <p:cNvSpPr>
            <a:spLocks noGrp="1"/>
          </p:cNvSpPr>
          <p:nvPr>
            <p:ph type="ftr" sz="quarter" idx="106"/>
          </p:nvPr>
        </p:nvSpPr>
        <p:spPr/>
        <p:txBody>
          <a:bodyPr/>
          <a:lstStyle/>
          <a:p>
            <a:endParaRPr lang="en-US" dirty="0"/>
          </a:p>
        </p:txBody>
      </p:sp>
      <p:sp>
        <p:nvSpPr>
          <p:cNvPr id="39" name="Slide Number Placeholder 38">
            <a:extLst>
              <a:ext uri="{FF2B5EF4-FFF2-40B4-BE49-F238E27FC236}">
                <a16:creationId xmlns:a16="http://schemas.microsoft.com/office/drawing/2014/main" id="{702F905D-B5C6-604B-A8D6-931CBE08DB32}"/>
              </a:ext>
            </a:extLst>
          </p:cNvPr>
          <p:cNvSpPr>
            <a:spLocks noGrp="1"/>
          </p:cNvSpPr>
          <p:nvPr>
            <p:ph type="sldNum" sz="quarter" idx="107"/>
          </p:nvPr>
        </p:nvSpPr>
        <p:spPr/>
        <p:txBody>
          <a:bodyPr/>
          <a:lstStyle/>
          <a:p>
            <a:pPr marL="12700">
              <a:buFont typeface="Arial" panose="020B0604020202020204" pitchFamily="34" charset="0"/>
              <a:buNone/>
            </a:pPr>
            <a:fld id="{078C017C-E1B9-8443-B047-B08AAA027B45}" type="slidenum">
              <a:rPr lang="en-US" smtClean="0"/>
              <a:pPr marL="12700">
                <a:buFont typeface="Arial" panose="020B0604020202020204" pitchFamily="34" charset="0"/>
                <a:buNone/>
              </a:pPr>
              <a:t>‹#›</a:t>
            </a:fld>
            <a:endParaRPr lang="en-US" sz="900" b="1" dirty="0">
              <a:solidFill>
                <a:schemeClr val="accent1"/>
              </a:solidFill>
            </a:endParaRPr>
          </a:p>
        </p:txBody>
      </p:sp>
      <p:sp>
        <p:nvSpPr>
          <p:cNvPr id="51" name="Text Placeholder 7">
            <a:extLst>
              <a:ext uri="{FF2B5EF4-FFF2-40B4-BE49-F238E27FC236}">
                <a16:creationId xmlns:a16="http://schemas.microsoft.com/office/drawing/2014/main" id="{022CA3D9-DBCD-8543-9EF3-77B6B03F5142}"/>
              </a:ext>
            </a:extLst>
          </p:cNvPr>
          <p:cNvSpPr>
            <a:spLocks noGrp="1"/>
          </p:cNvSpPr>
          <p:nvPr>
            <p:ph type="body" sz="quarter" idx="15" hasCustomPrompt="1"/>
          </p:nvPr>
        </p:nvSpPr>
        <p:spPr>
          <a:xfrm>
            <a:off x="2862470" y="1233489"/>
            <a:ext cx="3068615"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dirty="0"/>
              <a:t>Click to add contact information</a:t>
            </a:r>
          </a:p>
          <a:p>
            <a:pPr lvl="1"/>
            <a:r>
              <a:rPr lang="en-US" dirty="0"/>
              <a:t>Second level</a:t>
            </a:r>
          </a:p>
        </p:txBody>
      </p:sp>
      <p:sp>
        <p:nvSpPr>
          <p:cNvPr id="52" name="Picture Placeholder 2">
            <a:extLst>
              <a:ext uri="{FF2B5EF4-FFF2-40B4-BE49-F238E27FC236}">
                <a16:creationId xmlns:a16="http://schemas.microsoft.com/office/drawing/2014/main" id="{3953A8BD-C2FA-AE49-99CC-15B59CE56A15}"/>
              </a:ext>
            </a:extLst>
          </p:cNvPr>
          <p:cNvSpPr>
            <a:spLocks noGrp="1"/>
          </p:cNvSpPr>
          <p:nvPr>
            <p:ph type="pic" sz="quarter" idx="16" hasCustomPrompt="1"/>
          </p:nvPr>
        </p:nvSpPr>
        <p:spPr>
          <a:xfrm>
            <a:off x="575733" y="1232965"/>
            <a:ext cx="205740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3" name="Text Placeholder 7">
            <a:extLst>
              <a:ext uri="{FF2B5EF4-FFF2-40B4-BE49-F238E27FC236}">
                <a16:creationId xmlns:a16="http://schemas.microsoft.com/office/drawing/2014/main" id="{1B6BB86B-8CCA-614F-97F8-932E6DC1B83C}"/>
              </a:ext>
            </a:extLst>
          </p:cNvPr>
          <p:cNvSpPr>
            <a:spLocks noGrp="1"/>
          </p:cNvSpPr>
          <p:nvPr>
            <p:ph type="body" sz="quarter" idx="17" hasCustomPrompt="1"/>
          </p:nvPr>
        </p:nvSpPr>
        <p:spPr>
          <a:xfrm>
            <a:off x="8547653" y="1233489"/>
            <a:ext cx="3068615"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dirty="0"/>
              <a:t>Click to add contact information</a:t>
            </a:r>
          </a:p>
          <a:p>
            <a:pPr lvl="1"/>
            <a:r>
              <a:rPr lang="en-US" dirty="0"/>
              <a:t>Second level</a:t>
            </a:r>
          </a:p>
        </p:txBody>
      </p:sp>
      <p:sp>
        <p:nvSpPr>
          <p:cNvPr id="54" name="Picture Placeholder 2">
            <a:extLst>
              <a:ext uri="{FF2B5EF4-FFF2-40B4-BE49-F238E27FC236}">
                <a16:creationId xmlns:a16="http://schemas.microsoft.com/office/drawing/2014/main" id="{E582B670-FA91-C849-BD22-A066A6FE9B53}"/>
              </a:ext>
            </a:extLst>
          </p:cNvPr>
          <p:cNvSpPr>
            <a:spLocks noGrp="1"/>
          </p:cNvSpPr>
          <p:nvPr>
            <p:ph type="pic" sz="quarter" idx="18" hasCustomPrompt="1"/>
          </p:nvPr>
        </p:nvSpPr>
        <p:spPr>
          <a:xfrm>
            <a:off x="6260916" y="1232965"/>
            <a:ext cx="205740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5" name="Text Placeholder 7">
            <a:extLst>
              <a:ext uri="{FF2B5EF4-FFF2-40B4-BE49-F238E27FC236}">
                <a16:creationId xmlns:a16="http://schemas.microsoft.com/office/drawing/2014/main" id="{022CA3D9-DBCD-8543-9EF3-77B6B03F5142}"/>
              </a:ext>
            </a:extLst>
          </p:cNvPr>
          <p:cNvSpPr>
            <a:spLocks noGrp="1"/>
          </p:cNvSpPr>
          <p:nvPr>
            <p:ph type="body" sz="quarter" idx="1001" hasCustomPrompt="1"/>
          </p:nvPr>
        </p:nvSpPr>
        <p:spPr>
          <a:xfrm>
            <a:off x="2862470" y="4607602"/>
            <a:ext cx="3068615"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dirty="0"/>
              <a:t>Click to add contact information</a:t>
            </a:r>
          </a:p>
          <a:p>
            <a:pPr lvl="1"/>
            <a:r>
              <a:rPr lang="en-US" dirty="0"/>
              <a:t>Second level</a:t>
            </a:r>
          </a:p>
        </p:txBody>
      </p:sp>
      <p:sp>
        <p:nvSpPr>
          <p:cNvPr id="56" name="Picture Placeholder 2">
            <a:extLst>
              <a:ext uri="{FF2B5EF4-FFF2-40B4-BE49-F238E27FC236}">
                <a16:creationId xmlns:a16="http://schemas.microsoft.com/office/drawing/2014/main" id="{3953A8BD-C2FA-AE49-99CC-15B59CE56A15}"/>
              </a:ext>
            </a:extLst>
          </p:cNvPr>
          <p:cNvSpPr>
            <a:spLocks noGrp="1"/>
          </p:cNvSpPr>
          <p:nvPr>
            <p:ph type="pic" sz="quarter" idx="1002" hasCustomPrompt="1"/>
          </p:nvPr>
        </p:nvSpPr>
        <p:spPr>
          <a:xfrm>
            <a:off x="575733" y="4607078"/>
            <a:ext cx="205740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7" name="Text Placeholder 7">
            <a:extLst>
              <a:ext uri="{FF2B5EF4-FFF2-40B4-BE49-F238E27FC236}">
                <a16:creationId xmlns:a16="http://schemas.microsoft.com/office/drawing/2014/main" id="{1B6BB86B-8CCA-614F-97F8-932E6DC1B83C}"/>
              </a:ext>
            </a:extLst>
          </p:cNvPr>
          <p:cNvSpPr>
            <a:spLocks noGrp="1"/>
          </p:cNvSpPr>
          <p:nvPr>
            <p:ph type="body" sz="quarter" idx="1003" hasCustomPrompt="1"/>
          </p:nvPr>
        </p:nvSpPr>
        <p:spPr>
          <a:xfrm>
            <a:off x="8547653" y="4607602"/>
            <a:ext cx="3068615"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dirty="0"/>
              <a:t>Click to add contact information</a:t>
            </a:r>
          </a:p>
          <a:p>
            <a:pPr lvl="1"/>
            <a:r>
              <a:rPr lang="en-US" dirty="0"/>
              <a:t>Second level</a:t>
            </a:r>
          </a:p>
        </p:txBody>
      </p:sp>
      <p:sp>
        <p:nvSpPr>
          <p:cNvPr id="58" name="Picture Placeholder 2">
            <a:extLst>
              <a:ext uri="{FF2B5EF4-FFF2-40B4-BE49-F238E27FC236}">
                <a16:creationId xmlns:a16="http://schemas.microsoft.com/office/drawing/2014/main" id="{E582B670-FA91-C849-BD22-A066A6FE9B53}"/>
              </a:ext>
            </a:extLst>
          </p:cNvPr>
          <p:cNvSpPr>
            <a:spLocks noGrp="1"/>
          </p:cNvSpPr>
          <p:nvPr>
            <p:ph type="pic" sz="quarter" idx="1004" hasCustomPrompt="1"/>
          </p:nvPr>
        </p:nvSpPr>
        <p:spPr>
          <a:xfrm>
            <a:off x="6260916" y="4607078"/>
            <a:ext cx="205740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59" name="Text Placeholder 7">
            <a:extLst>
              <a:ext uri="{FF2B5EF4-FFF2-40B4-BE49-F238E27FC236}">
                <a16:creationId xmlns:a16="http://schemas.microsoft.com/office/drawing/2014/main" id="{022CA3D9-DBCD-8543-9EF3-77B6B03F5142}"/>
              </a:ext>
            </a:extLst>
          </p:cNvPr>
          <p:cNvSpPr>
            <a:spLocks noGrp="1"/>
          </p:cNvSpPr>
          <p:nvPr>
            <p:ph type="body" sz="quarter" idx="1005" hasCustomPrompt="1"/>
          </p:nvPr>
        </p:nvSpPr>
        <p:spPr>
          <a:xfrm>
            <a:off x="2862470" y="2913206"/>
            <a:ext cx="3068615"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dirty="0"/>
              <a:t>Click to add contact information</a:t>
            </a:r>
          </a:p>
          <a:p>
            <a:pPr lvl="1"/>
            <a:r>
              <a:rPr lang="en-US" dirty="0"/>
              <a:t>Second level</a:t>
            </a:r>
          </a:p>
        </p:txBody>
      </p:sp>
      <p:sp>
        <p:nvSpPr>
          <p:cNvPr id="60" name="Picture Placeholder 2">
            <a:extLst>
              <a:ext uri="{FF2B5EF4-FFF2-40B4-BE49-F238E27FC236}">
                <a16:creationId xmlns:a16="http://schemas.microsoft.com/office/drawing/2014/main" id="{3953A8BD-C2FA-AE49-99CC-15B59CE56A15}"/>
              </a:ext>
            </a:extLst>
          </p:cNvPr>
          <p:cNvSpPr>
            <a:spLocks noGrp="1"/>
          </p:cNvSpPr>
          <p:nvPr>
            <p:ph type="pic" sz="quarter" idx="1006" hasCustomPrompt="1"/>
          </p:nvPr>
        </p:nvSpPr>
        <p:spPr>
          <a:xfrm>
            <a:off x="575733" y="2912683"/>
            <a:ext cx="205740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sp>
        <p:nvSpPr>
          <p:cNvPr id="61" name="Text Placeholder 7">
            <a:extLst>
              <a:ext uri="{FF2B5EF4-FFF2-40B4-BE49-F238E27FC236}">
                <a16:creationId xmlns:a16="http://schemas.microsoft.com/office/drawing/2014/main" id="{1B6BB86B-8CCA-614F-97F8-932E6DC1B83C}"/>
              </a:ext>
            </a:extLst>
          </p:cNvPr>
          <p:cNvSpPr>
            <a:spLocks noGrp="1"/>
          </p:cNvSpPr>
          <p:nvPr>
            <p:ph type="body" sz="quarter" idx="1007" hasCustomPrompt="1"/>
          </p:nvPr>
        </p:nvSpPr>
        <p:spPr>
          <a:xfrm>
            <a:off x="8547653" y="2913206"/>
            <a:ext cx="3068615" cy="1543049"/>
          </a:xfrm>
          <a:prstGeom prst="rect">
            <a:avLst/>
          </a:prstGeom>
          <a:noFill/>
          <a:ln>
            <a:noFill/>
          </a:ln>
        </p:spPr>
        <p:txBody>
          <a:bodyPr wrap="square" lIns="0" tIns="0" rIns="0" bIns="0" anchor="t" anchorCtr="0">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dirty="0"/>
              <a:t>Click to add contact information</a:t>
            </a:r>
          </a:p>
          <a:p>
            <a:pPr lvl="1"/>
            <a:r>
              <a:rPr lang="en-US" dirty="0"/>
              <a:t>Second level</a:t>
            </a:r>
          </a:p>
        </p:txBody>
      </p:sp>
      <p:sp>
        <p:nvSpPr>
          <p:cNvPr id="62" name="Picture Placeholder 2">
            <a:extLst>
              <a:ext uri="{FF2B5EF4-FFF2-40B4-BE49-F238E27FC236}">
                <a16:creationId xmlns:a16="http://schemas.microsoft.com/office/drawing/2014/main" id="{E582B670-FA91-C849-BD22-A066A6FE9B53}"/>
              </a:ext>
            </a:extLst>
          </p:cNvPr>
          <p:cNvSpPr>
            <a:spLocks noGrp="1"/>
          </p:cNvSpPr>
          <p:nvPr>
            <p:ph type="pic" sz="quarter" idx="1008" hasCustomPrompt="1"/>
          </p:nvPr>
        </p:nvSpPr>
        <p:spPr>
          <a:xfrm>
            <a:off x="6260916" y="2912683"/>
            <a:ext cx="2057400" cy="1543050"/>
          </a:xfrm>
          <a:prstGeom prst="rect">
            <a:avLst/>
          </a:prstGeom>
          <a:solidFill>
            <a:schemeClr val="accent2"/>
          </a:solidFill>
        </p:spPr>
        <p:txBody>
          <a:bodyPr anchor="ctr"/>
          <a:lstStyle>
            <a:lvl1pPr algn="ctr">
              <a:defRPr b="0">
                <a:solidFill>
                  <a:schemeClr val="bg1"/>
                </a:solidFill>
              </a:defRPr>
            </a:lvl1pPr>
          </a:lstStyle>
          <a:p>
            <a:r>
              <a:rPr lang="en-US" dirty="0"/>
              <a:t>Click icon to add headshot</a:t>
            </a:r>
          </a:p>
        </p:txBody>
      </p:sp>
      <p:grpSp>
        <p:nvGrpSpPr>
          <p:cNvPr id="40" name="Group 39">
            <a:extLst>
              <a:ext uri="{FF2B5EF4-FFF2-40B4-BE49-F238E27FC236}">
                <a16:creationId xmlns:a16="http://schemas.microsoft.com/office/drawing/2014/main" id="{D766E2A4-7A9C-6B40-BD3F-4DD3FBAE2121}"/>
              </a:ext>
            </a:extLst>
          </p:cNvPr>
          <p:cNvGrpSpPr/>
          <p:nvPr userDrawn="1"/>
        </p:nvGrpSpPr>
        <p:grpSpPr>
          <a:xfrm>
            <a:off x="12532244" y="-1"/>
            <a:ext cx="3948953" cy="8383282"/>
            <a:chOff x="9399182" y="-1"/>
            <a:chExt cx="2961715" cy="8383282"/>
          </a:xfrm>
        </p:grpSpPr>
        <p:sp>
          <p:nvSpPr>
            <p:cNvPr id="41" name="Rectangle 40">
              <a:extLst>
                <a:ext uri="{FF2B5EF4-FFF2-40B4-BE49-F238E27FC236}">
                  <a16:creationId xmlns:a16="http://schemas.microsoft.com/office/drawing/2014/main" id="{034C8B5B-FB2C-7C44-AAFB-0A322448A16B}"/>
                </a:ext>
              </a:extLst>
            </p:cNvPr>
            <p:cNvSpPr/>
            <p:nvPr userDrawn="1"/>
          </p:nvSpPr>
          <p:spPr>
            <a:xfrm>
              <a:off x="9399182" y="-1"/>
              <a:ext cx="2798651" cy="82296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43" name="Picture 42">
              <a:extLst>
                <a:ext uri="{FF2B5EF4-FFF2-40B4-BE49-F238E27FC236}">
                  <a16:creationId xmlns:a16="http://schemas.microsoft.com/office/drawing/2014/main" id="{535BEB65-F661-CA44-BF4A-4739FD15E76E}"/>
                </a:ext>
              </a:extLst>
            </p:cNvPr>
            <p:cNvPicPr>
              <a:picLocks noChangeAspect="1"/>
            </p:cNvPicPr>
            <p:nvPr userDrawn="1"/>
          </p:nvPicPr>
          <p:blipFill rotWithShape="1">
            <a:blip r:embed="rId2"/>
            <a:srcRect r="44907"/>
            <a:stretch/>
          </p:blipFill>
          <p:spPr>
            <a:xfrm>
              <a:off x="9558505" y="1326787"/>
              <a:ext cx="2639326" cy="517021"/>
            </a:xfrm>
            <a:prstGeom prst="rect">
              <a:avLst/>
            </a:prstGeom>
          </p:spPr>
        </p:pic>
        <p:sp>
          <p:nvSpPr>
            <p:cNvPr id="45" name="TextBox 44">
              <a:extLst>
                <a:ext uri="{FF2B5EF4-FFF2-40B4-BE49-F238E27FC236}">
                  <a16:creationId xmlns:a16="http://schemas.microsoft.com/office/drawing/2014/main" id="{7E0FF283-DF06-F948-94DA-DE9EF964F624}"/>
                </a:ext>
              </a:extLst>
            </p:cNvPr>
            <p:cNvSpPr txBox="1"/>
            <p:nvPr userDrawn="1"/>
          </p:nvSpPr>
          <p:spPr>
            <a:xfrm>
              <a:off x="9558507" y="3863269"/>
              <a:ext cx="1619434"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IPS FOR ADDING HEADSHOTS</a:t>
              </a:r>
            </a:p>
          </p:txBody>
        </p:sp>
        <p:cxnSp>
          <p:nvCxnSpPr>
            <p:cNvPr id="50" name="Straight Connector 49">
              <a:extLst>
                <a:ext uri="{FF2B5EF4-FFF2-40B4-BE49-F238E27FC236}">
                  <a16:creationId xmlns:a16="http://schemas.microsoft.com/office/drawing/2014/main" id="{E8F507BA-3C92-8644-BDBD-45B4FDF18BF4}"/>
                </a:ext>
              </a:extLst>
            </p:cNvPr>
            <p:cNvCxnSpPr>
              <a:cxnSpLocks/>
            </p:cNvCxnSpPr>
            <p:nvPr userDrawn="1"/>
          </p:nvCxnSpPr>
          <p:spPr>
            <a:xfrm>
              <a:off x="9558507" y="4065886"/>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63" name="Rectangle 62">
              <a:extLst>
                <a:ext uri="{FF2B5EF4-FFF2-40B4-BE49-F238E27FC236}">
                  <a16:creationId xmlns:a16="http://schemas.microsoft.com/office/drawing/2014/main" id="{C71155CD-BB6D-C646-8CC8-AF1F24B7C98C}"/>
                </a:ext>
              </a:extLst>
            </p:cNvPr>
            <p:cNvSpPr/>
            <p:nvPr userDrawn="1"/>
          </p:nvSpPr>
          <p:spPr>
            <a:xfrm>
              <a:off x="9541497" y="162442"/>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4" name="TextBox 63">
              <a:extLst>
                <a:ext uri="{FF2B5EF4-FFF2-40B4-BE49-F238E27FC236}">
                  <a16:creationId xmlns:a16="http://schemas.microsoft.com/office/drawing/2014/main" id="{CCC62A9D-5394-674A-BEAB-97FADBEC0916}"/>
                </a:ext>
              </a:extLst>
            </p:cNvPr>
            <p:cNvSpPr txBox="1"/>
            <p:nvPr userDrawn="1"/>
          </p:nvSpPr>
          <p:spPr>
            <a:xfrm>
              <a:off x="10147060" y="306441"/>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5" name="Picture 64">
              <a:extLst>
                <a:ext uri="{FF2B5EF4-FFF2-40B4-BE49-F238E27FC236}">
                  <a16:creationId xmlns:a16="http://schemas.microsoft.com/office/drawing/2014/main" id="{0E89AECA-429D-484C-90EB-560EABFCF664}"/>
                </a:ext>
              </a:extLst>
            </p:cNvPr>
            <p:cNvPicPr>
              <a:picLocks noChangeAspect="1"/>
            </p:cNvPicPr>
            <p:nvPr userDrawn="1"/>
          </p:nvPicPr>
          <p:blipFill rotWithShape="1">
            <a:blip r:embed="rId3"/>
            <a:srcRect l="8882" t="5165" r="-1"/>
            <a:stretch/>
          </p:blipFill>
          <p:spPr>
            <a:xfrm>
              <a:off x="9694938" y="411250"/>
              <a:ext cx="324017" cy="289055"/>
            </a:xfrm>
            <a:prstGeom prst="roundRect">
              <a:avLst/>
            </a:prstGeom>
          </p:spPr>
        </p:pic>
        <p:sp>
          <p:nvSpPr>
            <p:cNvPr id="66" name="Rectangle 65">
              <a:extLst>
                <a:ext uri="{FF2B5EF4-FFF2-40B4-BE49-F238E27FC236}">
                  <a16:creationId xmlns:a16="http://schemas.microsoft.com/office/drawing/2014/main" id="{D2341F3F-7DFB-874E-A13E-07D7F7B9D8F1}"/>
                </a:ext>
              </a:extLst>
            </p:cNvPr>
            <p:cNvSpPr/>
            <p:nvPr userDrawn="1"/>
          </p:nvSpPr>
          <p:spPr>
            <a:xfrm>
              <a:off x="9541497" y="6971966"/>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7" name="TextBox 66">
              <a:extLst>
                <a:ext uri="{FF2B5EF4-FFF2-40B4-BE49-F238E27FC236}">
                  <a16:creationId xmlns:a16="http://schemas.microsoft.com/office/drawing/2014/main" id="{85D71E54-D6BA-0E40-A53B-AF7E62071130}"/>
                </a:ext>
              </a:extLst>
            </p:cNvPr>
            <p:cNvSpPr txBox="1"/>
            <p:nvPr userDrawn="1"/>
          </p:nvSpPr>
          <p:spPr>
            <a:xfrm>
              <a:off x="9907688" y="7100766"/>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68" name="Graphic 67">
              <a:extLst>
                <a:ext uri="{FF2B5EF4-FFF2-40B4-BE49-F238E27FC236}">
                  <a16:creationId xmlns:a16="http://schemas.microsoft.com/office/drawing/2014/main" id="{BB5031F7-D2AF-CA4F-A8CB-7CFFD0DFE745}"/>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7111049"/>
              <a:ext cx="155227" cy="155227"/>
            </a:xfrm>
            <a:prstGeom prst="rect">
              <a:avLst/>
            </a:prstGeom>
          </p:spPr>
        </p:pic>
        <p:sp>
          <p:nvSpPr>
            <p:cNvPr id="69" name="TextBox 68">
              <a:extLst>
                <a:ext uri="{FF2B5EF4-FFF2-40B4-BE49-F238E27FC236}">
                  <a16:creationId xmlns:a16="http://schemas.microsoft.com/office/drawing/2014/main" id="{BCF278F6-1885-9845-A8B6-104A81007CE1}"/>
                </a:ext>
              </a:extLst>
            </p:cNvPr>
            <p:cNvSpPr txBox="1"/>
            <p:nvPr userDrawn="1"/>
          </p:nvSpPr>
          <p:spPr>
            <a:xfrm>
              <a:off x="9716735" y="7680749"/>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71" name="TextBox 70">
              <a:extLst>
                <a:ext uri="{FF2B5EF4-FFF2-40B4-BE49-F238E27FC236}">
                  <a16:creationId xmlns:a16="http://schemas.microsoft.com/office/drawing/2014/main" id="{66ACDF17-388A-C643-B5AD-ED6E1C649F65}"/>
                </a:ext>
              </a:extLst>
            </p:cNvPr>
            <p:cNvSpPr txBox="1"/>
            <p:nvPr userDrawn="1"/>
          </p:nvSpPr>
          <p:spPr>
            <a:xfrm>
              <a:off x="9716735" y="736190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72" name="TextBox 71">
              <a:extLst>
                <a:ext uri="{FF2B5EF4-FFF2-40B4-BE49-F238E27FC236}">
                  <a16:creationId xmlns:a16="http://schemas.microsoft.com/office/drawing/2014/main" id="{938CA5F0-0B3E-8343-A9CF-99D356C37500}"/>
                </a:ext>
              </a:extLst>
            </p:cNvPr>
            <p:cNvSpPr txBox="1"/>
            <p:nvPr userDrawn="1"/>
          </p:nvSpPr>
          <p:spPr>
            <a:xfrm>
              <a:off x="9716735" y="8130426"/>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sp>
          <p:nvSpPr>
            <p:cNvPr id="75" name="Rectangle 74">
              <a:extLst>
                <a:ext uri="{FF2B5EF4-FFF2-40B4-BE49-F238E27FC236}">
                  <a16:creationId xmlns:a16="http://schemas.microsoft.com/office/drawing/2014/main" id="{5D42C796-9096-EE43-BA39-054BDFD8C7DC}"/>
                </a:ext>
              </a:extLst>
            </p:cNvPr>
            <p:cNvSpPr/>
            <p:nvPr userDrawn="1"/>
          </p:nvSpPr>
          <p:spPr>
            <a:xfrm>
              <a:off x="9541497" y="5615310"/>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76" name="TextBox 75">
              <a:extLst>
                <a:ext uri="{FF2B5EF4-FFF2-40B4-BE49-F238E27FC236}">
                  <a16:creationId xmlns:a16="http://schemas.microsoft.com/office/drawing/2014/main" id="{45520887-BC9C-114D-AD47-51EA84357B7B}"/>
                </a:ext>
              </a:extLst>
            </p:cNvPr>
            <p:cNvSpPr txBox="1"/>
            <p:nvPr userDrawn="1"/>
          </p:nvSpPr>
          <p:spPr>
            <a:xfrm>
              <a:off x="9907688" y="5744109"/>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77" name="Graphic 76">
              <a:extLst>
                <a:ext uri="{FF2B5EF4-FFF2-40B4-BE49-F238E27FC236}">
                  <a16:creationId xmlns:a16="http://schemas.microsoft.com/office/drawing/2014/main" id="{3577901F-4F1C-6E43-AE9A-07AC98F7E643}"/>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5754392"/>
              <a:ext cx="155227" cy="155227"/>
            </a:xfrm>
            <a:prstGeom prst="rect">
              <a:avLst/>
            </a:prstGeom>
          </p:spPr>
        </p:pic>
        <p:sp>
          <p:nvSpPr>
            <p:cNvPr id="78" name="TextBox 77">
              <a:extLst>
                <a:ext uri="{FF2B5EF4-FFF2-40B4-BE49-F238E27FC236}">
                  <a16:creationId xmlns:a16="http://schemas.microsoft.com/office/drawing/2014/main" id="{7B01DCF4-9CAD-3E46-8A50-BC4709155B06}"/>
                </a:ext>
              </a:extLst>
            </p:cNvPr>
            <p:cNvSpPr txBox="1"/>
            <p:nvPr userDrawn="1"/>
          </p:nvSpPr>
          <p:spPr>
            <a:xfrm>
              <a:off x="9701720" y="6008293"/>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79" name="Picture 78">
              <a:extLst>
                <a:ext uri="{FF2B5EF4-FFF2-40B4-BE49-F238E27FC236}">
                  <a16:creationId xmlns:a16="http://schemas.microsoft.com/office/drawing/2014/main" id="{C7C815DD-9D6F-524D-8717-D4D467D9AC19}"/>
                </a:ext>
              </a:extLst>
            </p:cNvPr>
            <p:cNvPicPr>
              <a:picLocks noChangeAspect="1"/>
            </p:cNvPicPr>
            <p:nvPr userDrawn="1"/>
          </p:nvPicPr>
          <p:blipFill rotWithShape="1">
            <a:blip r:embed="rId6"/>
            <a:srcRect l="33684" t="12097" r="43371" b="20368"/>
            <a:stretch/>
          </p:blipFill>
          <p:spPr>
            <a:xfrm>
              <a:off x="11498723" y="6092726"/>
              <a:ext cx="136897" cy="213643"/>
            </a:xfrm>
            <a:prstGeom prst="rect">
              <a:avLst/>
            </a:prstGeom>
            <a:ln w="19050">
              <a:solidFill>
                <a:schemeClr val="accent3">
                  <a:lumMod val="60000"/>
                  <a:lumOff val="40000"/>
                </a:schemeClr>
              </a:solidFill>
            </a:ln>
          </p:spPr>
        </p:pic>
        <p:sp>
          <p:nvSpPr>
            <p:cNvPr id="80" name="TextBox 79">
              <a:extLst>
                <a:ext uri="{FF2B5EF4-FFF2-40B4-BE49-F238E27FC236}">
                  <a16:creationId xmlns:a16="http://schemas.microsoft.com/office/drawing/2014/main" id="{2A45E990-D01D-064A-A20A-E8C8CC6E4ABD}"/>
                </a:ext>
              </a:extLst>
            </p:cNvPr>
            <p:cNvSpPr txBox="1">
              <a:spLocks noChangeAspect="1"/>
            </p:cNvSpPr>
            <p:nvPr/>
          </p:nvSpPr>
          <p:spPr>
            <a:xfrm>
              <a:off x="9521833" y="421341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81" name="TextBox 80">
              <a:extLst>
                <a:ext uri="{FF2B5EF4-FFF2-40B4-BE49-F238E27FC236}">
                  <a16:creationId xmlns:a16="http://schemas.microsoft.com/office/drawing/2014/main" id="{8AA89570-2399-5847-8669-4AAF530EA38A}"/>
                </a:ext>
              </a:extLst>
            </p:cNvPr>
            <p:cNvSpPr txBox="1">
              <a:spLocks noChangeAspect="1"/>
            </p:cNvSpPr>
            <p:nvPr/>
          </p:nvSpPr>
          <p:spPr>
            <a:xfrm>
              <a:off x="9521833" y="4538160"/>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82" name="TextBox 81">
              <a:extLst>
                <a:ext uri="{FF2B5EF4-FFF2-40B4-BE49-F238E27FC236}">
                  <a16:creationId xmlns:a16="http://schemas.microsoft.com/office/drawing/2014/main" id="{28BE45B5-340E-F641-B09F-AD59D8FD0DD5}"/>
                </a:ext>
              </a:extLst>
            </p:cNvPr>
            <p:cNvSpPr txBox="1"/>
            <p:nvPr userDrawn="1"/>
          </p:nvSpPr>
          <p:spPr>
            <a:xfrm>
              <a:off x="9686426" y="4188389"/>
              <a:ext cx="2453290" cy="161583"/>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Add the photos to the placeholders.</a:t>
              </a:r>
            </a:p>
          </p:txBody>
        </p:sp>
        <p:sp>
          <p:nvSpPr>
            <p:cNvPr id="83" name="TextBox 82">
              <a:extLst>
                <a:ext uri="{FF2B5EF4-FFF2-40B4-BE49-F238E27FC236}">
                  <a16:creationId xmlns:a16="http://schemas.microsoft.com/office/drawing/2014/main" id="{DAB12CD4-A662-8E4E-A50D-9F0F7977FB9C}"/>
                </a:ext>
              </a:extLst>
            </p:cNvPr>
            <p:cNvSpPr txBox="1"/>
            <p:nvPr userDrawn="1"/>
          </p:nvSpPr>
          <p:spPr>
            <a:xfrm>
              <a:off x="9686425" y="4503349"/>
              <a:ext cx="1468453" cy="93718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Crop the headshots so that they match:</a:t>
              </a:r>
            </a:p>
            <a:p>
              <a:pPr lvl="1"/>
              <a:r>
                <a:rPr lang="en-US" sz="900" dirty="0"/>
                <a:t>Heads are the same size and relative position</a:t>
              </a:r>
            </a:p>
            <a:p>
              <a:pPr marL="134938" marR="0" lvl="1" indent="-131763" algn="l" defTabSz="914400" rtl="0" eaLnBrk="1" fontAlgn="auto" latinLnBrk="0" hangingPunct="1">
                <a:lnSpc>
                  <a:spcPct val="90000"/>
                </a:lnSpc>
                <a:spcBef>
                  <a:spcPts val="0"/>
                </a:spcBef>
                <a:spcAft>
                  <a:spcPts val="300"/>
                </a:spcAft>
                <a:buClrTx/>
                <a:buSzTx/>
                <a:buFont typeface="Wingdings" pitchFamily="2" charset="2"/>
                <a:buChar char="§"/>
                <a:tabLst/>
                <a:defRPr/>
              </a:pPr>
              <a:r>
                <a:rPr lang="en-US" sz="900" dirty="0"/>
                <a:t>The entire head is visible</a:t>
              </a:r>
            </a:p>
            <a:p>
              <a:pPr lvl="1"/>
              <a:r>
                <a:rPr lang="en-US" sz="900" dirty="0"/>
                <a:t>Shoulders are visible</a:t>
              </a:r>
            </a:p>
          </p:txBody>
        </p:sp>
        <p:sp>
          <p:nvSpPr>
            <p:cNvPr id="84" name="Rectangle 83">
              <a:extLst>
                <a:ext uri="{FF2B5EF4-FFF2-40B4-BE49-F238E27FC236}">
                  <a16:creationId xmlns:a16="http://schemas.microsoft.com/office/drawing/2014/main" id="{DE9B88A4-46AB-6C41-B3DF-20247111449B}"/>
                </a:ext>
              </a:extLst>
            </p:cNvPr>
            <p:cNvSpPr/>
            <p:nvPr userDrawn="1"/>
          </p:nvSpPr>
          <p:spPr>
            <a:xfrm>
              <a:off x="9541497" y="1981952"/>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85" name="TextBox 84">
              <a:extLst>
                <a:ext uri="{FF2B5EF4-FFF2-40B4-BE49-F238E27FC236}">
                  <a16:creationId xmlns:a16="http://schemas.microsoft.com/office/drawing/2014/main" id="{2D7C5D91-095D-0049-BECC-ACFE7362EAB2}"/>
                </a:ext>
              </a:extLst>
            </p:cNvPr>
            <p:cNvSpPr txBox="1"/>
            <p:nvPr userDrawn="1"/>
          </p:nvSpPr>
          <p:spPr>
            <a:xfrm>
              <a:off x="9907688" y="211075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86" name="Graphic 85">
              <a:extLst>
                <a:ext uri="{FF2B5EF4-FFF2-40B4-BE49-F238E27FC236}">
                  <a16:creationId xmlns:a16="http://schemas.microsoft.com/office/drawing/2014/main" id="{BC467E62-41AB-1547-BAA0-0497DA492F31}"/>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121034"/>
              <a:ext cx="155227" cy="155227"/>
            </a:xfrm>
            <a:prstGeom prst="rect">
              <a:avLst/>
            </a:prstGeom>
          </p:spPr>
        </p:pic>
        <p:sp>
          <p:nvSpPr>
            <p:cNvPr id="87" name="TextBox 86">
              <a:extLst>
                <a:ext uri="{FF2B5EF4-FFF2-40B4-BE49-F238E27FC236}">
                  <a16:creationId xmlns:a16="http://schemas.microsoft.com/office/drawing/2014/main" id="{B99EEBE7-201D-0E4C-927E-FE3966451069}"/>
                </a:ext>
              </a:extLst>
            </p:cNvPr>
            <p:cNvSpPr txBox="1"/>
            <p:nvPr userDrawn="1"/>
          </p:nvSpPr>
          <p:spPr>
            <a:xfrm>
              <a:off x="9701720" y="2736190"/>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88" name="TextBox 87">
              <a:extLst>
                <a:ext uri="{FF2B5EF4-FFF2-40B4-BE49-F238E27FC236}">
                  <a16:creationId xmlns:a16="http://schemas.microsoft.com/office/drawing/2014/main" id="{0A515CD1-7A4D-5943-AF1E-A861CA3992AF}"/>
                </a:ext>
              </a:extLst>
            </p:cNvPr>
            <p:cNvSpPr txBox="1"/>
            <p:nvPr userDrawn="1"/>
          </p:nvSpPr>
          <p:spPr>
            <a:xfrm>
              <a:off x="9694938" y="2378702"/>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89" name="TextBox 88">
              <a:extLst>
                <a:ext uri="{FF2B5EF4-FFF2-40B4-BE49-F238E27FC236}">
                  <a16:creationId xmlns:a16="http://schemas.microsoft.com/office/drawing/2014/main" id="{FE15B6C7-CC3C-9547-B859-96AB175C6BDB}"/>
                </a:ext>
              </a:extLst>
            </p:cNvPr>
            <p:cNvSpPr txBox="1"/>
            <p:nvPr userDrawn="1"/>
          </p:nvSpPr>
          <p:spPr>
            <a:xfrm>
              <a:off x="9830981" y="3018869"/>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90" name="TextBox 89">
              <a:extLst>
                <a:ext uri="{FF2B5EF4-FFF2-40B4-BE49-F238E27FC236}">
                  <a16:creationId xmlns:a16="http://schemas.microsoft.com/office/drawing/2014/main" id="{0BB739D9-93EF-604B-B664-982F20E91B52}"/>
                </a:ext>
              </a:extLst>
            </p:cNvPr>
            <p:cNvSpPr txBox="1"/>
            <p:nvPr userDrawn="1"/>
          </p:nvSpPr>
          <p:spPr>
            <a:xfrm>
              <a:off x="9701720" y="3193390"/>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91" name="Picture 90">
              <a:extLst>
                <a:ext uri="{FF2B5EF4-FFF2-40B4-BE49-F238E27FC236}">
                  <a16:creationId xmlns:a16="http://schemas.microsoft.com/office/drawing/2014/main" id="{E9A7FBA7-E4BB-6D46-9DD5-F4390A8393F4}"/>
                </a:ext>
              </a:extLst>
            </p:cNvPr>
            <p:cNvPicPr>
              <a:picLocks noChangeAspect="1"/>
            </p:cNvPicPr>
            <p:nvPr userDrawn="1"/>
          </p:nvPicPr>
          <p:blipFill rotWithShape="1">
            <a:blip r:embed="rId7"/>
            <a:srcRect l="4852" t="17138" r="10283" b="11792"/>
            <a:stretch/>
          </p:blipFill>
          <p:spPr>
            <a:xfrm>
              <a:off x="10676602" y="3460165"/>
              <a:ext cx="478277" cy="101726"/>
            </a:xfrm>
            <a:prstGeom prst="rect">
              <a:avLst/>
            </a:prstGeom>
            <a:ln>
              <a:solidFill>
                <a:schemeClr val="accent3">
                  <a:lumMod val="60000"/>
                  <a:lumOff val="40000"/>
                </a:schemeClr>
              </a:solidFill>
            </a:ln>
          </p:spPr>
        </p:pic>
        <p:pic>
          <p:nvPicPr>
            <p:cNvPr id="92" name="Picture 91">
              <a:extLst>
                <a:ext uri="{FF2B5EF4-FFF2-40B4-BE49-F238E27FC236}">
                  <a16:creationId xmlns:a16="http://schemas.microsoft.com/office/drawing/2014/main" id="{6DCE73ED-99FF-1B46-9E34-8D926E9613FC}"/>
                </a:ext>
              </a:extLst>
            </p:cNvPr>
            <p:cNvPicPr>
              <a:picLocks noChangeAspect="1"/>
            </p:cNvPicPr>
            <p:nvPr userDrawn="1"/>
          </p:nvPicPr>
          <p:blipFill>
            <a:blip r:embed="rId8"/>
            <a:stretch>
              <a:fillRect/>
            </a:stretch>
          </p:blipFill>
          <p:spPr>
            <a:xfrm>
              <a:off x="11251841" y="4562988"/>
              <a:ext cx="849028" cy="849028"/>
            </a:xfrm>
            <a:prstGeom prst="rect">
              <a:avLst/>
            </a:prstGeom>
          </p:spPr>
        </p:pic>
        <p:sp>
          <p:nvSpPr>
            <p:cNvPr id="93" name="TextBox 92">
              <a:extLst>
                <a:ext uri="{FF2B5EF4-FFF2-40B4-BE49-F238E27FC236}">
                  <a16:creationId xmlns:a16="http://schemas.microsoft.com/office/drawing/2014/main" id="{654D58EA-8928-9A46-9612-5FEB15C79CF5}"/>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94" name="Straight Connector 93">
              <a:extLst>
                <a:ext uri="{FF2B5EF4-FFF2-40B4-BE49-F238E27FC236}">
                  <a16:creationId xmlns:a16="http://schemas.microsoft.com/office/drawing/2014/main" id="{590BEFA3-64F0-8A46-A705-CC6B636E92B3}"/>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53218427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hank You (Plain)">
    <p:bg>
      <p:bgPr>
        <a:solidFill>
          <a:schemeClr val="bg1"/>
        </a:solidFill>
        <a:effectLst/>
      </p:bgPr>
    </p:bg>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FE32CCA1-CED9-294A-A470-F78E958FA780}"/>
              </a:ext>
            </a:extLst>
          </p:cNvPr>
          <p:cNvGrpSpPr/>
          <p:nvPr userDrawn="1"/>
        </p:nvGrpSpPr>
        <p:grpSpPr>
          <a:xfrm>
            <a:off x="12532244" y="-1"/>
            <a:ext cx="3948953" cy="6858002"/>
            <a:chOff x="9399182" y="-1"/>
            <a:chExt cx="2961715" cy="6858002"/>
          </a:xfrm>
        </p:grpSpPr>
        <p:sp>
          <p:nvSpPr>
            <p:cNvPr id="19" name="Rectangle 18">
              <a:extLst>
                <a:ext uri="{FF2B5EF4-FFF2-40B4-BE49-F238E27FC236}">
                  <a16:creationId xmlns:a16="http://schemas.microsoft.com/office/drawing/2014/main" id="{B6D6B989-9284-9D44-BE14-8A6C89EF3E32}"/>
                </a:ext>
              </a:extLst>
            </p:cNvPr>
            <p:cNvSpPr/>
            <p:nvPr userDrawn="1"/>
          </p:nvSpPr>
          <p:spPr>
            <a:xfrm>
              <a:off x="9399182" y="-1"/>
              <a:ext cx="2798651" cy="6858002"/>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200"/>
            </a:p>
          </p:txBody>
        </p:sp>
        <p:pic>
          <p:nvPicPr>
            <p:cNvPr id="58" name="Picture 57">
              <a:extLst>
                <a:ext uri="{FF2B5EF4-FFF2-40B4-BE49-F238E27FC236}">
                  <a16:creationId xmlns:a16="http://schemas.microsoft.com/office/drawing/2014/main" id="{16F5F437-7152-D647-BE19-CA5CFF0C6F8A}"/>
                </a:ext>
              </a:extLst>
            </p:cNvPr>
            <p:cNvPicPr>
              <a:picLocks noChangeAspect="1"/>
            </p:cNvPicPr>
            <p:nvPr userDrawn="1"/>
          </p:nvPicPr>
          <p:blipFill rotWithShape="1">
            <a:blip r:embed="rId2"/>
            <a:srcRect r="44907"/>
            <a:stretch/>
          </p:blipFill>
          <p:spPr>
            <a:xfrm>
              <a:off x="9558505" y="1326787"/>
              <a:ext cx="2639326" cy="517021"/>
            </a:xfrm>
            <a:prstGeom prst="rect">
              <a:avLst/>
            </a:prstGeom>
          </p:spPr>
        </p:pic>
        <p:grpSp>
          <p:nvGrpSpPr>
            <p:cNvPr id="28" name="Group 27">
              <a:extLst>
                <a:ext uri="{FF2B5EF4-FFF2-40B4-BE49-F238E27FC236}">
                  <a16:creationId xmlns:a16="http://schemas.microsoft.com/office/drawing/2014/main" id="{0AC109CA-765B-F445-89D7-F9A56CF3160E}"/>
                </a:ext>
              </a:extLst>
            </p:cNvPr>
            <p:cNvGrpSpPr/>
            <p:nvPr userDrawn="1"/>
          </p:nvGrpSpPr>
          <p:grpSpPr>
            <a:xfrm>
              <a:off x="9541497" y="162442"/>
              <a:ext cx="2819400" cy="814510"/>
              <a:chOff x="-3644733" y="165205"/>
              <a:chExt cx="2819400" cy="814510"/>
            </a:xfrm>
          </p:grpSpPr>
          <p:sp>
            <p:nvSpPr>
              <p:cNvPr id="63" name="Rectangle 62">
                <a:extLst>
                  <a:ext uri="{FF2B5EF4-FFF2-40B4-BE49-F238E27FC236}">
                    <a16:creationId xmlns:a16="http://schemas.microsoft.com/office/drawing/2014/main" id="{49BBD5DE-FD33-6944-B905-2592D7F1C5E0}"/>
                  </a:ext>
                </a:extLst>
              </p:cNvPr>
              <p:cNvSpPr/>
              <p:nvPr userDrawn="1"/>
            </p:nvSpPr>
            <p:spPr>
              <a:xfrm>
                <a:off x="-3644733" y="165205"/>
                <a:ext cx="2819400" cy="814510"/>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64" name="TextBox 63">
                <a:extLst>
                  <a:ext uri="{FF2B5EF4-FFF2-40B4-BE49-F238E27FC236}">
                    <a16:creationId xmlns:a16="http://schemas.microsoft.com/office/drawing/2014/main" id="{E610496C-239D-1644-8DAD-0730905DFAD3}"/>
                  </a:ext>
                </a:extLst>
              </p:cNvPr>
              <p:cNvSpPr txBox="1"/>
              <p:nvPr userDrawn="1"/>
            </p:nvSpPr>
            <p:spPr>
              <a:xfrm>
                <a:off x="-3039170" y="309204"/>
                <a:ext cx="2129588" cy="507831"/>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Access programmed text formats by using the ‘Indent More’ button to change the indent level.</a:t>
                </a:r>
              </a:p>
            </p:txBody>
          </p:sp>
          <p:pic>
            <p:nvPicPr>
              <p:cNvPr id="65" name="Picture 64">
                <a:extLst>
                  <a:ext uri="{FF2B5EF4-FFF2-40B4-BE49-F238E27FC236}">
                    <a16:creationId xmlns:a16="http://schemas.microsoft.com/office/drawing/2014/main" id="{A8368BC6-66AD-7E4A-919D-4EE710C4C09E}"/>
                  </a:ext>
                </a:extLst>
              </p:cNvPr>
              <p:cNvPicPr>
                <a:picLocks noChangeAspect="1"/>
              </p:cNvPicPr>
              <p:nvPr userDrawn="1"/>
            </p:nvPicPr>
            <p:blipFill rotWithShape="1">
              <a:blip r:embed="rId3"/>
              <a:srcRect l="8882" t="5165" r="-1"/>
              <a:stretch/>
            </p:blipFill>
            <p:spPr>
              <a:xfrm>
                <a:off x="-3491292" y="414013"/>
                <a:ext cx="324017" cy="289055"/>
              </a:xfrm>
              <a:prstGeom prst="roundRect">
                <a:avLst/>
              </a:prstGeom>
            </p:spPr>
          </p:pic>
        </p:grpSp>
        <p:grpSp>
          <p:nvGrpSpPr>
            <p:cNvPr id="32" name="Group 31">
              <a:extLst>
                <a:ext uri="{FF2B5EF4-FFF2-40B4-BE49-F238E27FC236}">
                  <a16:creationId xmlns:a16="http://schemas.microsoft.com/office/drawing/2014/main" id="{C7000E6E-6E99-204E-BA7D-E4CA1E9BD536}"/>
                </a:ext>
              </a:extLst>
            </p:cNvPr>
            <p:cNvGrpSpPr/>
            <p:nvPr userDrawn="1"/>
          </p:nvGrpSpPr>
          <p:grpSpPr>
            <a:xfrm>
              <a:off x="9541497" y="2001128"/>
              <a:ext cx="2735151" cy="1739504"/>
              <a:chOff x="9541497" y="2125825"/>
              <a:chExt cx="2735151" cy="1739504"/>
            </a:xfrm>
          </p:grpSpPr>
          <p:sp>
            <p:nvSpPr>
              <p:cNvPr id="38" name="Rectangle 37">
                <a:extLst>
                  <a:ext uri="{FF2B5EF4-FFF2-40B4-BE49-F238E27FC236}">
                    <a16:creationId xmlns:a16="http://schemas.microsoft.com/office/drawing/2014/main" id="{D5C7E2DD-B9AA-7542-BB1C-4EDF4B2874A6}"/>
                  </a:ext>
                </a:extLst>
              </p:cNvPr>
              <p:cNvSpPr/>
              <p:nvPr userDrawn="1"/>
            </p:nvSpPr>
            <p:spPr>
              <a:xfrm>
                <a:off x="9541497" y="2125825"/>
                <a:ext cx="2735151" cy="1739504"/>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39" name="TextBox 38">
                <a:extLst>
                  <a:ext uri="{FF2B5EF4-FFF2-40B4-BE49-F238E27FC236}">
                    <a16:creationId xmlns:a16="http://schemas.microsoft.com/office/drawing/2014/main" id="{A835F353-E20F-7145-A34F-6F386E09121D}"/>
                  </a:ext>
                </a:extLst>
              </p:cNvPr>
              <p:cNvSpPr txBox="1"/>
              <p:nvPr userDrawn="1"/>
            </p:nvSpPr>
            <p:spPr>
              <a:xfrm>
                <a:off x="9907688" y="2254624"/>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Undo Hyperlink</a:t>
                </a:r>
              </a:p>
            </p:txBody>
          </p:sp>
          <p:pic>
            <p:nvPicPr>
              <p:cNvPr id="40" name="Graphic 39">
                <a:extLst>
                  <a:ext uri="{FF2B5EF4-FFF2-40B4-BE49-F238E27FC236}">
                    <a16:creationId xmlns:a16="http://schemas.microsoft.com/office/drawing/2014/main" id="{ACEEC605-AF63-5242-8C8C-3968205B3140}"/>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9701720" y="2264907"/>
                <a:ext cx="155227" cy="155227"/>
              </a:xfrm>
              <a:prstGeom prst="rect">
                <a:avLst/>
              </a:prstGeom>
            </p:spPr>
          </p:pic>
          <p:sp>
            <p:nvSpPr>
              <p:cNvPr id="41" name="TextBox 40">
                <a:extLst>
                  <a:ext uri="{FF2B5EF4-FFF2-40B4-BE49-F238E27FC236}">
                    <a16:creationId xmlns:a16="http://schemas.microsoft.com/office/drawing/2014/main" id="{A7DCE96D-FB91-1648-BC3A-ADACF2DFD6A2}"/>
                  </a:ext>
                </a:extLst>
              </p:cNvPr>
              <p:cNvSpPr txBox="1"/>
              <p:nvPr userDrawn="1"/>
            </p:nvSpPr>
            <p:spPr>
              <a:xfrm>
                <a:off x="9701720" y="2880063"/>
                <a:ext cx="2384904" cy="24929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As soon as the hyperlink formatting appears, Undo once to remove the format.</a:t>
                </a:r>
              </a:p>
            </p:txBody>
          </p:sp>
          <p:sp>
            <p:nvSpPr>
              <p:cNvPr id="42" name="TextBox 41">
                <a:extLst>
                  <a:ext uri="{FF2B5EF4-FFF2-40B4-BE49-F238E27FC236}">
                    <a16:creationId xmlns:a16="http://schemas.microsoft.com/office/drawing/2014/main" id="{2B0A90B8-B226-E44B-94F1-478141C501EF}"/>
                  </a:ext>
                </a:extLst>
              </p:cNvPr>
              <p:cNvSpPr txBox="1"/>
              <p:nvPr userDrawn="1"/>
            </p:nvSpPr>
            <p:spPr>
              <a:xfrm>
                <a:off x="9694938" y="2522575"/>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Typing an email address into the contact info will automatically create a hyperlink.</a:t>
                </a:r>
              </a:p>
            </p:txBody>
          </p:sp>
          <p:sp>
            <p:nvSpPr>
              <p:cNvPr id="43" name="TextBox 42">
                <a:extLst>
                  <a:ext uri="{FF2B5EF4-FFF2-40B4-BE49-F238E27FC236}">
                    <a16:creationId xmlns:a16="http://schemas.microsoft.com/office/drawing/2014/main" id="{F319E11B-79DC-9145-9D0C-0A5D3FA1DCA8}"/>
                  </a:ext>
                </a:extLst>
              </p:cNvPr>
              <p:cNvSpPr txBox="1"/>
              <p:nvPr userDrawn="1"/>
            </p:nvSpPr>
            <p:spPr>
              <a:xfrm>
                <a:off x="9830981" y="3162742"/>
                <a:ext cx="2374733" cy="96950"/>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solidFill>
                      <a:schemeClr val="bg1">
                        <a:lumMod val="65000"/>
                      </a:schemeClr>
                    </a:solidFill>
                  </a:rPr>
                  <a:t>You can use CTRL+Z or the menu button.</a:t>
                </a:r>
              </a:p>
            </p:txBody>
          </p:sp>
          <p:sp>
            <p:nvSpPr>
              <p:cNvPr id="44" name="TextBox 43">
                <a:extLst>
                  <a:ext uri="{FF2B5EF4-FFF2-40B4-BE49-F238E27FC236}">
                    <a16:creationId xmlns:a16="http://schemas.microsoft.com/office/drawing/2014/main" id="{5A40DD8A-8575-3A45-BCC4-A27FBEB7E728}"/>
                  </a:ext>
                </a:extLst>
              </p:cNvPr>
              <p:cNvSpPr txBox="1"/>
              <p:nvPr userDrawn="1"/>
            </p:nvSpPr>
            <p:spPr>
              <a:xfrm>
                <a:off x="9701720" y="3337263"/>
                <a:ext cx="2384904" cy="373949"/>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To remove an pre-existing hyperlink, </a:t>
                </a:r>
                <a:br>
                  <a:rPr lang="en-US" sz="900" kern="1200" dirty="0">
                    <a:solidFill>
                      <a:schemeClr val="tx1">
                        <a:lumMod val="50000"/>
                        <a:lumOff val="50000"/>
                      </a:schemeClr>
                    </a:solidFill>
                    <a:latin typeface="Arial" charset="0"/>
                    <a:cs typeface="Arial" charset="0"/>
                  </a:rPr>
                </a:br>
                <a:r>
                  <a:rPr lang="en-US" sz="900" kern="1200" dirty="0">
                    <a:solidFill>
                      <a:schemeClr val="tx1">
                        <a:lumMod val="50000"/>
                        <a:lumOff val="50000"/>
                      </a:schemeClr>
                    </a:solidFill>
                    <a:latin typeface="Arial" charset="0"/>
                    <a:cs typeface="Arial" charset="0"/>
                  </a:rPr>
                  <a:t>right click on the hyperlink and choose “Remove Link” (                 )</a:t>
                </a:r>
              </a:p>
            </p:txBody>
          </p:sp>
          <p:pic>
            <p:nvPicPr>
              <p:cNvPr id="45" name="Picture 44">
                <a:extLst>
                  <a:ext uri="{FF2B5EF4-FFF2-40B4-BE49-F238E27FC236}">
                    <a16:creationId xmlns:a16="http://schemas.microsoft.com/office/drawing/2014/main" id="{81F14588-1C54-AC43-BC7C-54BD1667AB52}"/>
                  </a:ext>
                </a:extLst>
              </p:cNvPr>
              <p:cNvPicPr>
                <a:picLocks noChangeAspect="1"/>
              </p:cNvPicPr>
              <p:nvPr userDrawn="1"/>
            </p:nvPicPr>
            <p:blipFill rotWithShape="1">
              <a:blip r:embed="rId6"/>
              <a:srcRect l="4852" t="17138" r="10283" b="11792"/>
              <a:stretch/>
            </p:blipFill>
            <p:spPr>
              <a:xfrm>
                <a:off x="10676602" y="3604038"/>
                <a:ext cx="478277" cy="101726"/>
              </a:xfrm>
              <a:prstGeom prst="rect">
                <a:avLst/>
              </a:prstGeom>
              <a:ln>
                <a:solidFill>
                  <a:schemeClr val="accent3">
                    <a:lumMod val="60000"/>
                    <a:lumOff val="40000"/>
                  </a:schemeClr>
                </a:solidFill>
              </a:ln>
            </p:spPr>
          </p:pic>
        </p:grpSp>
        <p:sp>
          <p:nvSpPr>
            <p:cNvPr id="36" name="TextBox 35">
              <a:extLst>
                <a:ext uri="{FF2B5EF4-FFF2-40B4-BE49-F238E27FC236}">
                  <a16:creationId xmlns:a16="http://schemas.microsoft.com/office/drawing/2014/main" id="{06BE892A-D470-B745-A06E-4422FF2B46B5}"/>
                </a:ext>
              </a:extLst>
            </p:cNvPr>
            <p:cNvSpPr txBox="1"/>
            <p:nvPr userDrawn="1"/>
          </p:nvSpPr>
          <p:spPr>
            <a:xfrm>
              <a:off x="9558507" y="1119891"/>
              <a:ext cx="1677143"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TEXT FORMATS IN THIS LAYOUT</a:t>
              </a:r>
            </a:p>
          </p:txBody>
        </p:sp>
        <p:cxnSp>
          <p:nvCxnSpPr>
            <p:cNvPr id="37" name="Straight Connector 36">
              <a:extLst>
                <a:ext uri="{FF2B5EF4-FFF2-40B4-BE49-F238E27FC236}">
                  <a16:creationId xmlns:a16="http://schemas.microsoft.com/office/drawing/2014/main" id="{F98EF2F6-212E-284F-8D82-E01FF28977B0}"/>
                </a:ext>
              </a:extLst>
            </p:cNvPr>
            <p:cNvCxnSpPr>
              <a:cxnSpLocks/>
            </p:cNvCxnSpPr>
            <p:nvPr userDrawn="1"/>
          </p:nvCxnSpPr>
          <p:spPr>
            <a:xfrm>
              <a:off x="9558507" y="1322508"/>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grpSp>
      <p:sp>
        <p:nvSpPr>
          <p:cNvPr id="4" name="Title 3">
            <a:extLst>
              <a:ext uri="{FF2B5EF4-FFF2-40B4-BE49-F238E27FC236}">
                <a16:creationId xmlns:a16="http://schemas.microsoft.com/office/drawing/2014/main" id="{E51CCCAA-D40E-B44E-A126-920CC95387F8}"/>
              </a:ext>
            </a:extLst>
          </p:cNvPr>
          <p:cNvSpPr>
            <a:spLocks noGrp="1"/>
          </p:cNvSpPr>
          <p:nvPr userDrawn="1">
            <p:ph type="title" hasCustomPrompt="1"/>
          </p:nvPr>
        </p:nvSpPr>
        <p:spPr>
          <a:xfrm>
            <a:off x="575734" y="2402732"/>
            <a:ext cx="11040533" cy="922907"/>
          </a:xfrm>
        </p:spPr>
        <p:txBody>
          <a:bodyPr/>
          <a:lstStyle>
            <a:lvl1pPr>
              <a:defRPr sz="3200"/>
            </a:lvl1pPr>
          </a:lstStyle>
          <a:p>
            <a:r>
              <a:rPr lang="en-US" dirty="0"/>
              <a:t>Click to add </a:t>
            </a:r>
            <a:br>
              <a:rPr lang="en-US" dirty="0"/>
            </a:br>
            <a:r>
              <a:rPr lang="en-US" dirty="0"/>
              <a:t>thank-you message</a:t>
            </a:r>
          </a:p>
        </p:txBody>
      </p:sp>
      <p:sp>
        <p:nvSpPr>
          <p:cNvPr id="8" name="Text Placeholder 7">
            <a:extLst>
              <a:ext uri="{FF2B5EF4-FFF2-40B4-BE49-F238E27FC236}">
                <a16:creationId xmlns:a16="http://schemas.microsoft.com/office/drawing/2014/main" id="{022CA3D9-DBCD-8543-9EF3-77B6B03F5142}"/>
              </a:ext>
            </a:extLst>
          </p:cNvPr>
          <p:cNvSpPr>
            <a:spLocks noGrp="1"/>
          </p:cNvSpPr>
          <p:nvPr userDrawn="1">
            <p:ph type="body" sz="quarter" idx="15" hasCustomPrompt="1"/>
          </p:nvPr>
        </p:nvSpPr>
        <p:spPr>
          <a:xfrm>
            <a:off x="575734" y="3604149"/>
            <a:ext cx="11040533" cy="1543049"/>
          </a:xfrm>
          <a:prstGeom prst="rect">
            <a:avLst/>
          </a:prstGeom>
          <a:noFill/>
          <a:ln>
            <a:noFill/>
          </a:ln>
        </p:spPr>
        <p:txBody>
          <a:bodyPr wrap="square" lIns="0" tIns="0" rIns="0" bIns="0" anchor="t">
            <a:noAutofit/>
          </a:bodyPr>
          <a:lstStyle>
            <a:lvl1pPr marL="20638" indent="0">
              <a:spcAft>
                <a:spcPts val="300"/>
              </a:spcAft>
              <a:buNone/>
              <a:tabLst/>
              <a:defRPr sz="1400" b="1">
                <a:solidFill>
                  <a:schemeClr val="accent1"/>
                </a:solidFill>
              </a:defRPr>
            </a:lvl1pPr>
            <a:lvl2pPr marL="20638" indent="0">
              <a:spcAft>
                <a:spcPts val="200"/>
              </a:spcAft>
              <a:buNone/>
              <a:tabLst/>
              <a:defRPr sz="1400">
                <a:solidFill>
                  <a:schemeClr val="tx1"/>
                </a:solidFill>
              </a:defRPr>
            </a:lvl2pPr>
            <a:lvl3pPr marL="20638" indent="0">
              <a:spcAft>
                <a:spcPts val="200"/>
              </a:spcAft>
              <a:buFont typeface="Wingdings" pitchFamily="2" charset="2"/>
              <a:buNone/>
              <a:tabLst/>
              <a:defRPr sz="1400">
                <a:solidFill>
                  <a:schemeClr val="tx1"/>
                </a:solidFill>
              </a:defRPr>
            </a:lvl3pPr>
            <a:lvl4pPr marL="20638" indent="0">
              <a:spcAft>
                <a:spcPts val="200"/>
              </a:spcAft>
              <a:buFont typeface="System Font Regular"/>
              <a:buNone/>
              <a:tabLst/>
              <a:defRPr sz="1400">
                <a:solidFill>
                  <a:schemeClr val="tx1"/>
                </a:solidFill>
              </a:defRPr>
            </a:lvl4pPr>
            <a:lvl5pPr marL="20638" indent="0">
              <a:spcAft>
                <a:spcPts val="200"/>
              </a:spcAft>
              <a:buNone/>
              <a:tabLst/>
              <a:defRPr sz="1400">
                <a:solidFill>
                  <a:schemeClr val="tx1"/>
                </a:solidFill>
              </a:defRPr>
            </a:lvl5pPr>
            <a:lvl6pPr marL="20638" indent="0">
              <a:buNone/>
              <a:tabLst/>
              <a:defRPr/>
            </a:lvl6pPr>
            <a:lvl7pPr marL="20638" indent="0">
              <a:buNone/>
              <a:tabLst/>
              <a:defRPr/>
            </a:lvl7pPr>
            <a:lvl8pPr marL="20638" indent="0">
              <a:buNone/>
              <a:tabLst/>
              <a:defRPr/>
            </a:lvl8pPr>
            <a:lvl9pPr marL="20638" indent="0">
              <a:buNone/>
              <a:tabLst/>
              <a:defRPr/>
            </a:lvl9pPr>
          </a:lstStyle>
          <a:p>
            <a:pPr lvl="0"/>
            <a:r>
              <a:rPr lang="en-US" dirty="0"/>
              <a:t>Click to add contact information</a:t>
            </a:r>
          </a:p>
          <a:p>
            <a:pPr lvl="1"/>
            <a:r>
              <a:rPr lang="en-US" dirty="0"/>
              <a:t>Second level</a:t>
            </a:r>
          </a:p>
        </p:txBody>
      </p:sp>
      <p:sp>
        <p:nvSpPr>
          <p:cNvPr id="12" name="Freeform 11">
            <a:extLst>
              <a:ext uri="{FF2B5EF4-FFF2-40B4-BE49-F238E27FC236}">
                <a16:creationId xmlns:a16="http://schemas.microsoft.com/office/drawing/2014/main" id="{3BFD17EA-819F-DD45-8311-F838F6249E1A}"/>
              </a:ext>
            </a:extLst>
          </p:cNvPr>
          <p:cNvSpPr/>
          <p:nvPr userDrawn="1"/>
        </p:nvSpPr>
        <p:spPr>
          <a:xfrm flipH="1">
            <a:off x="0" y="6029562"/>
            <a:ext cx="9041763"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lvl="0" algn="ctr"/>
            <a:endParaRPr lang="en-US" sz="1200"/>
          </a:p>
        </p:txBody>
      </p:sp>
      <p:grpSp>
        <p:nvGrpSpPr>
          <p:cNvPr id="7" name="Group 6">
            <a:extLst>
              <a:ext uri="{FF2B5EF4-FFF2-40B4-BE49-F238E27FC236}">
                <a16:creationId xmlns:a16="http://schemas.microsoft.com/office/drawing/2014/main" id="{329E5FF7-98BC-884F-840D-5E423F4AF849}"/>
              </a:ext>
            </a:extLst>
          </p:cNvPr>
          <p:cNvGrpSpPr/>
          <p:nvPr userDrawn="1"/>
        </p:nvGrpSpPr>
        <p:grpSpPr>
          <a:xfrm>
            <a:off x="-342618" y="2477066"/>
            <a:ext cx="335281" cy="787628"/>
            <a:chOff x="-256404" y="360363"/>
            <a:chExt cx="251461" cy="692152"/>
          </a:xfrm>
        </p:grpSpPr>
        <p:grpSp>
          <p:nvGrpSpPr>
            <p:cNvPr id="9" name="Group 8">
              <a:extLst>
                <a:ext uri="{FF2B5EF4-FFF2-40B4-BE49-F238E27FC236}">
                  <a16:creationId xmlns:a16="http://schemas.microsoft.com/office/drawing/2014/main" id="{3CE00DE3-4AF7-8F42-A200-B6BF002E43AF}"/>
                </a:ext>
              </a:extLst>
            </p:cNvPr>
            <p:cNvGrpSpPr/>
            <p:nvPr userDrawn="1"/>
          </p:nvGrpSpPr>
          <p:grpSpPr>
            <a:xfrm rot="16200000">
              <a:off x="-476749" y="580708"/>
              <a:ext cx="692152" cy="251461"/>
              <a:chOff x="431800" y="-235792"/>
              <a:chExt cx="4400551" cy="235792"/>
            </a:xfrm>
          </p:grpSpPr>
          <p:cxnSp>
            <p:nvCxnSpPr>
              <p:cNvPr id="11" name="Straight Connector 10">
                <a:extLst>
                  <a:ext uri="{FF2B5EF4-FFF2-40B4-BE49-F238E27FC236}">
                    <a16:creationId xmlns:a16="http://schemas.microsoft.com/office/drawing/2014/main" id="{662AF22C-7AFC-C247-A004-09523187568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5DC57299-371A-5D49-B7E8-080D3F8E77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2C4E3FC2-9801-F941-A31F-83FA02AAD46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10" name="TextBox 9">
              <a:extLst>
                <a:ext uri="{FF2B5EF4-FFF2-40B4-BE49-F238E27FC236}">
                  <a16:creationId xmlns:a16="http://schemas.microsoft.com/office/drawing/2014/main" id="{2A420265-8660-8D47-879D-AE5074C73B4B}"/>
                </a:ext>
              </a:extLst>
            </p:cNvPr>
            <p:cNvSpPr txBox="1"/>
            <p:nvPr userDrawn="1"/>
          </p:nvSpPr>
          <p:spPr>
            <a:xfrm rot="16200000">
              <a:off x="-359580" y="622270"/>
              <a:ext cx="457823" cy="161583"/>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HANK YOU</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MESSAGE</a:t>
              </a:r>
            </a:p>
          </p:txBody>
        </p:sp>
      </p:grpSp>
      <p:grpSp>
        <p:nvGrpSpPr>
          <p:cNvPr id="22" name="Group 21">
            <a:extLst>
              <a:ext uri="{FF2B5EF4-FFF2-40B4-BE49-F238E27FC236}">
                <a16:creationId xmlns:a16="http://schemas.microsoft.com/office/drawing/2014/main" id="{7E46CEE4-894D-624D-A955-EB76D7DD0E0A}"/>
              </a:ext>
            </a:extLst>
          </p:cNvPr>
          <p:cNvGrpSpPr/>
          <p:nvPr userDrawn="1"/>
        </p:nvGrpSpPr>
        <p:grpSpPr>
          <a:xfrm>
            <a:off x="-342618" y="3622630"/>
            <a:ext cx="335281" cy="1506813"/>
            <a:chOff x="-256404" y="360363"/>
            <a:chExt cx="251461" cy="692152"/>
          </a:xfrm>
        </p:grpSpPr>
        <p:grpSp>
          <p:nvGrpSpPr>
            <p:cNvPr id="23" name="Group 22">
              <a:extLst>
                <a:ext uri="{FF2B5EF4-FFF2-40B4-BE49-F238E27FC236}">
                  <a16:creationId xmlns:a16="http://schemas.microsoft.com/office/drawing/2014/main" id="{B3D4B207-ECDC-2149-9289-837E9CD2BA4E}"/>
                </a:ext>
              </a:extLst>
            </p:cNvPr>
            <p:cNvGrpSpPr/>
            <p:nvPr userDrawn="1"/>
          </p:nvGrpSpPr>
          <p:grpSpPr>
            <a:xfrm rot="16200000">
              <a:off x="-476749" y="580708"/>
              <a:ext cx="692152" cy="251461"/>
              <a:chOff x="431800" y="-235792"/>
              <a:chExt cx="4400551" cy="235792"/>
            </a:xfrm>
          </p:grpSpPr>
          <p:cxnSp>
            <p:nvCxnSpPr>
              <p:cNvPr id="25" name="Straight Connector 24">
                <a:extLst>
                  <a:ext uri="{FF2B5EF4-FFF2-40B4-BE49-F238E27FC236}">
                    <a16:creationId xmlns:a16="http://schemas.microsoft.com/office/drawing/2014/main" id="{C5DB3F20-EFB9-A342-95DF-42A3963D1855}"/>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EC292F3-7787-8C42-8363-0B3D8175AC85}"/>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7" name="Rectangle 26">
                <a:extLst>
                  <a:ext uri="{FF2B5EF4-FFF2-40B4-BE49-F238E27FC236}">
                    <a16:creationId xmlns:a16="http://schemas.microsoft.com/office/drawing/2014/main" id="{32F0246A-EFD3-2048-A326-3DE0B12CA2D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24" name="TextBox 23">
              <a:extLst>
                <a:ext uri="{FF2B5EF4-FFF2-40B4-BE49-F238E27FC236}">
                  <a16:creationId xmlns:a16="http://schemas.microsoft.com/office/drawing/2014/main" id="{CA0BB0B9-B04C-F344-9EAD-266B7195FA13}"/>
                </a:ext>
              </a:extLst>
            </p:cNvPr>
            <p:cNvSpPr txBox="1"/>
            <p:nvPr userDrawn="1"/>
          </p:nvSpPr>
          <p:spPr>
            <a:xfrm rot="16200000">
              <a:off x="-284929" y="662666"/>
              <a:ext cx="308525" cy="8079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CONTACT INFO</a:t>
              </a:r>
            </a:p>
          </p:txBody>
        </p:sp>
      </p:grpSp>
      <p:grpSp>
        <p:nvGrpSpPr>
          <p:cNvPr id="46" name="Group 45">
            <a:extLst>
              <a:ext uri="{FF2B5EF4-FFF2-40B4-BE49-F238E27FC236}">
                <a16:creationId xmlns:a16="http://schemas.microsoft.com/office/drawing/2014/main" id="{36470FD9-6E01-0B4F-9293-5E77836108A7}"/>
              </a:ext>
            </a:extLst>
          </p:cNvPr>
          <p:cNvGrpSpPr/>
          <p:nvPr userDrawn="1"/>
        </p:nvGrpSpPr>
        <p:grpSpPr>
          <a:xfrm>
            <a:off x="574987" y="-246933"/>
            <a:ext cx="11040535" cy="7347304"/>
            <a:chOff x="431240" y="-246933"/>
            <a:chExt cx="8280401" cy="7347304"/>
          </a:xfrm>
        </p:grpSpPr>
        <p:grpSp>
          <p:nvGrpSpPr>
            <p:cNvPr id="47" name="Group 46">
              <a:extLst>
                <a:ext uri="{FF2B5EF4-FFF2-40B4-BE49-F238E27FC236}">
                  <a16:creationId xmlns:a16="http://schemas.microsoft.com/office/drawing/2014/main" id="{A2E8BA8C-8FF3-254C-8529-17D81E9A3EA9}"/>
                </a:ext>
              </a:extLst>
            </p:cNvPr>
            <p:cNvGrpSpPr/>
            <p:nvPr userDrawn="1"/>
          </p:nvGrpSpPr>
          <p:grpSpPr>
            <a:xfrm>
              <a:off x="431242" y="6864579"/>
              <a:ext cx="8280398" cy="235792"/>
              <a:chOff x="431801" y="-235792"/>
              <a:chExt cx="4400550" cy="235792"/>
            </a:xfrm>
          </p:grpSpPr>
          <p:cxnSp>
            <p:nvCxnSpPr>
              <p:cNvPr id="56" name="Straight Connector 55">
                <a:extLst>
                  <a:ext uri="{FF2B5EF4-FFF2-40B4-BE49-F238E27FC236}">
                    <a16:creationId xmlns:a16="http://schemas.microsoft.com/office/drawing/2014/main" id="{50F328EC-B503-354C-8736-5D64EE2969CC}"/>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5A29AA69-4035-F742-B4C9-50563DD5BD22}"/>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48" name="Group 47">
              <a:extLst>
                <a:ext uri="{FF2B5EF4-FFF2-40B4-BE49-F238E27FC236}">
                  <a16:creationId xmlns:a16="http://schemas.microsoft.com/office/drawing/2014/main" id="{B0AEC935-9C4F-7543-96BF-78796BCB2423}"/>
                </a:ext>
              </a:extLst>
            </p:cNvPr>
            <p:cNvGrpSpPr/>
            <p:nvPr userDrawn="1"/>
          </p:nvGrpSpPr>
          <p:grpSpPr>
            <a:xfrm>
              <a:off x="431240" y="-246933"/>
              <a:ext cx="8280401" cy="235792"/>
              <a:chOff x="431800" y="-240735"/>
              <a:chExt cx="8280401" cy="235792"/>
            </a:xfrm>
          </p:grpSpPr>
          <p:grpSp>
            <p:nvGrpSpPr>
              <p:cNvPr id="49" name="Group 48">
                <a:extLst>
                  <a:ext uri="{FF2B5EF4-FFF2-40B4-BE49-F238E27FC236}">
                    <a16:creationId xmlns:a16="http://schemas.microsoft.com/office/drawing/2014/main" id="{848838DC-C092-C842-8204-37BB10FF8D4C}"/>
                  </a:ext>
                </a:extLst>
              </p:cNvPr>
              <p:cNvGrpSpPr/>
              <p:nvPr userDrawn="1"/>
            </p:nvGrpSpPr>
            <p:grpSpPr>
              <a:xfrm>
                <a:off x="431800" y="-240735"/>
                <a:ext cx="8280400" cy="235792"/>
                <a:chOff x="431800" y="-235792"/>
                <a:chExt cx="4400551" cy="235792"/>
              </a:xfrm>
            </p:grpSpPr>
            <p:cxnSp>
              <p:nvCxnSpPr>
                <p:cNvPr id="53" name="Straight Connector 52">
                  <a:extLst>
                    <a:ext uri="{FF2B5EF4-FFF2-40B4-BE49-F238E27FC236}">
                      <a16:creationId xmlns:a16="http://schemas.microsoft.com/office/drawing/2014/main" id="{5AE9D414-9B70-1A40-A283-B9BE3316F27E}"/>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E5D2DCCD-9E6B-4941-B2DD-BCF9A00279B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CFA68C3E-5FA0-2147-8F3D-878AC5BEAC4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50" name="TextBox 49">
                <a:extLst>
                  <a:ext uri="{FF2B5EF4-FFF2-40B4-BE49-F238E27FC236}">
                    <a16:creationId xmlns:a16="http://schemas.microsoft.com/office/drawing/2014/main" id="{CECDBD12-780D-2643-8288-D1E6A75E0714}"/>
                  </a:ext>
                </a:extLst>
              </p:cNvPr>
              <p:cNvSpPr txBox="1"/>
              <p:nvPr userDrawn="1"/>
            </p:nvSpPr>
            <p:spPr>
              <a:xfrm>
                <a:off x="3914336" y="-176700"/>
                <a:ext cx="1315339"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51" name="Straight Arrow Connector 50">
                <a:extLst>
                  <a:ext uri="{FF2B5EF4-FFF2-40B4-BE49-F238E27FC236}">
                    <a16:creationId xmlns:a16="http://schemas.microsoft.com/office/drawing/2014/main" id="{62B0D30E-8CF5-E041-A33B-9048CF7AA145}"/>
                  </a:ext>
                </a:extLst>
              </p:cNvPr>
              <p:cNvCxnSpPr>
                <a:cxnSpLocks/>
                <a:stCxn id="50" idx="1"/>
                <a:endCxn id="55" idx="2"/>
              </p:cNvCxnSpPr>
              <p:nvPr userDrawn="1"/>
            </p:nvCxnSpPr>
            <p:spPr>
              <a:xfrm flipH="1">
                <a:off x="431801" y="-122839"/>
                <a:ext cx="3482535"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600B5CB1-1C7E-0744-9B21-78D2AC6FD7AD}"/>
                  </a:ext>
                </a:extLst>
              </p:cNvPr>
              <p:cNvCxnSpPr>
                <a:cxnSpLocks/>
                <a:stCxn id="50" idx="3"/>
                <a:endCxn id="55" idx="0"/>
              </p:cNvCxnSpPr>
              <p:nvPr userDrawn="1"/>
            </p:nvCxnSpPr>
            <p:spPr>
              <a:xfrm flipV="1">
                <a:off x="5229674" y="-122840"/>
                <a:ext cx="3482527"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pic>
        <p:nvPicPr>
          <p:cNvPr id="59" name="Picture 58">
            <a:extLst>
              <a:ext uri="{FF2B5EF4-FFF2-40B4-BE49-F238E27FC236}">
                <a16:creationId xmlns:a16="http://schemas.microsoft.com/office/drawing/2014/main" id="{70511143-D3FD-C648-B7CB-BA3839BDB334}"/>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9102926" y="6070430"/>
            <a:ext cx="2132663" cy="329184"/>
          </a:xfrm>
          <a:prstGeom prst="rect">
            <a:avLst/>
          </a:prstGeom>
        </p:spPr>
      </p:pic>
    </p:spTree>
    <p:extLst>
      <p:ext uri="{BB962C8B-B14F-4D97-AF65-F5344CB8AC3E}">
        <p14:creationId xmlns:p14="http://schemas.microsoft.com/office/powerpoint/2010/main" val="130438860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EDC91A9-44DF-1D4A-9BC8-11C36820A1EA}"/>
              </a:ext>
            </a:extLst>
          </p:cNvPr>
          <p:cNvSpPr>
            <a:spLocks noGrp="1"/>
          </p:cNvSpPr>
          <p:nvPr>
            <p:ph type="dt" sz="half" idx="10"/>
          </p:nvPr>
        </p:nvSpPr>
        <p:spPr/>
        <p:txBody>
          <a:bodyPr/>
          <a:lstStyle/>
          <a:p>
            <a:fld id="{B7C0293F-9E4D-E240-9172-99514F236333}" type="datetimeFigureOut">
              <a:rPr lang="en-US" smtClean="0"/>
              <a:t>4/28/2022</a:t>
            </a:fld>
            <a:endParaRPr lang="en-US"/>
          </a:p>
        </p:txBody>
      </p:sp>
      <p:sp>
        <p:nvSpPr>
          <p:cNvPr id="3" name="Footer Placeholder 2">
            <a:extLst>
              <a:ext uri="{FF2B5EF4-FFF2-40B4-BE49-F238E27FC236}">
                <a16:creationId xmlns:a16="http://schemas.microsoft.com/office/drawing/2014/main" id="{D18AACAE-8081-5540-B122-959862B053CB}"/>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0CF2732-1F89-E141-9CCC-C3891FDF4116}"/>
              </a:ext>
            </a:extLst>
          </p:cNvPr>
          <p:cNvSpPr>
            <a:spLocks noGrp="1"/>
          </p:cNvSpPr>
          <p:nvPr>
            <p:ph type="sldNum" sz="quarter" idx="12"/>
          </p:nvPr>
        </p:nvSpPr>
        <p:spPr/>
        <p:txBody>
          <a:bodyPr/>
          <a:lstStyle/>
          <a:p>
            <a:fld id="{1C846329-FAC2-C348-953A-645E663D4F80}" type="slidenum">
              <a:rPr lang="en-US" smtClean="0"/>
              <a:t>‹#›</a:t>
            </a:fld>
            <a:endParaRPr lang="en-US"/>
          </a:p>
        </p:txBody>
      </p:sp>
    </p:spTree>
    <p:extLst>
      <p:ext uri="{BB962C8B-B14F-4D97-AF65-F5344CB8AC3E}">
        <p14:creationId xmlns:p14="http://schemas.microsoft.com/office/powerpoint/2010/main" val="97097044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Photo)">
    <p:bg>
      <p:bgPr>
        <a:solidFill>
          <a:schemeClr val="bg1"/>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D226B87F-5E84-7144-A74B-D4C32C819AD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02926" y="6070430"/>
            <a:ext cx="2132663" cy="329184"/>
          </a:xfrm>
          <a:prstGeom prst="rect">
            <a:avLst/>
          </a:prstGeom>
        </p:spPr>
      </p:pic>
      <p:sp>
        <p:nvSpPr>
          <p:cNvPr id="13" name="Freeform 12">
            <a:extLst>
              <a:ext uri="{FF2B5EF4-FFF2-40B4-BE49-F238E27FC236}">
                <a16:creationId xmlns:a16="http://schemas.microsoft.com/office/drawing/2014/main" id="{602C580C-279C-C14B-A35B-19A3198CE523}"/>
              </a:ext>
            </a:extLst>
          </p:cNvPr>
          <p:cNvSpPr/>
          <p:nvPr userDrawn="1"/>
        </p:nvSpPr>
        <p:spPr>
          <a:xfrm flipH="1">
            <a:off x="0" y="6029562"/>
            <a:ext cx="9041763"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0" name="Picture Placeholder 9">
            <a:extLst>
              <a:ext uri="{FF2B5EF4-FFF2-40B4-BE49-F238E27FC236}">
                <a16:creationId xmlns:a16="http://schemas.microsoft.com/office/drawing/2014/main" id="{32EA00E4-A5CA-8A45-BBC6-14C9E32393F9}"/>
              </a:ext>
            </a:extLst>
          </p:cNvPr>
          <p:cNvSpPr>
            <a:spLocks noGrp="1"/>
          </p:cNvSpPr>
          <p:nvPr>
            <p:ph type="pic" sz="quarter" idx="25" hasCustomPrompt="1"/>
          </p:nvPr>
        </p:nvSpPr>
        <p:spPr>
          <a:xfrm>
            <a:off x="1" y="1"/>
            <a:ext cx="12192001" cy="5696907"/>
          </a:xfrm>
          <a:prstGeom prst="rect">
            <a:avLst/>
          </a:prstGeom>
          <a:solidFill>
            <a:schemeClr val="accent2"/>
          </a:solidFill>
        </p:spPr>
        <p:txBody>
          <a:bodyPr wrap="square" rIns="432000" anchor="ctr">
            <a:noAutofit/>
          </a:bodyPr>
          <a:lstStyle>
            <a:lvl1pPr marL="0" indent="0" algn="r">
              <a:spcBef>
                <a:spcPts val="0"/>
              </a:spcBef>
              <a:spcAft>
                <a:spcPts val="0"/>
              </a:spcAft>
              <a:buNone/>
              <a:defRPr b="0">
                <a:solidFill>
                  <a:schemeClr val="bg2"/>
                </a:solidFill>
              </a:defRPr>
            </a:lvl1pPr>
          </a:lstStyle>
          <a:p>
            <a:r>
              <a:rPr lang="en-US" dirty="0"/>
              <a:t>Drag image onto slide to add photo</a:t>
            </a:r>
          </a:p>
        </p:txBody>
      </p:sp>
      <p:sp>
        <p:nvSpPr>
          <p:cNvPr id="500" name="Caption">
            <a:extLst>
              <a:ext uri="{FF2B5EF4-FFF2-40B4-BE49-F238E27FC236}">
                <a16:creationId xmlns:a16="http://schemas.microsoft.com/office/drawing/2014/main" id="{0430D3F5-0DA7-044B-A6F4-A7E78D2279FC}"/>
              </a:ext>
            </a:extLst>
          </p:cNvPr>
          <p:cNvSpPr>
            <a:spLocks noGrp="1"/>
          </p:cNvSpPr>
          <p:nvPr>
            <p:ph type="body" sz="quarter" idx="500" hasCustomPrompt="1"/>
          </p:nvPr>
        </p:nvSpPr>
        <p:spPr>
          <a:xfrm>
            <a:off x="8898023" y="5356376"/>
            <a:ext cx="3006112" cy="152349"/>
          </a:xfrm>
          <a:effectLst/>
        </p:spPr>
        <p:txBody>
          <a:bodyPr wrap="square" anchor="b">
            <a:spAutoFit/>
          </a:bodyPr>
          <a:lstStyle>
            <a:lvl1pPr marL="0" marR="0" indent="0" algn="r" defTabSz="914400" rtl="0" eaLnBrk="1" fontAlgn="auto" latinLnBrk="0" hangingPunct="1">
              <a:lnSpc>
                <a:spcPct val="90000"/>
              </a:lnSpc>
              <a:spcBef>
                <a:spcPts val="0"/>
              </a:spcBef>
              <a:spcAft>
                <a:spcPts val="0"/>
              </a:spcAft>
              <a:buClrTx/>
              <a:buSzTx/>
              <a:buFont typeface="Wingdings" pitchFamily="2" charset="2"/>
              <a:buNone/>
              <a:tabLst/>
              <a:defRPr sz="1100" b="0">
                <a:solidFill>
                  <a:schemeClr val="bg1"/>
                </a:solidFill>
                <a:effectLst/>
              </a:defRPr>
            </a:lvl1pPr>
            <a:lvl2pPr marL="0" indent="0" algn="r">
              <a:spcBef>
                <a:spcPts val="0"/>
              </a:spcBef>
              <a:spcAft>
                <a:spcPts val="0"/>
              </a:spcAft>
              <a:buFontTx/>
              <a:buNone/>
              <a:tabLst/>
              <a:defRPr sz="1100">
                <a:solidFill>
                  <a:schemeClr val="bg1"/>
                </a:solidFill>
              </a:defRPr>
            </a:lvl2pPr>
            <a:lvl3pPr marL="0" indent="0" algn="r">
              <a:spcBef>
                <a:spcPts val="0"/>
              </a:spcBef>
              <a:spcAft>
                <a:spcPts val="0"/>
              </a:spcAft>
              <a:buFontTx/>
              <a:buNone/>
              <a:tabLst/>
              <a:defRPr sz="1100">
                <a:solidFill>
                  <a:schemeClr val="bg1"/>
                </a:solidFill>
              </a:defRPr>
            </a:lvl3pPr>
            <a:lvl4pPr marL="0" indent="0" algn="r">
              <a:spcBef>
                <a:spcPts val="0"/>
              </a:spcBef>
              <a:spcAft>
                <a:spcPts val="0"/>
              </a:spcAft>
              <a:buFontTx/>
              <a:buNone/>
              <a:tabLst/>
              <a:defRPr sz="1100">
                <a:solidFill>
                  <a:schemeClr val="bg1"/>
                </a:solidFill>
              </a:defRPr>
            </a:lvl4pPr>
            <a:lvl5pPr marL="0" indent="0" algn="r">
              <a:spcBef>
                <a:spcPts val="0"/>
              </a:spcBef>
              <a:spcAft>
                <a:spcPts val="0"/>
              </a:spcAft>
              <a:buFontTx/>
              <a:buNone/>
              <a:tabLst/>
              <a:defRPr sz="1100">
                <a:solidFill>
                  <a:schemeClr val="bg1"/>
                </a:solidFill>
              </a:defRPr>
            </a:lvl5pPr>
            <a:lvl6pPr marL="0" indent="0" algn="r">
              <a:spcBef>
                <a:spcPts val="0"/>
              </a:spcBef>
              <a:spcAft>
                <a:spcPts val="0"/>
              </a:spcAft>
              <a:buFontTx/>
              <a:buNone/>
              <a:tabLst/>
              <a:defRPr sz="1100">
                <a:solidFill>
                  <a:schemeClr val="bg1"/>
                </a:solidFill>
              </a:defRPr>
            </a:lvl6pPr>
            <a:lvl7pPr marL="0" indent="0" algn="r">
              <a:spcBef>
                <a:spcPts val="0"/>
              </a:spcBef>
              <a:spcAft>
                <a:spcPts val="0"/>
              </a:spcAft>
              <a:buFontTx/>
              <a:buNone/>
              <a:tabLst/>
              <a:defRPr sz="1100">
                <a:solidFill>
                  <a:schemeClr val="bg1"/>
                </a:solidFill>
              </a:defRPr>
            </a:lvl7pPr>
            <a:lvl8pPr marL="0" indent="0" algn="r">
              <a:spcBef>
                <a:spcPts val="0"/>
              </a:spcBef>
              <a:spcAft>
                <a:spcPts val="0"/>
              </a:spcAft>
              <a:buFontTx/>
              <a:buNone/>
              <a:tabLst/>
              <a:defRPr sz="1100">
                <a:solidFill>
                  <a:schemeClr val="bg1"/>
                </a:solidFill>
              </a:defRPr>
            </a:lvl8pPr>
            <a:lvl9pPr marL="0" indent="0" algn="r">
              <a:spcBef>
                <a:spcPts val="0"/>
              </a:spcBef>
              <a:spcAft>
                <a:spcPts val="0"/>
              </a:spcAft>
              <a:buFontTx/>
              <a:buNone/>
              <a:tabLst/>
              <a:defRPr sz="1100">
                <a:solidFill>
                  <a:schemeClr val="bg1"/>
                </a:solidFill>
              </a:defRPr>
            </a:lvl9pPr>
          </a:lstStyle>
          <a:p>
            <a:pPr lvl="0"/>
            <a:r>
              <a:rPr lang="en-US" dirty="0"/>
              <a:t>Click to add photo caption</a:t>
            </a:r>
          </a:p>
        </p:txBody>
      </p:sp>
      <p:sp>
        <p:nvSpPr>
          <p:cNvPr id="16" name="Title 15">
            <a:extLst>
              <a:ext uri="{FF2B5EF4-FFF2-40B4-BE49-F238E27FC236}">
                <a16:creationId xmlns:a16="http://schemas.microsoft.com/office/drawing/2014/main" id="{56B2C3DE-0130-DA4D-94C6-482024DAAC1E}"/>
              </a:ext>
            </a:extLst>
          </p:cNvPr>
          <p:cNvSpPr>
            <a:spLocks noGrp="1"/>
          </p:cNvSpPr>
          <p:nvPr>
            <p:ph type="title" hasCustomPrompt="1"/>
          </p:nvPr>
        </p:nvSpPr>
        <p:spPr>
          <a:xfrm>
            <a:off x="1" y="1"/>
            <a:ext cx="8560516" cy="5696907"/>
          </a:xfrm>
          <a:custGeom>
            <a:avLst/>
            <a:gdLst>
              <a:gd name="connsiteX0" fmla="*/ 0 w 6420387"/>
              <a:gd name="connsiteY0" fmla="*/ 0 h 5696907"/>
              <a:gd name="connsiteX1" fmla="*/ 3716919 w 6420387"/>
              <a:gd name="connsiteY1" fmla="*/ 0 h 5696907"/>
              <a:gd name="connsiteX2" fmla="*/ 6420387 w 6420387"/>
              <a:gd name="connsiteY2" fmla="*/ 5696907 h 5696907"/>
              <a:gd name="connsiteX3" fmla="*/ 0 w 6420387"/>
              <a:gd name="connsiteY3" fmla="*/ 5696907 h 5696907"/>
            </a:gdLst>
            <a:ahLst/>
            <a:cxnLst>
              <a:cxn ang="0">
                <a:pos x="connsiteX0" y="connsiteY0"/>
              </a:cxn>
              <a:cxn ang="0">
                <a:pos x="connsiteX1" y="connsiteY1"/>
              </a:cxn>
              <a:cxn ang="0">
                <a:pos x="connsiteX2" y="connsiteY2"/>
              </a:cxn>
              <a:cxn ang="0">
                <a:pos x="connsiteX3" y="connsiteY3"/>
              </a:cxn>
            </a:cxnLst>
            <a:rect l="l" t="t" r="r" b="b"/>
            <a:pathLst>
              <a:path w="6420387" h="5696907">
                <a:moveTo>
                  <a:pt x="0" y="0"/>
                </a:moveTo>
                <a:lnTo>
                  <a:pt x="3716919" y="0"/>
                </a:lnTo>
                <a:lnTo>
                  <a:pt x="6420387" y="5696907"/>
                </a:lnTo>
                <a:lnTo>
                  <a:pt x="0" y="5696907"/>
                </a:lnTo>
                <a:close/>
              </a:path>
            </a:pathLst>
          </a:custGeom>
          <a:gradFill>
            <a:gsLst>
              <a:gs pos="0">
                <a:schemeClr val="accent1">
                  <a:alpha val="95000"/>
                </a:schemeClr>
              </a:gs>
              <a:gs pos="97000">
                <a:schemeClr val="accent1">
                  <a:alpha val="80000"/>
                </a:schemeClr>
              </a:gs>
            </a:gsLst>
            <a:lin ang="5400000" scaled="0"/>
          </a:gradFill>
        </p:spPr>
        <p:txBody>
          <a:bodyPr wrap="square" lIns="432000" rIns="1080000" bIns="360000" anchor="b">
            <a:noAutofit/>
          </a:bodyPr>
          <a:lstStyle>
            <a:lvl1pPr>
              <a:defRPr sz="3600">
                <a:solidFill>
                  <a:schemeClr val="bg1"/>
                </a:solidFill>
              </a:defRPr>
            </a:lvl1pPr>
          </a:lstStyle>
          <a:p>
            <a:pPr lvl="0"/>
            <a:r>
              <a:rPr lang="en-US" dirty="0"/>
              <a:t>Click to add presentation title. 3 lines max.</a:t>
            </a:r>
          </a:p>
        </p:txBody>
      </p:sp>
      <p:sp>
        <p:nvSpPr>
          <p:cNvPr id="3" name="Text Placeholder 2">
            <a:extLst>
              <a:ext uri="{FF2B5EF4-FFF2-40B4-BE49-F238E27FC236}">
                <a16:creationId xmlns:a16="http://schemas.microsoft.com/office/drawing/2014/main" id="{701F2488-D761-CD4C-9517-9EF654BF32FF}"/>
              </a:ext>
            </a:extLst>
          </p:cNvPr>
          <p:cNvSpPr>
            <a:spLocks noGrp="1"/>
          </p:cNvSpPr>
          <p:nvPr>
            <p:ph type="body" sz="quarter" idx="26" hasCustomPrompt="1"/>
          </p:nvPr>
        </p:nvSpPr>
        <p:spPr>
          <a:xfrm>
            <a:off x="601136" y="6061209"/>
            <a:ext cx="4417905"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dirty="0"/>
              <a:t>Click to add date (Month DD, YYYY)</a:t>
            </a:r>
          </a:p>
        </p:txBody>
      </p:sp>
      <p:grpSp>
        <p:nvGrpSpPr>
          <p:cNvPr id="14" name="Group 13">
            <a:extLst>
              <a:ext uri="{FF2B5EF4-FFF2-40B4-BE49-F238E27FC236}">
                <a16:creationId xmlns:a16="http://schemas.microsoft.com/office/drawing/2014/main" id="{A7A1D6F1-47B6-2D4F-A5EC-E7EA70685A9A}"/>
              </a:ext>
            </a:extLst>
          </p:cNvPr>
          <p:cNvGrpSpPr/>
          <p:nvPr userDrawn="1"/>
        </p:nvGrpSpPr>
        <p:grpSpPr>
          <a:xfrm>
            <a:off x="-342618" y="3892184"/>
            <a:ext cx="335281" cy="1365066"/>
            <a:chOff x="-256404" y="360363"/>
            <a:chExt cx="251461" cy="692152"/>
          </a:xfrm>
        </p:grpSpPr>
        <p:grpSp>
          <p:nvGrpSpPr>
            <p:cNvPr id="15" name="Group 14">
              <a:extLst>
                <a:ext uri="{FF2B5EF4-FFF2-40B4-BE49-F238E27FC236}">
                  <a16:creationId xmlns:a16="http://schemas.microsoft.com/office/drawing/2014/main" id="{5D298027-A0B6-0B47-9F3C-4771F8511D99}"/>
                </a:ext>
              </a:extLst>
            </p:cNvPr>
            <p:cNvGrpSpPr/>
            <p:nvPr userDrawn="1"/>
          </p:nvGrpSpPr>
          <p:grpSpPr>
            <a:xfrm rot="16200000">
              <a:off x="-476749" y="580708"/>
              <a:ext cx="692152" cy="251461"/>
              <a:chOff x="431800" y="-235792"/>
              <a:chExt cx="4400551" cy="235792"/>
            </a:xfrm>
          </p:grpSpPr>
          <p:cxnSp>
            <p:nvCxnSpPr>
              <p:cNvPr id="18" name="Straight Connector 17">
                <a:extLst>
                  <a:ext uri="{FF2B5EF4-FFF2-40B4-BE49-F238E27FC236}">
                    <a16:creationId xmlns:a16="http://schemas.microsoft.com/office/drawing/2014/main" id="{EE244243-B24F-614B-B0DC-CA05EF17A1C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1216D1E7-03CD-BD4D-886C-ACE79F5FBD23}"/>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0" name="Rectangle 19">
                <a:extLst>
                  <a:ext uri="{FF2B5EF4-FFF2-40B4-BE49-F238E27FC236}">
                    <a16:creationId xmlns:a16="http://schemas.microsoft.com/office/drawing/2014/main" id="{74B3AD39-0D61-0F4F-86A5-31F8A0FBDC80}"/>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17" name="TextBox 16">
              <a:extLst>
                <a:ext uri="{FF2B5EF4-FFF2-40B4-BE49-F238E27FC236}">
                  <a16:creationId xmlns:a16="http://schemas.microsoft.com/office/drawing/2014/main" id="{4D333CAE-7C17-5742-987D-8F3FF786584C}"/>
                </a:ext>
              </a:extLst>
            </p:cNvPr>
            <p:cNvSpPr txBox="1"/>
            <p:nvPr userDrawn="1"/>
          </p:nvSpPr>
          <p:spPr>
            <a:xfrm rot="16200000">
              <a:off x="-192445" y="662666"/>
              <a:ext cx="123545" cy="8079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24" name="Group 23">
            <a:extLst>
              <a:ext uri="{FF2B5EF4-FFF2-40B4-BE49-F238E27FC236}">
                <a16:creationId xmlns:a16="http://schemas.microsoft.com/office/drawing/2014/main" id="{1CA0517E-4F60-ED4F-804A-16FA757BDA91}"/>
              </a:ext>
            </a:extLst>
          </p:cNvPr>
          <p:cNvGrpSpPr/>
          <p:nvPr userDrawn="1"/>
        </p:nvGrpSpPr>
        <p:grpSpPr>
          <a:xfrm>
            <a:off x="-342618" y="6029561"/>
            <a:ext cx="335281" cy="414972"/>
            <a:chOff x="-256404" y="360363"/>
            <a:chExt cx="251461" cy="692152"/>
          </a:xfrm>
        </p:grpSpPr>
        <p:grpSp>
          <p:nvGrpSpPr>
            <p:cNvPr id="25" name="Group 24">
              <a:extLst>
                <a:ext uri="{FF2B5EF4-FFF2-40B4-BE49-F238E27FC236}">
                  <a16:creationId xmlns:a16="http://schemas.microsoft.com/office/drawing/2014/main" id="{31CA14E0-B2B8-6547-B2FF-02D6D0D2AA28}"/>
                </a:ext>
              </a:extLst>
            </p:cNvPr>
            <p:cNvGrpSpPr/>
            <p:nvPr userDrawn="1"/>
          </p:nvGrpSpPr>
          <p:grpSpPr>
            <a:xfrm rot="16200000">
              <a:off x="-476749" y="580708"/>
              <a:ext cx="692152" cy="251461"/>
              <a:chOff x="431800" y="-235792"/>
              <a:chExt cx="4400551" cy="235792"/>
            </a:xfrm>
          </p:grpSpPr>
          <p:cxnSp>
            <p:nvCxnSpPr>
              <p:cNvPr id="27" name="Straight Connector 26">
                <a:extLst>
                  <a:ext uri="{FF2B5EF4-FFF2-40B4-BE49-F238E27FC236}">
                    <a16:creationId xmlns:a16="http://schemas.microsoft.com/office/drawing/2014/main" id="{E17766C4-7F63-E341-9DD3-A8015F5B87B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5CEC5FE-E83E-6344-A543-7C48E4E5807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A81F2A08-CD7A-9F40-9BAD-6D3B470AEF55}"/>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26" name="TextBox 25">
              <a:extLst>
                <a:ext uri="{FF2B5EF4-FFF2-40B4-BE49-F238E27FC236}">
                  <a16:creationId xmlns:a16="http://schemas.microsoft.com/office/drawing/2014/main" id="{A3586E52-67F0-F147-887F-B29479026788}"/>
                </a:ext>
              </a:extLst>
            </p:cNvPr>
            <p:cNvSpPr txBox="1"/>
            <p:nvPr userDrawn="1"/>
          </p:nvSpPr>
          <p:spPr>
            <a:xfrm rot="16200000">
              <a:off x="-328529" y="662664"/>
              <a:ext cx="395711" cy="8079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grpSp>
        <p:nvGrpSpPr>
          <p:cNvPr id="49" name="Group 48">
            <a:extLst>
              <a:ext uri="{FF2B5EF4-FFF2-40B4-BE49-F238E27FC236}">
                <a16:creationId xmlns:a16="http://schemas.microsoft.com/office/drawing/2014/main" id="{A0324618-DAA0-AA4B-9D19-4C5917E6AD17}"/>
              </a:ext>
            </a:extLst>
          </p:cNvPr>
          <p:cNvGrpSpPr/>
          <p:nvPr userDrawn="1"/>
        </p:nvGrpSpPr>
        <p:grpSpPr>
          <a:xfrm>
            <a:off x="574987" y="-246933"/>
            <a:ext cx="11040535" cy="7347304"/>
            <a:chOff x="431240" y="-246933"/>
            <a:chExt cx="8280401" cy="7347304"/>
          </a:xfrm>
        </p:grpSpPr>
        <p:grpSp>
          <p:nvGrpSpPr>
            <p:cNvPr id="50" name="Group 49">
              <a:extLst>
                <a:ext uri="{FF2B5EF4-FFF2-40B4-BE49-F238E27FC236}">
                  <a16:creationId xmlns:a16="http://schemas.microsoft.com/office/drawing/2014/main" id="{A17378CA-6F0B-E244-B593-14A0519D7B3D}"/>
                </a:ext>
              </a:extLst>
            </p:cNvPr>
            <p:cNvGrpSpPr/>
            <p:nvPr userDrawn="1"/>
          </p:nvGrpSpPr>
          <p:grpSpPr>
            <a:xfrm>
              <a:off x="431242" y="6864579"/>
              <a:ext cx="8280398" cy="235792"/>
              <a:chOff x="431801" y="-235792"/>
              <a:chExt cx="4400550" cy="235792"/>
            </a:xfrm>
          </p:grpSpPr>
          <p:cxnSp>
            <p:nvCxnSpPr>
              <p:cNvPr id="59" name="Straight Connector 58">
                <a:extLst>
                  <a:ext uri="{FF2B5EF4-FFF2-40B4-BE49-F238E27FC236}">
                    <a16:creationId xmlns:a16="http://schemas.microsoft.com/office/drawing/2014/main" id="{E9011C3D-7CD8-0344-B7A8-5EB8BA672D6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6C90CBB9-252D-2F47-ABB4-4CDD951CEF5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51" name="Group 50">
              <a:extLst>
                <a:ext uri="{FF2B5EF4-FFF2-40B4-BE49-F238E27FC236}">
                  <a16:creationId xmlns:a16="http://schemas.microsoft.com/office/drawing/2014/main" id="{4161E6EE-AF2E-7A45-9726-9A3046CE8F16}"/>
                </a:ext>
              </a:extLst>
            </p:cNvPr>
            <p:cNvGrpSpPr/>
            <p:nvPr userDrawn="1"/>
          </p:nvGrpSpPr>
          <p:grpSpPr>
            <a:xfrm>
              <a:off x="431240" y="-246933"/>
              <a:ext cx="8280401" cy="235792"/>
              <a:chOff x="431800" y="-240735"/>
              <a:chExt cx="8280401" cy="235792"/>
            </a:xfrm>
          </p:grpSpPr>
          <p:grpSp>
            <p:nvGrpSpPr>
              <p:cNvPr id="52" name="Group 51">
                <a:extLst>
                  <a:ext uri="{FF2B5EF4-FFF2-40B4-BE49-F238E27FC236}">
                    <a16:creationId xmlns:a16="http://schemas.microsoft.com/office/drawing/2014/main" id="{673DA8D4-7F8C-D740-A4BF-88AF1D076647}"/>
                  </a:ext>
                </a:extLst>
              </p:cNvPr>
              <p:cNvGrpSpPr/>
              <p:nvPr userDrawn="1"/>
            </p:nvGrpSpPr>
            <p:grpSpPr>
              <a:xfrm>
                <a:off x="431800" y="-240735"/>
                <a:ext cx="8280400" cy="235792"/>
                <a:chOff x="431800" y="-235792"/>
                <a:chExt cx="4400551" cy="235792"/>
              </a:xfrm>
            </p:grpSpPr>
            <p:cxnSp>
              <p:nvCxnSpPr>
                <p:cNvPr id="56" name="Straight Connector 55">
                  <a:extLst>
                    <a:ext uri="{FF2B5EF4-FFF2-40B4-BE49-F238E27FC236}">
                      <a16:creationId xmlns:a16="http://schemas.microsoft.com/office/drawing/2014/main" id="{19655BBE-3B94-894C-82E3-F6F935353752}"/>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id="{AE3B2248-F4F9-F64D-8490-2B442A6B8C4E}"/>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58" name="Rectangle 57">
                  <a:extLst>
                    <a:ext uri="{FF2B5EF4-FFF2-40B4-BE49-F238E27FC236}">
                      <a16:creationId xmlns:a16="http://schemas.microsoft.com/office/drawing/2014/main" id="{7D6A647D-1D6F-6C47-83BD-17138A36B786}"/>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53" name="TextBox 52">
                <a:extLst>
                  <a:ext uri="{FF2B5EF4-FFF2-40B4-BE49-F238E27FC236}">
                    <a16:creationId xmlns:a16="http://schemas.microsoft.com/office/drawing/2014/main" id="{C139F0AA-BA6B-2B4E-A000-2FCE687878ED}"/>
                  </a:ext>
                </a:extLst>
              </p:cNvPr>
              <p:cNvSpPr txBox="1"/>
              <p:nvPr userDrawn="1"/>
            </p:nvSpPr>
            <p:spPr>
              <a:xfrm>
                <a:off x="3914336" y="-176700"/>
                <a:ext cx="1315339"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54" name="Straight Arrow Connector 53">
                <a:extLst>
                  <a:ext uri="{FF2B5EF4-FFF2-40B4-BE49-F238E27FC236}">
                    <a16:creationId xmlns:a16="http://schemas.microsoft.com/office/drawing/2014/main" id="{EE164B6B-5105-8441-900A-B3B9CD49AC3C}"/>
                  </a:ext>
                </a:extLst>
              </p:cNvPr>
              <p:cNvCxnSpPr>
                <a:cxnSpLocks/>
                <a:stCxn id="53" idx="1"/>
                <a:endCxn id="58" idx="2"/>
              </p:cNvCxnSpPr>
              <p:nvPr userDrawn="1"/>
            </p:nvCxnSpPr>
            <p:spPr>
              <a:xfrm flipH="1">
                <a:off x="431801" y="-122839"/>
                <a:ext cx="3482535"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55" name="Straight Arrow Connector 54">
                <a:extLst>
                  <a:ext uri="{FF2B5EF4-FFF2-40B4-BE49-F238E27FC236}">
                    <a16:creationId xmlns:a16="http://schemas.microsoft.com/office/drawing/2014/main" id="{7A3DB2F7-3663-414A-8C28-BF0153DC91B2}"/>
                  </a:ext>
                </a:extLst>
              </p:cNvPr>
              <p:cNvCxnSpPr>
                <a:cxnSpLocks/>
                <a:stCxn id="53" idx="3"/>
                <a:endCxn id="58" idx="0"/>
              </p:cNvCxnSpPr>
              <p:nvPr userDrawn="1"/>
            </p:nvCxnSpPr>
            <p:spPr>
              <a:xfrm flipV="1">
                <a:off x="5229674" y="-122840"/>
                <a:ext cx="3482527"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61" name="Group 60">
            <a:extLst>
              <a:ext uri="{FF2B5EF4-FFF2-40B4-BE49-F238E27FC236}">
                <a16:creationId xmlns:a16="http://schemas.microsoft.com/office/drawing/2014/main" id="{90B4BF76-26CB-DD42-95F3-0856CB26B760}"/>
              </a:ext>
            </a:extLst>
          </p:cNvPr>
          <p:cNvGrpSpPr/>
          <p:nvPr userDrawn="1"/>
        </p:nvGrpSpPr>
        <p:grpSpPr>
          <a:xfrm>
            <a:off x="12532243" y="-1"/>
            <a:ext cx="3832280" cy="6858001"/>
            <a:chOff x="9144000" y="-1"/>
            <a:chExt cx="2874210" cy="6858001"/>
          </a:xfrm>
        </p:grpSpPr>
        <p:sp>
          <p:nvSpPr>
            <p:cNvPr id="62" name="Rectangle 61">
              <a:extLst>
                <a:ext uri="{FF2B5EF4-FFF2-40B4-BE49-F238E27FC236}">
                  <a16:creationId xmlns:a16="http://schemas.microsoft.com/office/drawing/2014/main" id="{DDFBC44C-C784-D741-8FC2-D2844A5E3CAB}"/>
                </a:ext>
              </a:extLst>
            </p:cNvPr>
            <p:cNvSpPr/>
            <p:nvPr userDrawn="1"/>
          </p:nvSpPr>
          <p:spPr>
            <a:xfrm>
              <a:off x="9144000" y="-1"/>
              <a:ext cx="2798651" cy="6858001"/>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sz="1800"/>
            </a:p>
          </p:txBody>
        </p:sp>
        <p:grpSp>
          <p:nvGrpSpPr>
            <p:cNvPr id="63" name="Group 62">
              <a:extLst>
                <a:ext uri="{FF2B5EF4-FFF2-40B4-BE49-F238E27FC236}">
                  <a16:creationId xmlns:a16="http://schemas.microsoft.com/office/drawing/2014/main" id="{1D13472D-5526-2341-8CE3-0D35914DC533}"/>
                </a:ext>
              </a:extLst>
            </p:cNvPr>
            <p:cNvGrpSpPr/>
            <p:nvPr userDrawn="1"/>
          </p:nvGrpSpPr>
          <p:grpSpPr>
            <a:xfrm>
              <a:off x="9263395" y="150289"/>
              <a:ext cx="2754815" cy="6013825"/>
              <a:chOff x="9266651" y="185338"/>
              <a:chExt cx="2754815" cy="6013825"/>
            </a:xfrm>
          </p:grpSpPr>
          <p:sp>
            <p:nvSpPr>
              <p:cNvPr id="64" name="TextBox 63">
                <a:extLst>
                  <a:ext uri="{FF2B5EF4-FFF2-40B4-BE49-F238E27FC236}">
                    <a16:creationId xmlns:a16="http://schemas.microsoft.com/office/drawing/2014/main" id="{F12870B0-E29F-4A42-B891-72FD7A246DFC}"/>
                  </a:ext>
                </a:extLst>
              </p:cNvPr>
              <p:cNvSpPr txBox="1"/>
              <p:nvPr userDrawn="1"/>
            </p:nvSpPr>
            <p:spPr>
              <a:xfrm>
                <a:off x="9303325" y="185338"/>
                <a:ext cx="1233511" cy="169277"/>
              </a:xfrm>
              <a:prstGeom prst="rect">
                <a:avLst/>
              </a:prstGeom>
            </p:spPr>
            <p:txBody>
              <a:bodyPr vert="horz" wrap="none" lIns="0" tIns="0" rIns="0" bIns="0" rtlCol="0" anchor="t">
                <a:spAutoFit/>
              </a:bodyPr>
              <a:lstStyle>
                <a:defPPr>
                  <a:defRPr lang="en-US"/>
                </a:defPPr>
                <a:lvl1pPr>
                  <a:defRPr sz="1100">
                    <a:solidFill>
                      <a:schemeClr val="accent2"/>
                    </a:solidFill>
                    <a:latin typeface="Arial" charset="0"/>
                    <a:ea typeface="Arial" charset="0"/>
                    <a:cs typeface="Arial" charset="0"/>
                  </a:defRPr>
                </a:lvl1pPr>
              </a:lstStyle>
              <a:p>
                <a:pPr lvl="0"/>
                <a:r>
                  <a:rPr lang="en-US" sz="1100" dirty="0">
                    <a:solidFill>
                      <a:schemeClr val="bg1"/>
                    </a:solidFill>
                  </a:rPr>
                  <a:t>HOW TO ADD AN IMAGE</a:t>
                </a:r>
              </a:p>
            </p:txBody>
          </p:sp>
          <p:cxnSp>
            <p:nvCxnSpPr>
              <p:cNvPr id="71" name="Straight Connector 70">
                <a:extLst>
                  <a:ext uri="{FF2B5EF4-FFF2-40B4-BE49-F238E27FC236}">
                    <a16:creationId xmlns:a16="http://schemas.microsoft.com/office/drawing/2014/main" id="{02FDC427-491B-374C-8023-8DFAE108CCDF}"/>
                  </a:ext>
                </a:extLst>
              </p:cNvPr>
              <p:cNvCxnSpPr>
                <a:cxnSpLocks/>
              </p:cNvCxnSpPr>
              <p:nvPr userDrawn="1"/>
            </p:nvCxnSpPr>
            <p:spPr>
              <a:xfrm>
                <a:off x="9303325" y="387955"/>
                <a:ext cx="2639328" cy="0"/>
              </a:xfrm>
              <a:prstGeom prst="line">
                <a:avLst/>
              </a:prstGeom>
              <a:ln w="19050">
                <a:solidFill>
                  <a:schemeClr val="bg1">
                    <a:lumMod val="85000"/>
                  </a:schemeClr>
                </a:solidFill>
              </a:ln>
            </p:spPr>
            <p:style>
              <a:lnRef idx="1">
                <a:schemeClr val="accent1"/>
              </a:lnRef>
              <a:fillRef idx="0">
                <a:schemeClr val="accent1"/>
              </a:fillRef>
              <a:effectRef idx="0">
                <a:schemeClr val="accent1"/>
              </a:effectRef>
              <a:fontRef idx="minor">
                <a:schemeClr val="tx1"/>
              </a:fontRef>
            </p:style>
          </p:cxnSp>
          <p:sp>
            <p:nvSpPr>
              <p:cNvPr id="87" name="TextBox 86">
                <a:extLst>
                  <a:ext uri="{FF2B5EF4-FFF2-40B4-BE49-F238E27FC236}">
                    <a16:creationId xmlns:a16="http://schemas.microsoft.com/office/drawing/2014/main" id="{DED24FC4-94EA-E64A-8136-B042701F250C}"/>
                  </a:ext>
                </a:extLst>
              </p:cNvPr>
              <p:cNvSpPr txBox="1"/>
              <p:nvPr userDrawn="1"/>
            </p:nvSpPr>
            <p:spPr>
              <a:xfrm>
                <a:off x="9431244" y="1246265"/>
                <a:ext cx="2297338" cy="276229"/>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b="1" dirty="0"/>
                  <a:t>Method 1: </a:t>
                </a:r>
                <a:r>
                  <a:rPr lang="en-US" sz="600" b="0" dirty="0"/>
                  <a:t>from file browser</a:t>
                </a:r>
              </a:p>
              <a:p>
                <a:pPr lvl="1">
                  <a:buNone/>
                </a:pPr>
                <a:r>
                  <a:rPr lang="en-US" sz="1050" dirty="0"/>
                  <a:t>Drag the image onto the slide.</a:t>
                </a:r>
              </a:p>
            </p:txBody>
          </p:sp>
          <p:grpSp>
            <p:nvGrpSpPr>
              <p:cNvPr id="94" name="Group 93">
                <a:extLst>
                  <a:ext uri="{FF2B5EF4-FFF2-40B4-BE49-F238E27FC236}">
                    <a16:creationId xmlns:a16="http://schemas.microsoft.com/office/drawing/2014/main" id="{68E1B116-B1A8-2941-86BC-B04EAE58ACB1}"/>
                  </a:ext>
                </a:extLst>
              </p:cNvPr>
              <p:cNvGrpSpPr/>
              <p:nvPr userDrawn="1"/>
            </p:nvGrpSpPr>
            <p:grpSpPr>
              <a:xfrm>
                <a:off x="9286315" y="4787848"/>
                <a:ext cx="2735151" cy="1411315"/>
                <a:chOff x="9296567" y="4910411"/>
                <a:chExt cx="2735151" cy="1411315"/>
              </a:xfrm>
            </p:grpSpPr>
            <p:sp>
              <p:nvSpPr>
                <p:cNvPr id="109" name="Rectangle 108">
                  <a:extLst>
                    <a:ext uri="{FF2B5EF4-FFF2-40B4-BE49-F238E27FC236}">
                      <a16:creationId xmlns:a16="http://schemas.microsoft.com/office/drawing/2014/main" id="{6537BD58-CBB5-7F41-82A2-9C59DD1ECC9B}"/>
                    </a:ext>
                  </a:extLst>
                </p:cNvPr>
                <p:cNvSpPr/>
                <p:nvPr userDrawn="1"/>
              </p:nvSpPr>
              <p:spPr>
                <a:xfrm>
                  <a:off x="9296567" y="4910411"/>
                  <a:ext cx="2735151" cy="1411315"/>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0" name="TextBox 109">
                  <a:extLst>
                    <a:ext uri="{FF2B5EF4-FFF2-40B4-BE49-F238E27FC236}">
                      <a16:creationId xmlns:a16="http://schemas.microsoft.com/office/drawing/2014/main" id="{024B268F-6F8C-AA41-8AA3-0A1E8AA1D2C3}"/>
                    </a:ext>
                  </a:extLst>
                </p:cNvPr>
                <p:cNvSpPr txBox="1"/>
                <p:nvPr userDrawn="1"/>
              </p:nvSpPr>
              <p:spPr>
                <a:xfrm>
                  <a:off x="9662758" y="5039211"/>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hange Image</a:t>
                  </a:r>
                </a:p>
              </p:txBody>
            </p:sp>
            <p:pic>
              <p:nvPicPr>
                <p:cNvPr id="111" name="Graphic 110">
                  <a:extLst>
                    <a:ext uri="{FF2B5EF4-FFF2-40B4-BE49-F238E27FC236}">
                      <a16:creationId xmlns:a16="http://schemas.microsoft.com/office/drawing/2014/main" id="{DEF9DC04-8A49-834C-AA26-47113075C4C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56790" y="5049494"/>
                  <a:ext cx="155227" cy="155227"/>
                </a:xfrm>
                <a:prstGeom prst="rect">
                  <a:avLst/>
                </a:prstGeom>
              </p:spPr>
            </p:pic>
            <p:sp>
              <p:nvSpPr>
                <p:cNvPr id="112" name="TextBox 111">
                  <a:extLst>
                    <a:ext uri="{FF2B5EF4-FFF2-40B4-BE49-F238E27FC236}">
                      <a16:creationId xmlns:a16="http://schemas.microsoft.com/office/drawing/2014/main" id="{80748D19-55BA-2B4E-BFA4-0FB8976B8E5C}"/>
                    </a:ext>
                  </a:extLst>
                </p:cNvPr>
                <p:cNvSpPr txBox="1"/>
                <p:nvPr userDrawn="1"/>
              </p:nvSpPr>
              <p:spPr>
                <a:xfrm>
                  <a:off x="9471805" y="5619194"/>
                  <a:ext cx="2422981" cy="373949"/>
                </a:xfrm>
                <a:prstGeom prst="rect">
                  <a:avLst/>
                </a:prstGeom>
              </p:spPr>
              <p:txBody>
                <a:bodyPr vert="horz" wrap="square" lIns="0" tIns="0" rIns="0" bIns="0" rtlCol="0" anchor="t">
                  <a:spAutoFit/>
                </a:bodyPr>
                <a:lstStyle/>
                <a:p>
                  <a:pPr marL="134938" lvl="1" indent="-131763" algn="l" defTabSz="914400" rtl="0" eaLnBrk="1" latinLnBrk="0" hangingPunct="1">
                    <a:lnSpc>
                      <a:spcPct val="90000"/>
                    </a:lnSpc>
                    <a:spcBef>
                      <a:spcPts val="0"/>
                    </a:spcBef>
                    <a:spcAft>
                      <a:spcPts val="300"/>
                    </a:spcAft>
                    <a:buFont typeface="Wingdings" pitchFamily="2" charset="2"/>
                    <a:buChar char="§"/>
                    <a:tabLst/>
                    <a:defRPr/>
                  </a:pPr>
                  <a:r>
                    <a:rPr lang="en-US" sz="900" kern="1200" dirty="0">
                      <a:solidFill>
                        <a:schemeClr val="tx1">
                          <a:lumMod val="50000"/>
                          <a:lumOff val="50000"/>
                        </a:schemeClr>
                      </a:solidFill>
                      <a:latin typeface="Arial" charset="0"/>
                      <a:ea typeface="Arial" charset="0"/>
                      <a:cs typeface="Arial" charset="0"/>
                    </a:rPr>
                    <a:t>Deleting the image may bring the image placeholder to the top layer. Right-click on the placeholder and choose “Send to Back”.</a:t>
                  </a:r>
                </a:p>
              </p:txBody>
            </p:sp>
            <p:sp>
              <p:nvSpPr>
                <p:cNvPr id="113" name="TextBox 112">
                  <a:extLst>
                    <a:ext uri="{FF2B5EF4-FFF2-40B4-BE49-F238E27FC236}">
                      <a16:creationId xmlns:a16="http://schemas.microsoft.com/office/drawing/2014/main" id="{7567C1EC-FF55-6347-9457-1757BD693A38}"/>
                    </a:ext>
                  </a:extLst>
                </p:cNvPr>
                <p:cNvSpPr txBox="1"/>
                <p:nvPr userDrawn="1"/>
              </p:nvSpPr>
              <p:spPr>
                <a:xfrm>
                  <a:off x="9471805" y="5300350"/>
                  <a:ext cx="2422981" cy="2769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First, delete the existing image to reset the photo placeholder functionality.</a:t>
                  </a:r>
                </a:p>
              </p:txBody>
            </p:sp>
            <p:sp>
              <p:nvSpPr>
                <p:cNvPr id="114" name="TextBox 113">
                  <a:extLst>
                    <a:ext uri="{FF2B5EF4-FFF2-40B4-BE49-F238E27FC236}">
                      <a16:creationId xmlns:a16="http://schemas.microsoft.com/office/drawing/2014/main" id="{9CF6FC20-54A1-454F-9632-6A6B5E03EE28}"/>
                    </a:ext>
                  </a:extLst>
                </p:cNvPr>
                <p:cNvSpPr txBox="1"/>
                <p:nvPr userDrawn="1"/>
              </p:nvSpPr>
              <p:spPr>
                <a:xfrm>
                  <a:off x="9471805" y="6068871"/>
                  <a:ext cx="2422981" cy="138499"/>
                </a:xfrm>
                <a:prstGeom prst="rect">
                  <a:avLst/>
                </a:prstGeom>
              </p:spPr>
              <p:txBody>
                <a:bodyPr vert="horz" wrap="square" lIns="0" tIns="0" rIns="0" bIns="0" rtlCol="0" anchor="t">
                  <a:spAutoFit/>
                </a:bodyPr>
                <a:lstStyle/>
                <a:p>
                  <a:pPr marL="0" algn="l" defTabSz="914400" rtl="0" eaLnBrk="1" latinLnBrk="0" hangingPunct="1">
                    <a:spcBef>
                      <a:spcPts val="200"/>
                    </a:spcBef>
                  </a:pPr>
                  <a:r>
                    <a:rPr lang="en-US" sz="900" kern="1200" dirty="0">
                      <a:solidFill>
                        <a:schemeClr val="tx1">
                          <a:lumMod val="50000"/>
                          <a:lumOff val="50000"/>
                        </a:schemeClr>
                      </a:solidFill>
                      <a:latin typeface="Arial" charset="0"/>
                      <a:ea typeface="Arial" charset="0"/>
                      <a:cs typeface="Arial" charset="0"/>
                    </a:rPr>
                    <a:t>You can now add a new image as normal.</a:t>
                  </a:r>
                </a:p>
              </p:txBody>
            </p:sp>
          </p:grpSp>
          <p:grpSp>
            <p:nvGrpSpPr>
              <p:cNvPr id="95" name="Group 94">
                <a:extLst>
                  <a:ext uri="{FF2B5EF4-FFF2-40B4-BE49-F238E27FC236}">
                    <a16:creationId xmlns:a16="http://schemas.microsoft.com/office/drawing/2014/main" id="{9EE783D9-2C22-A54E-AB84-273433871D1C}"/>
                  </a:ext>
                </a:extLst>
              </p:cNvPr>
              <p:cNvGrpSpPr/>
              <p:nvPr userDrawn="1"/>
            </p:nvGrpSpPr>
            <p:grpSpPr>
              <a:xfrm>
                <a:off x="9286315" y="3431192"/>
                <a:ext cx="2735151" cy="1280928"/>
                <a:chOff x="9286315" y="6976989"/>
                <a:chExt cx="2735151" cy="1280928"/>
              </a:xfrm>
            </p:grpSpPr>
            <p:sp>
              <p:nvSpPr>
                <p:cNvPr id="104" name="Rectangle 103">
                  <a:extLst>
                    <a:ext uri="{FF2B5EF4-FFF2-40B4-BE49-F238E27FC236}">
                      <a16:creationId xmlns:a16="http://schemas.microsoft.com/office/drawing/2014/main" id="{D7552A1D-16DF-ED43-B2B8-3427B3C8781C}"/>
                    </a:ext>
                  </a:extLst>
                </p:cNvPr>
                <p:cNvSpPr/>
                <p:nvPr userDrawn="1"/>
              </p:nvSpPr>
              <p:spPr>
                <a:xfrm>
                  <a:off x="9286315" y="6976989"/>
                  <a:ext cx="2735151" cy="1280928"/>
                </a:xfrm>
                <a:prstGeom prst="rect">
                  <a:avLst/>
                </a:prstGeom>
                <a:solidFill>
                  <a:schemeClr val="bg1"/>
                </a:solidFill>
                <a:ln w="25400">
                  <a:solidFill>
                    <a:schemeClr val="tx1">
                      <a:lumMod val="65000"/>
                      <a:lumOff val="3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5" name="TextBox 104">
                  <a:extLst>
                    <a:ext uri="{FF2B5EF4-FFF2-40B4-BE49-F238E27FC236}">
                      <a16:creationId xmlns:a16="http://schemas.microsoft.com/office/drawing/2014/main" id="{104B3E05-A7DF-D444-AF59-6E11D17D4788}"/>
                    </a:ext>
                  </a:extLst>
                </p:cNvPr>
                <p:cNvSpPr txBox="1"/>
                <p:nvPr userDrawn="1"/>
              </p:nvSpPr>
              <p:spPr>
                <a:xfrm>
                  <a:off x="9652506" y="7105788"/>
                  <a:ext cx="2368960" cy="169277"/>
                </a:xfrm>
                <a:prstGeom prst="rect">
                  <a:avLst/>
                </a:prstGeom>
              </p:spPr>
              <p:txBody>
                <a:bodyPr vert="horz" wrap="square" lIns="0" tIns="0" rIns="0" bIns="0" rtlCol="0" anchor="t">
                  <a:spAutoFit/>
                </a:bodyPr>
                <a:lstStyle/>
                <a:p>
                  <a:pPr algn="l"/>
                  <a:r>
                    <a:rPr lang="en-US" sz="1100" dirty="0">
                      <a:solidFill>
                        <a:schemeClr val="accent2"/>
                      </a:solidFill>
                      <a:latin typeface="Arial" charset="0"/>
                      <a:ea typeface="Arial" charset="0"/>
                      <a:cs typeface="Arial" charset="0"/>
                    </a:rPr>
                    <a:t>TIP: Crop Image</a:t>
                  </a:r>
                </a:p>
              </p:txBody>
            </p:sp>
            <p:pic>
              <p:nvPicPr>
                <p:cNvPr id="106" name="Graphic 105">
                  <a:extLst>
                    <a:ext uri="{FF2B5EF4-FFF2-40B4-BE49-F238E27FC236}">
                      <a16:creationId xmlns:a16="http://schemas.microsoft.com/office/drawing/2014/main" id="{931F958A-80B4-7143-AB27-6F74DF73F529}"/>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9446538" y="7116071"/>
                  <a:ext cx="155227" cy="155227"/>
                </a:xfrm>
                <a:prstGeom prst="rect">
                  <a:avLst/>
                </a:prstGeom>
              </p:spPr>
            </p:pic>
            <p:sp>
              <p:nvSpPr>
                <p:cNvPr id="107" name="TextBox 106">
                  <a:extLst>
                    <a:ext uri="{FF2B5EF4-FFF2-40B4-BE49-F238E27FC236}">
                      <a16:creationId xmlns:a16="http://schemas.microsoft.com/office/drawing/2014/main" id="{562857C1-DA49-9C40-876C-CE3E7A60A30D}"/>
                    </a:ext>
                  </a:extLst>
                </p:cNvPr>
                <p:cNvSpPr txBox="1"/>
                <p:nvPr userDrawn="1"/>
              </p:nvSpPr>
              <p:spPr>
                <a:xfrm>
                  <a:off x="9446538" y="7369972"/>
                  <a:ext cx="2384904" cy="738664"/>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1">
                    <a:defRPr/>
                  </a:pPr>
                  <a:r>
                    <a:rPr lang="en-US" sz="900" kern="1200" dirty="0">
                      <a:solidFill>
                        <a:schemeClr val="tx1">
                          <a:lumMod val="50000"/>
                          <a:lumOff val="50000"/>
                        </a:schemeClr>
                      </a:solidFill>
                      <a:latin typeface="Arial" charset="0"/>
                      <a:cs typeface="Arial" charset="0"/>
                    </a:rPr>
                    <a:t>Right-click on the image.</a:t>
                  </a:r>
                </a:p>
                <a:p>
                  <a:pPr lvl="1">
                    <a:defRPr/>
                  </a:pPr>
                  <a:r>
                    <a:rPr lang="en-US" sz="900" kern="1200" dirty="0">
                      <a:solidFill>
                        <a:schemeClr val="tx1">
                          <a:lumMod val="50000"/>
                          <a:lumOff val="50000"/>
                        </a:schemeClr>
                      </a:solidFill>
                      <a:latin typeface="Arial" charset="0"/>
                      <a:cs typeface="Arial" charset="0"/>
                    </a:rPr>
                    <a:t>Choose “Crop” from the menu. (       )</a:t>
                  </a:r>
                </a:p>
                <a:p>
                  <a:pPr lvl="1">
                    <a:defRPr/>
                  </a:pPr>
                  <a:r>
                    <a:rPr lang="en-US" sz="900" kern="1200" dirty="0">
                      <a:solidFill>
                        <a:schemeClr val="tx1">
                          <a:lumMod val="50000"/>
                          <a:lumOff val="50000"/>
                        </a:schemeClr>
                      </a:solidFill>
                      <a:latin typeface="Arial" charset="0"/>
                      <a:cs typeface="Arial" charset="0"/>
                    </a:rPr>
                    <a:t>Adjust the size and position of the image.</a:t>
                  </a:r>
                </a:p>
                <a:p>
                  <a:pPr lvl="1">
                    <a:defRPr/>
                  </a:pPr>
                  <a:r>
                    <a:rPr lang="en-US" sz="900" kern="1200" dirty="0">
                      <a:solidFill>
                        <a:schemeClr val="tx1">
                          <a:lumMod val="50000"/>
                          <a:lumOff val="50000"/>
                        </a:schemeClr>
                      </a:solidFill>
                      <a:latin typeface="Arial" charset="0"/>
                      <a:cs typeface="Arial" charset="0"/>
                    </a:rPr>
                    <a:t>Press Esc or click outside the image area to exit the cropping mode.</a:t>
                  </a:r>
                </a:p>
              </p:txBody>
            </p:sp>
            <p:pic>
              <p:nvPicPr>
                <p:cNvPr id="108" name="Picture 107">
                  <a:extLst>
                    <a:ext uri="{FF2B5EF4-FFF2-40B4-BE49-F238E27FC236}">
                      <a16:creationId xmlns:a16="http://schemas.microsoft.com/office/drawing/2014/main" id="{4959277C-CED2-434C-88B2-9FAA87DF5D1D}"/>
                    </a:ext>
                  </a:extLst>
                </p:cNvPr>
                <p:cNvPicPr>
                  <a:picLocks noChangeAspect="1"/>
                </p:cNvPicPr>
                <p:nvPr userDrawn="1"/>
              </p:nvPicPr>
              <p:blipFill rotWithShape="1">
                <a:blip r:embed="rId5"/>
                <a:srcRect l="33684" t="12097" r="43371" b="20368"/>
                <a:stretch/>
              </p:blipFill>
              <p:spPr>
                <a:xfrm>
                  <a:off x="11243541" y="7454405"/>
                  <a:ext cx="136897" cy="213643"/>
                </a:xfrm>
                <a:prstGeom prst="rect">
                  <a:avLst/>
                </a:prstGeom>
                <a:ln w="19050">
                  <a:solidFill>
                    <a:schemeClr val="accent3">
                      <a:lumMod val="60000"/>
                      <a:lumOff val="40000"/>
                    </a:schemeClr>
                  </a:solidFill>
                </a:ln>
              </p:spPr>
            </p:pic>
          </p:grpSp>
          <p:grpSp>
            <p:nvGrpSpPr>
              <p:cNvPr id="96" name="Group 95">
                <a:extLst>
                  <a:ext uri="{FF2B5EF4-FFF2-40B4-BE49-F238E27FC236}">
                    <a16:creationId xmlns:a16="http://schemas.microsoft.com/office/drawing/2014/main" id="{141A0029-6405-3B4B-83F9-A4F9A487D704}"/>
                  </a:ext>
                </a:extLst>
              </p:cNvPr>
              <p:cNvGrpSpPr/>
              <p:nvPr userDrawn="1"/>
            </p:nvGrpSpPr>
            <p:grpSpPr>
              <a:xfrm>
                <a:off x="9266651" y="510458"/>
                <a:ext cx="2617883" cy="651460"/>
                <a:chOff x="12352022" y="513115"/>
                <a:chExt cx="2617883" cy="651460"/>
              </a:xfrm>
            </p:grpSpPr>
            <p:sp>
              <p:nvSpPr>
                <p:cNvPr id="101" name="TextBox 100">
                  <a:extLst>
                    <a:ext uri="{FF2B5EF4-FFF2-40B4-BE49-F238E27FC236}">
                      <a16:creationId xmlns:a16="http://schemas.microsoft.com/office/drawing/2014/main" id="{A178244F-2239-7745-B8B4-292832D49736}"/>
                    </a:ext>
                  </a:extLst>
                </p:cNvPr>
                <p:cNvSpPr txBox="1">
                  <a:spLocks noChangeAspect="1"/>
                </p:cNvSpPr>
                <p:nvPr/>
              </p:nvSpPr>
              <p:spPr>
                <a:xfrm>
                  <a:off x="12352022" y="538142"/>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1</a:t>
                  </a:r>
                </a:p>
              </p:txBody>
            </p:sp>
            <p:sp>
              <p:nvSpPr>
                <p:cNvPr id="102" name="TextBox 101">
                  <a:extLst>
                    <a:ext uri="{FF2B5EF4-FFF2-40B4-BE49-F238E27FC236}">
                      <a16:creationId xmlns:a16="http://schemas.microsoft.com/office/drawing/2014/main" id="{01E5AD18-29D7-DA40-B00E-DAAB91464CDE}"/>
                    </a:ext>
                  </a:extLst>
                </p:cNvPr>
                <p:cNvSpPr txBox="1">
                  <a:spLocks noChangeAspect="1"/>
                </p:cNvSpPr>
                <p:nvPr/>
              </p:nvSpPr>
              <p:spPr>
                <a:xfrm>
                  <a:off x="12352022" y="1033696"/>
                  <a:ext cx="114706" cy="114706"/>
                </a:xfrm>
                <a:prstGeom prst="ellipse">
                  <a:avLst/>
                </a:prstGeom>
                <a:solidFill>
                  <a:schemeClr val="tx1">
                    <a:lumMod val="50000"/>
                    <a:lumOff val="50000"/>
                  </a:schemeClr>
                </a:solidFill>
              </p:spPr>
              <p:txBody>
                <a:bodyPr vert="horz" wrap="none" lIns="0" tIns="0" rIns="0" bIns="0" rtlCol="0" anchor="ctr">
                  <a:noAutofit/>
                </a:bodyPr>
                <a:lstStyle/>
                <a:p>
                  <a:pPr algn="ctr"/>
                  <a:r>
                    <a:rPr lang="en-US" sz="500" dirty="0">
                      <a:solidFill>
                        <a:schemeClr val="bg1"/>
                      </a:solidFill>
                      <a:latin typeface="Arial" charset="0"/>
                      <a:ea typeface="Arial" charset="0"/>
                      <a:cs typeface="Arial" charset="0"/>
                    </a:rPr>
                    <a:t>2</a:t>
                  </a:r>
                </a:p>
              </p:txBody>
            </p:sp>
            <p:sp>
              <p:nvSpPr>
                <p:cNvPr id="103" name="TextBox 102">
                  <a:extLst>
                    <a:ext uri="{FF2B5EF4-FFF2-40B4-BE49-F238E27FC236}">
                      <a16:creationId xmlns:a16="http://schemas.microsoft.com/office/drawing/2014/main" id="{C19C5FDC-EF08-4D4F-B09B-D904B9D740FB}"/>
                    </a:ext>
                  </a:extLst>
                </p:cNvPr>
                <p:cNvSpPr txBox="1"/>
                <p:nvPr userDrawn="1"/>
              </p:nvSpPr>
              <p:spPr>
                <a:xfrm>
                  <a:off x="12516615" y="513115"/>
                  <a:ext cx="2453290" cy="651460"/>
                </a:xfrm>
                <a:prstGeom prst="rect">
                  <a:avLst/>
                </a:prstGeom>
              </p:spPr>
              <p:txBody>
                <a:bodyPr vert="horz" wrap="square" lIns="0" tIns="0" rIns="0" bIns="0" rtlCol="0" anchor="t">
                  <a:spAutoFit/>
                </a:bodyPr>
                <a:lstStyle>
                  <a:defPPr>
                    <a:defRPr lang="en-US"/>
                  </a:defPPr>
                  <a:lvl1pPr lvl="0">
                    <a:spcBef>
                      <a:spcPts val="10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0"/>
                  <a:r>
                    <a:rPr lang="en-US" sz="1050" dirty="0"/>
                    <a:t>Select and download images from the Marketing Resource Database.</a:t>
                  </a:r>
                </a:p>
                <a:p>
                  <a:pPr lvl="0"/>
                  <a:r>
                    <a:rPr lang="en-US" sz="1050" dirty="0"/>
                    <a:t>Add the image to the placeholder.</a:t>
                  </a:r>
                </a:p>
              </p:txBody>
            </p:sp>
          </p:grpSp>
          <p:sp>
            <p:nvSpPr>
              <p:cNvPr id="97" name="TextBox 96">
                <a:extLst>
                  <a:ext uri="{FF2B5EF4-FFF2-40B4-BE49-F238E27FC236}">
                    <a16:creationId xmlns:a16="http://schemas.microsoft.com/office/drawing/2014/main" id="{797082B9-EF68-E740-B2D3-2495F712D156}"/>
                  </a:ext>
                </a:extLst>
              </p:cNvPr>
              <p:cNvSpPr txBox="1"/>
              <p:nvPr userDrawn="1"/>
            </p:nvSpPr>
            <p:spPr>
              <a:xfrm>
                <a:off x="9419085" y="1529570"/>
                <a:ext cx="2374733" cy="323165"/>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If there are multiple image placeholders on the slide, select the intended placeholder before dragging in the image to let PowerPoint know where you want it.</a:t>
                </a:r>
              </a:p>
            </p:txBody>
          </p:sp>
          <p:sp>
            <p:nvSpPr>
              <p:cNvPr id="98" name="TextBox 97">
                <a:extLst>
                  <a:ext uri="{FF2B5EF4-FFF2-40B4-BE49-F238E27FC236}">
                    <a16:creationId xmlns:a16="http://schemas.microsoft.com/office/drawing/2014/main" id="{E7FF31FB-D280-A342-A9A6-BDF19D46ACE5}"/>
                  </a:ext>
                </a:extLst>
              </p:cNvPr>
              <p:cNvSpPr txBox="1"/>
              <p:nvPr userDrawn="1"/>
            </p:nvSpPr>
            <p:spPr>
              <a:xfrm>
                <a:off x="9431244" y="1944827"/>
                <a:ext cx="2297338" cy="605550"/>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2: </a:t>
                </a:r>
                <a:r>
                  <a:rPr lang="en-US" sz="600" b="0" dirty="0"/>
                  <a:t>Paste from clipboard</a:t>
                </a:r>
              </a:p>
              <a:p>
                <a:pPr lvl="1">
                  <a:buNone/>
                </a:pPr>
                <a:r>
                  <a:rPr lang="en-US" sz="1050" dirty="0"/>
                  <a:t>Select the image placeholder.</a:t>
                </a:r>
              </a:p>
              <a:p>
                <a:pPr lvl="1">
                  <a:buNone/>
                </a:pPr>
                <a:r>
                  <a:rPr lang="en-US" sz="1050" dirty="0"/>
                  <a:t>Right-click or use keyboard shortcuts to paste the image.</a:t>
                </a:r>
              </a:p>
            </p:txBody>
          </p:sp>
          <p:sp>
            <p:nvSpPr>
              <p:cNvPr id="99" name="TextBox 98">
                <a:extLst>
                  <a:ext uri="{FF2B5EF4-FFF2-40B4-BE49-F238E27FC236}">
                    <a16:creationId xmlns:a16="http://schemas.microsoft.com/office/drawing/2014/main" id="{383A2422-39E9-674D-B3BB-200CCA34A58D}"/>
                  </a:ext>
                </a:extLst>
              </p:cNvPr>
              <p:cNvSpPr txBox="1"/>
              <p:nvPr userDrawn="1"/>
            </p:nvSpPr>
            <p:spPr>
              <a:xfrm>
                <a:off x="9431244" y="2664917"/>
                <a:ext cx="2297338" cy="421654"/>
              </a:xfrm>
              <a:prstGeom prst="rect">
                <a:avLst/>
              </a:prstGeom>
            </p:spPr>
            <p:txBody>
              <a:bodyPr vert="horz" wrap="square" lIns="0" tIns="0" rIns="0" bIns="0" rtlCol="0" anchor="t">
                <a:spAutoFit/>
              </a:bodyPr>
              <a:lstStyle>
                <a:defPPr>
                  <a:defRPr lang="en-US"/>
                </a:defPPr>
                <a:lvl1pPr lvl="0">
                  <a:spcBef>
                    <a:spcPts val="900"/>
                  </a:spcBef>
                  <a:spcAft>
                    <a:spcPts val="300"/>
                  </a:spcAft>
                  <a:defRPr sz="800" b="1" cap="all" spc="20" baseline="0">
                    <a:solidFill>
                      <a:schemeClr val="bg1"/>
                    </a:solidFill>
                    <a:latin typeface="Arial" charset="0"/>
                    <a:ea typeface="Arial" charset="0"/>
                    <a:cs typeface="Arial" charset="0"/>
                  </a:defRPr>
                </a:lvl1pPr>
                <a:lvl2pPr marL="0" lvl="1" indent="0">
                  <a:lnSpc>
                    <a:spcPct val="90000"/>
                  </a:lnSpc>
                  <a:spcAft>
                    <a:spcPts val="300"/>
                  </a:spcAft>
                  <a:tabLst/>
                  <a:defRPr sz="12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marL="0" lvl="0" indent="0">
                  <a:buFont typeface="Arial" panose="020B0604020202020204" pitchFamily="34" charset="0"/>
                  <a:buNone/>
                </a:pPr>
                <a:r>
                  <a:rPr lang="en-US" sz="600" dirty="0"/>
                  <a:t>Method 3: </a:t>
                </a:r>
                <a:r>
                  <a:rPr lang="en-US" sz="600" b="0" dirty="0"/>
                  <a:t>Placeholder icon</a:t>
                </a:r>
              </a:p>
              <a:p>
                <a:pPr lvl="1">
                  <a:buNone/>
                </a:pPr>
                <a:r>
                  <a:rPr lang="en-US" sz="1050" dirty="0"/>
                  <a:t>Click the image icon inside the placeholder to browse for an image.</a:t>
                </a:r>
              </a:p>
            </p:txBody>
          </p:sp>
          <p:sp>
            <p:nvSpPr>
              <p:cNvPr id="100" name="TextBox 99">
                <a:extLst>
                  <a:ext uri="{FF2B5EF4-FFF2-40B4-BE49-F238E27FC236}">
                    <a16:creationId xmlns:a16="http://schemas.microsoft.com/office/drawing/2014/main" id="{36B72675-39F1-A14B-907E-15B0263BADC8}"/>
                  </a:ext>
                </a:extLst>
              </p:cNvPr>
              <p:cNvSpPr txBox="1"/>
              <p:nvPr userDrawn="1"/>
            </p:nvSpPr>
            <p:spPr>
              <a:xfrm>
                <a:off x="9419085" y="3095480"/>
                <a:ext cx="2374733" cy="215444"/>
              </a:xfrm>
              <a:prstGeom prst="rect">
                <a:avLst/>
              </a:prstGeom>
            </p:spPr>
            <p:txBody>
              <a:bodyPr vert="horz" wrap="square" lIns="0" tIns="0" rIns="0" bIns="0" rtlCol="0" anchor="t">
                <a:spAutoFit/>
              </a:bodyPr>
              <a:lstStyle>
                <a:defPPr>
                  <a:defRPr lang="en-US"/>
                </a:defPPr>
                <a:lvl1pPr lvl="0">
                  <a:spcBef>
                    <a:spcPts val="1600"/>
                  </a:spcBef>
                  <a:spcAft>
                    <a:spcPts val="300"/>
                  </a:spcAft>
                  <a:defRPr sz="1050" b="0" cap="none" spc="0" baseline="0">
                    <a:solidFill>
                      <a:schemeClr val="bg1"/>
                    </a:solidFill>
                    <a:latin typeface="Arial" charset="0"/>
                    <a:ea typeface="Arial" charset="0"/>
                    <a:cs typeface="Arial" charset="0"/>
                  </a:defRPr>
                </a:lvl1pPr>
                <a:lvl2pPr marL="134938" lvl="1" indent="-131763">
                  <a:lnSpc>
                    <a:spcPct val="90000"/>
                  </a:lnSpc>
                  <a:spcAft>
                    <a:spcPts val="300"/>
                  </a:spcAft>
                  <a:buFont typeface="Wingdings" pitchFamily="2" charset="2"/>
                  <a:buChar char="§"/>
                  <a:tabLst/>
                  <a:defRPr sz="900">
                    <a:solidFill>
                      <a:schemeClr val="bg1"/>
                    </a:solidFill>
                    <a:latin typeface="Arial" charset="0"/>
                    <a:ea typeface="Arial" charset="0"/>
                    <a:cs typeface="Arial" charset="0"/>
                  </a:defRPr>
                </a:lvl2pPr>
                <a:lvl3pPr marL="11113" lvl="2" indent="0">
                  <a:spcBef>
                    <a:spcPts val="300"/>
                  </a:spcBef>
                  <a:buFont typeface="Wingdings" pitchFamily="2" charset="2"/>
                  <a:buNone/>
                  <a:tabLst/>
                  <a:defRPr sz="800">
                    <a:solidFill>
                      <a:schemeClr val="bg1">
                        <a:lumMod val="85000"/>
                      </a:schemeClr>
                    </a:solidFill>
                  </a:defRPr>
                </a:lvl3pPr>
              </a:lstStyle>
              <a:p>
                <a:pPr lvl="2"/>
                <a:r>
                  <a:rPr lang="en-US" sz="700" dirty="0"/>
                  <a:t>Note: This icon may be covered by another element.</a:t>
                </a:r>
                <a:br>
                  <a:rPr lang="en-US" sz="700" dirty="0"/>
                </a:br>
                <a:r>
                  <a:rPr lang="en-US" sz="700" dirty="0"/>
                  <a:t>In this case use one of the other methods.</a:t>
                </a:r>
              </a:p>
            </p:txBody>
          </p:sp>
        </p:grpSp>
      </p:grpSp>
    </p:spTree>
    <p:extLst>
      <p:ext uri="{BB962C8B-B14F-4D97-AF65-F5344CB8AC3E}">
        <p14:creationId xmlns:p14="http://schemas.microsoft.com/office/powerpoint/2010/main" val="3839703085"/>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le (Plain)">
    <p:bg>
      <p:bgPr>
        <a:solidFill>
          <a:schemeClr val="bg1"/>
        </a:solidFill>
        <a:effectLst/>
      </p:bgPr>
    </p:bg>
    <p:spTree>
      <p:nvGrpSpPr>
        <p:cNvPr id="1" name=""/>
        <p:cNvGrpSpPr/>
        <p:nvPr/>
      </p:nvGrpSpPr>
      <p:grpSpPr>
        <a:xfrm>
          <a:off x="0" y="0"/>
          <a:ext cx="0" cy="0"/>
          <a:chOff x="0" y="0"/>
          <a:chExt cx="0" cy="0"/>
        </a:xfrm>
      </p:grpSpPr>
      <p:sp>
        <p:nvSpPr>
          <p:cNvPr id="10" name="Freeform 9">
            <a:extLst>
              <a:ext uri="{FF2B5EF4-FFF2-40B4-BE49-F238E27FC236}">
                <a16:creationId xmlns:a16="http://schemas.microsoft.com/office/drawing/2014/main" id="{7FB454B8-622E-D643-B38F-8FBBFCD62ABD}"/>
              </a:ext>
            </a:extLst>
          </p:cNvPr>
          <p:cNvSpPr/>
          <p:nvPr userDrawn="1"/>
        </p:nvSpPr>
        <p:spPr>
          <a:xfrm flipH="1">
            <a:off x="2490" y="2171627"/>
            <a:ext cx="11707575" cy="1815552"/>
          </a:xfrm>
          <a:custGeom>
            <a:avLst/>
            <a:gdLst>
              <a:gd name="connsiteX0" fmla="*/ 8780681 w 8780681"/>
              <a:gd name="connsiteY0" fmla="*/ 0 h 1815552"/>
              <a:gd name="connsiteX1" fmla="*/ 861570 w 8780681"/>
              <a:gd name="connsiteY1" fmla="*/ 0 h 1815552"/>
              <a:gd name="connsiteX2" fmla="*/ 0 w 8780681"/>
              <a:gd name="connsiteY2" fmla="*/ 1815552 h 1815552"/>
              <a:gd name="connsiteX3" fmla="*/ 8780681 w 8780681"/>
              <a:gd name="connsiteY3" fmla="*/ 1815552 h 1815552"/>
            </a:gdLst>
            <a:ahLst/>
            <a:cxnLst>
              <a:cxn ang="0">
                <a:pos x="connsiteX0" y="connsiteY0"/>
              </a:cxn>
              <a:cxn ang="0">
                <a:pos x="connsiteX1" y="connsiteY1"/>
              </a:cxn>
              <a:cxn ang="0">
                <a:pos x="connsiteX2" y="connsiteY2"/>
              </a:cxn>
              <a:cxn ang="0">
                <a:pos x="connsiteX3" y="connsiteY3"/>
              </a:cxn>
            </a:cxnLst>
            <a:rect l="l" t="t" r="r" b="b"/>
            <a:pathLst>
              <a:path w="8780681" h="1815552">
                <a:moveTo>
                  <a:pt x="8780681" y="0"/>
                </a:moveTo>
                <a:lnTo>
                  <a:pt x="861570" y="0"/>
                </a:lnTo>
                <a:lnTo>
                  <a:pt x="0" y="1815552"/>
                </a:lnTo>
                <a:lnTo>
                  <a:pt x="8780681" y="1815552"/>
                </a:lnTo>
                <a:close/>
              </a:path>
            </a:pathLst>
          </a:cu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12" name="Freeform 11">
            <a:extLst>
              <a:ext uri="{FF2B5EF4-FFF2-40B4-BE49-F238E27FC236}">
                <a16:creationId xmlns:a16="http://schemas.microsoft.com/office/drawing/2014/main" id="{A7DAA80D-E5FC-834A-808A-ED4B4782F280}"/>
              </a:ext>
            </a:extLst>
          </p:cNvPr>
          <p:cNvSpPr/>
          <p:nvPr userDrawn="1"/>
        </p:nvSpPr>
        <p:spPr>
          <a:xfrm flipH="1">
            <a:off x="0" y="6029562"/>
            <a:ext cx="9041763" cy="427439"/>
          </a:xfrm>
          <a:custGeom>
            <a:avLst/>
            <a:gdLst>
              <a:gd name="connsiteX0" fmla="*/ 6781322 w 6781322"/>
              <a:gd name="connsiteY0" fmla="*/ 0 h 427439"/>
              <a:gd name="connsiteX1" fmla="*/ 6376846 w 6781322"/>
              <a:gd name="connsiteY1" fmla="*/ 0 h 427439"/>
              <a:gd name="connsiteX2" fmla="*/ 607317 w 6781322"/>
              <a:gd name="connsiteY2" fmla="*/ 0 h 427439"/>
              <a:gd name="connsiteX3" fmla="*/ 202841 w 6781322"/>
              <a:gd name="connsiteY3" fmla="*/ 0 h 427439"/>
              <a:gd name="connsiteX4" fmla="*/ 0 w 6781322"/>
              <a:gd name="connsiteY4" fmla="*/ 427439 h 427439"/>
              <a:gd name="connsiteX5" fmla="*/ 404476 w 6781322"/>
              <a:gd name="connsiteY5" fmla="*/ 427439 h 427439"/>
              <a:gd name="connsiteX6" fmla="*/ 6376846 w 6781322"/>
              <a:gd name="connsiteY6" fmla="*/ 427439 h 427439"/>
              <a:gd name="connsiteX7" fmla="*/ 6781322 w 6781322"/>
              <a:gd name="connsiteY7" fmla="*/ 427439 h 4274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781322" h="427439">
                <a:moveTo>
                  <a:pt x="6781322" y="0"/>
                </a:moveTo>
                <a:lnTo>
                  <a:pt x="6376846" y="0"/>
                </a:lnTo>
                <a:lnTo>
                  <a:pt x="607317" y="0"/>
                </a:lnTo>
                <a:lnTo>
                  <a:pt x="202841" y="0"/>
                </a:lnTo>
                <a:lnTo>
                  <a:pt x="0" y="427439"/>
                </a:lnTo>
                <a:lnTo>
                  <a:pt x="404476" y="427439"/>
                </a:lnTo>
                <a:lnTo>
                  <a:pt x="6376846" y="427439"/>
                </a:lnTo>
                <a:lnTo>
                  <a:pt x="6781322" y="42743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sp>
        <p:nvSpPr>
          <p:cNvPr id="8" name="Title 7">
            <a:extLst>
              <a:ext uri="{FF2B5EF4-FFF2-40B4-BE49-F238E27FC236}">
                <a16:creationId xmlns:a16="http://schemas.microsoft.com/office/drawing/2014/main" id="{9428846E-90EC-CF46-BA3C-6E7E7F9A659E}"/>
              </a:ext>
            </a:extLst>
          </p:cNvPr>
          <p:cNvSpPr>
            <a:spLocks noGrp="1"/>
          </p:cNvSpPr>
          <p:nvPr>
            <p:ph type="title" hasCustomPrompt="1"/>
          </p:nvPr>
        </p:nvSpPr>
        <p:spPr>
          <a:xfrm>
            <a:off x="575734" y="2357718"/>
            <a:ext cx="9993969" cy="1443370"/>
          </a:xfrm>
        </p:spPr>
        <p:txBody>
          <a:bodyPr anchor="ctr"/>
          <a:lstStyle>
            <a:lvl1pPr>
              <a:defRPr sz="3600"/>
            </a:lvl1pPr>
          </a:lstStyle>
          <a:p>
            <a:pPr lvl="0"/>
            <a:r>
              <a:rPr lang="en-US" dirty="0"/>
              <a:t>CLICK TO EDIT PRESENTATION TITLE. ALL CAPS. TWO LINES.</a:t>
            </a:r>
          </a:p>
        </p:txBody>
      </p:sp>
      <p:grpSp>
        <p:nvGrpSpPr>
          <p:cNvPr id="9" name="Group 8">
            <a:extLst>
              <a:ext uri="{FF2B5EF4-FFF2-40B4-BE49-F238E27FC236}">
                <a16:creationId xmlns:a16="http://schemas.microsoft.com/office/drawing/2014/main" id="{3F8990A5-0ABE-6D46-9F28-E80369FD7B27}"/>
              </a:ext>
            </a:extLst>
          </p:cNvPr>
          <p:cNvGrpSpPr/>
          <p:nvPr userDrawn="1"/>
        </p:nvGrpSpPr>
        <p:grpSpPr>
          <a:xfrm>
            <a:off x="-342618" y="2662813"/>
            <a:ext cx="335281" cy="803868"/>
            <a:chOff x="-256404" y="360363"/>
            <a:chExt cx="251461" cy="692152"/>
          </a:xfrm>
        </p:grpSpPr>
        <p:grpSp>
          <p:nvGrpSpPr>
            <p:cNvPr id="11" name="Group 10">
              <a:extLst>
                <a:ext uri="{FF2B5EF4-FFF2-40B4-BE49-F238E27FC236}">
                  <a16:creationId xmlns:a16="http://schemas.microsoft.com/office/drawing/2014/main" id="{C06C7E69-FE02-E149-8BB5-434392A5681B}"/>
                </a:ext>
              </a:extLst>
            </p:cNvPr>
            <p:cNvGrpSpPr/>
            <p:nvPr userDrawn="1"/>
          </p:nvGrpSpPr>
          <p:grpSpPr>
            <a:xfrm rot="16200000">
              <a:off x="-476749" y="580708"/>
              <a:ext cx="692152" cy="251461"/>
              <a:chOff x="431800" y="-235792"/>
              <a:chExt cx="4400551" cy="235792"/>
            </a:xfrm>
          </p:grpSpPr>
          <p:cxnSp>
            <p:nvCxnSpPr>
              <p:cNvPr id="14" name="Straight Connector 13">
                <a:extLst>
                  <a:ext uri="{FF2B5EF4-FFF2-40B4-BE49-F238E27FC236}">
                    <a16:creationId xmlns:a16="http://schemas.microsoft.com/office/drawing/2014/main" id="{82F7D333-4D72-0B45-8D5E-E052DE17B4A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BFE8D9F-D9D1-7446-8D2B-391634400FC1}"/>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0647C002-34D7-E549-BD63-5A83EC7E36C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13" name="TextBox 12">
              <a:extLst>
                <a:ext uri="{FF2B5EF4-FFF2-40B4-BE49-F238E27FC236}">
                  <a16:creationId xmlns:a16="http://schemas.microsoft.com/office/drawing/2014/main" id="{DA3789A9-A137-3A4B-87B9-41698E91325A}"/>
                </a:ext>
              </a:extLst>
            </p:cNvPr>
            <p:cNvSpPr txBox="1"/>
            <p:nvPr userDrawn="1"/>
          </p:nvSpPr>
          <p:spPr>
            <a:xfrm rot="16200000">
              <a:off x="-235571" y="662665"/>
              <a:ext cx="209794" cy="8079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8" name="Group 17">
            <a:extLst>
              <a:ext uri="{FF2B5EF4-FFF2-40B4-BE49-F238E27FC236}">
                <a16:creationId xmlns:a16="http://schemas.microsoft.com/office/drawing/2014/main" id="{9F586333-824B-794D-AA8F-3C6BE5F1C65F}"/>
              </a:ext>
            </a:extLst>
          </p:cNvPr>
          <p:cNvGrpSpPr/>
          <p:nvPr userDrawn="1"/>
        </p:nvGrpSpPr>
        <p:grpSpPr>
          <a:xfrm>
            <a:off x="-342618" y="6029561"/>
            <a:ext cx="335281" cy="414972"/>
            <a:chOff x="-256404" y="360363"/>
            <a:chExt cx="251461" cy="692152"/>
          </a:xfrm>
        </p:grpSpPr>
        <p:grpSp>
          <p:nvGrpSpPr>
            <p:cNvPr id="19" name="Group 18">
              <a:extLst>
                <a:ext uri="{FF2B5EF4-FFF2-40B4-BE49-F238E27FC236}">
                  <a16:creationId xmlns:a16="http://schemas.microsoft.com/office/drawing/2014/main" id="{A6495F36-0325-BD46-AEAC-EFD96052E078}"/>
                </a:ext>
              </a:extLst>
            </p:cNvPr>
            <p:cNvGrpSpPr/>
            <p:nvPr userDrawn="1"/>
          </p:nvGrpSpPr>
          <p:grpSpPr>
            <a:xfrm rot="16200000">
              <a:off x="-476749" y="580708"/>
              <a:ext cx="692152" cy="251461"/>
              <a:chOff x="431800" y="-235792"/>
              <a:chExt cx="4400551" cy="235792"/>
            </a:xfrm>
          </p:grpSpPr>
          <p:cxnSp>
            <p:nvCxnSpPr>
              <p:cNvPr id="21" name="Straight Connector 20">
                <a:extLst>
                  <a:ext uri="{FF2B5EF4-FFF2-40B4-BE49-F238E27FC236}">
                    <a16:creationId xmlns:a16="http://schemas.microsoft.com/office/drawing/2014/main" id="{BCB0A2ED-696C-614E-B833-276295913446}"/>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D5C0D5A-FDE9-F944-909A-630F0DA12F1A}"/>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49102644-5D60-EE47-9759-33BE1EBA9FF3}"/>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20" name="TextBox 19">
              <a:extLst>
                <a:ext uri="{FF2B5EF4-FFF2-40B4-BE49-F238E27FC236}">
                  <a16:creationId xmlns:a16="http://schemas.microsoft.com/office/drawing/2014/main" id="{24E28546-B774-3A40-B34C-AAF59ECF1BD9}"/>
                </a:ext>
              </a:extLst>
            </p:cNvPr>
            <p:cNvSpPr txBox="1"/>
            <p:nvPr userDrawn="1"/>
          </p:nvSpPr>
          <p:spPr>
            <a:xfrm rot="16200000">
              <a:off x="-328529" y="662664"/>
              <a:ext cx="395711" cy="8079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DATE</a:t>
              </a:r>
            </a:p>
          </p:txBody>
        </p:sp>
      </p:grpSp>
      <p:sp>
        <p:nvSpPr>
          <p:cNvPr id="24" name="Text Placeholder 2">
            <a:extLst>
              <a:ext uri="{FF2B5EF4-FFF2-40B4-BE49-F238E27FC236}">
                <a16:creationId xmlns:a16="http://schemas.microsoft.com/office/drawing/2014/main" id="{740F04A0-110C-5F42-B566-20EA7EADEBC3}"/>
              </a:ext>
            </a:extLst>
          </p:cNvPr>
          <p:cNvSpPr>
            <a:spLocks noGrp="1"/>
          </p:cNvSpPr>
          <p:nvPr>
            <p:ph type="body" sz="quarter" idx="26" hasCustomPrompt="1"/>
          </p:nvPr>
        </p:nvSpPr>
        <p:spPr>
          <a:xfrm>
            <a:off x="601136" y="6061209"/>
            <a:ext cx="4417905" cy="364145"/>
          </a:xfrm>
        </p:spPr>
        <p:txBody>
          <a:bodyPr anchor="ctr"/>
          <a:lstStyle>
            <a:lvl1pPr marL="9525" indent="0">
              <a:buFontTx/>
              <a:buNone/>
              <a:tabLst/>
              <a:defRPr sz="1400" b="0">
                <a:solidFill>
                  <a:schemeClr val="bg1"/>
                </a:solidFill>
              </a:defRPr>
            </a:lvl1pPr>
            <a:lvl2pPr marL="9525" indent="0">
              <a:buFontTx/>
              <a:buNone/>
              <a:tabLst/>
              <a:defRPr sz="1400">
                <a:solidFill>
                  <a:schemeClr val="bg1"/>
                </a:solidFill>
              </a:defRPr>
            </a:lvl2pPr>
            <a:lvl3pPr marL="9525" indent="0">
              <a:buFontTx/>
              <a:buNone/>
              <a:tabLst/>
              <a:defRPr sz="1400">
                <a:solidFill>
                  <a:schemeClr val="bg1"/>
                </a:solidFill>
              </a:defRPr>
            </a:lvl3pPr>
            <a:lvl4pPr marL="9525" indent="0">
              <a:buFontTx/>
              <a:buNone/>
              <a:tabLst/>
              <a:defRPr sz="1400">
                <a:solidFill>
                  <a:schemeClr val="bg1"/>
                </a:solidFill>
              </a:defRPr>
            </a:lvl4pPr>
            <a:lvl5pPr marL="9525" indent="0">
              <a:buFontTx/>
              <a:buNone/>
              <a:tabLst/>
              <a:defRPr sz="1400">
                <a:solidFill>
                  <a:schemeClr val="bg1"/>
                </a:solidFill>
              </a:defRPr>
            </a:lvl5pPr>
            <a:lvl6pPr marL="9525" indent="0">
              <a:buFontTx/>
              <a:buNone/>
              <a:tabLst/>
              <a:defRPr sz="1400">
                <a:solidFill>
                  <a:schemeClr val="bg1"/>
                </a:solidFill>
              </a:defRPr>
            </a:lvl6pPr>
            <a:lvl7pPr marL="9525" indent="0">
              <a:buFontTx/>
              <a:buNone/>
              <a:tabLst/>
              <a:defRPr sz="1400">
                <a:solidFill>
                  <a:schemeClr val="bg1"/>
                </a:solidFill>
              </a:defRPr>
            </a:lvl7pPr>
            <a:lvl8pPr marL="9525" indent="0">
              <a:buFontTx/>
              <a:buNone/>
              <a:tabLst/>
              <a:defRPr sz="1400">
                <a:solidFill>
                  <a:schemeClr val="bg1"/>
                </a:solidFill>
              </a:defRPr>
            </a:lvl8pPr>
            <a:lvl9pPr marL="9525" indent="0">
              <a:buFontTx/>
              <a:buNone/>
              <a:tabLst/>
              <a:defRPr sz="1400">
                <a:solidFill>
                  <a:schemeClr val="bg1"/>
                </a:solidFill>
              </a:defRPr>
            </a:lvl9pPr>
          </a:lstStyle>
          <a:p>
            <a:pPr lvl="0"/>
            <a:r>
              <a:rPr lang="en-US" dirty="0"/>
              <a:t>Click to add date (Month DD, YYYY)</a:t>
            </a:r>
          </a:p>
        </p:txBody>
      </p:sp>
      <p:pic>
        <p:nvPicPr>
          <p:cNvPr id="25" name="Picture 24">
            <a:extLst>
              <a:ext uri="{FF2B5EF4-FFF2-40B4-BE49-F238E27FC236}">
                <a16:creationId xmlns:a16="http://schemas.microsoft.com/office/drawing/2014/main" id="{26ADBFE0-0C84-2E44-AD3F-2FE877CA00F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02926" y="6070430"/>
            <a:ext cx="2132663" cy="329184"/>
          </a:xfrm>
          <a:prstGeom prst="rect">
            <a:avLst/>
          </a:prstGeom>
        </p:spPr>
      </p:pic>
    </p:spTree>
    <p:extLst>
      <p:ext uri="{BB962C8B-B14F-4D97-AF65-F5344CB8AC3E}">
        <p14:creationId xmlns:p14="http://schemas.microsoft.com/office/powerpoint/2010/main" val="169859266"/>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vmlDrawing" Target="../drawings/vmlDrawing1.v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62.xml"/><Relationship Id="rId18" Type="http://schemas.openxmlformats.org/officeDocument/2006/relationships/slideLayout" Target="../slideLayouts/slideLayout67.xml"/><Relationship Id="rId26" Type="http://schemas.openxmlformats.org/officeDocument/2006/relationships/slideLayout" Target="../slideLayouts/slideLayout75.xml"/><Relationship Id="rId39" Type="http://schemas.openxmlformats.org/officeDocument/2006/relationships/slideLayout" Target="../slideLayouts/slideLayout88.xml"/><Relationship Id="rId21" Type="http://schemas.openxmlformats.org/officeDocument/2006/relationships/slideLayout" Target="../slideLayouts/slideLayout70.xml"/><Relationship Id="rId34" Type="http://schemas.openxmlformats.org/officeDocument/2006/relationships/slideLayout" Target="../slideLayouts/slideLayout83.xml"/><Relationship Id="rId42" Type="http://schemas.openxmlformats.org/officeDocument/2006/relationships/slideLayout" Target="../slideLayouts/slideLayout91.xml"/><Relationship Id="rId47" Type="http://schemas.openxmlformats.org/officeDocument/2006/relationships/slideLayout" Target="../slideLayouts/slideLayout96.xml"/><Relationship Id="rId50" Type="http://schemas.openxmlformats.org/officeDocument/2006/relationships/vmlDrawing" Target="../drawings/vmlDrawing2.vml"/><Relationship Id="rId7" Type="http://schemas.openxmlformats.org/officeDocument/2006/relationships/slideLayout" Target="../slideLayouts/slideLayout5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9" Type="http://schemas.openxmlformats.org/officeDocument/2006/relationships/slideLayout" Target="../slideLayouts/slideLayout78.xml"/><Relationship Id="rId11" Type="http://schemas.openxmlformats.org/officeDocument/2006/relationships/slideLayout" Target="../slideLayouts/slideLayout60.xml"/><Relationship Id="rId24" Type="http://schemas.openxmlformats.org/officeDocument/2006/relationships/slideLayout" Target="../slideLayouts/slideLayout73.xml"/><Relationship Id="rId32" Type="http://schemas.openxmlformats.org/officeDocument/2006/relationships/slideLayout" Target="../slideLayouts/slideLayout81.xml"/><Relationship Id="rId37" Type="http://schemas.openxmlformats.org/officeDocument/2006/relationships/slideLayout" Target="../slideLayouts/slideLayout86.xml"/><Relationship Id="rId40" Type="http://schemas.openxmlformats.org/officeDocument/2006/relationships/slideLayout" Target="../slideLayouts/slideLayout89.xml"/><Relationship Id="rId45" Type="http://schemas.openxmlformats.org/officeDocument/2006/relationships/slideLayout" Target="../slideLayouts/slideLayout94.xml"/><Relationship Id="rId53" Type="http://schemas.openxmlformats.org/officeDocument/2006/relationships/oleObject" Target="../embeddings/oleObject2.bin"/><Relationship Id="rId5" Type="http://schemas.openxmlformats.org/officeDocument/2006/relationships/slideLayout" Target="../slideLayouts/slideLayout54.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31" Type="http://schemas.openxmlformats.org/officeDocument/2006/relationships/slideLayout" Target="../slideLayouts/slideLayout80.xml"/><Relationship Id="rId44" Type="http://schemas.openxmlformats.org/officeDocument/2006/relationships/slideLayout" Target="../slideLayouts/slideLayout93.xml"/><Relationship Id="rId52" Type="http://schemas.openxmlformats.org/officeDocument/2006/relationships/image" Target="../media/image34.png"/><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 Id="rId22" Type="http://schemas.openxmlformats.org/officeDocument/2006/relationships/slideLayout" Target="../slideLayouts/slideLayout71.xml"/><Relationship Id="rId27" Type="http://schemas.openxmlformats.org/officeDocument/2006/relationships/slideLayout" Target="../slideLayouts/slideLayout76.xml"/><Relationship Id="rId30" Type="http://schemas.openxmlformats.org/officeDocument/2006/relationships/slideLayout" Target="../slideLayouts/slideLayout79.xml"/><Relationship Id="rId35" Type="http://schemas.openxmlformats.org/officeDocument/2006/relationships/slideLayout" Target="../slideLayouts/slideLayout84.xml"/><Relationship Id="rId43" Type="http://schemas.openxmlformats.org/officeDocument/2006/relationships/slideLayout" Target="../slideLayouts/slideLayout92.xml"/><Relationship Id="rId48" Type="http://schemas.openxmlformats.org/officeDocument/2006/relationships/slideLayout" Target="../slideLayouts/slideLayout97.xml"/><Relationship Id="rId8" Type="http://schemas.openxmlformats.org/officeDocument/2006/relationships/slideLayout" Target="../slideLayouts/slideLayout57.xml"/><Relationship Id="rId51" Type="http://schemas.openxmlformats.org/officeDocument/2006/relationships/tags" Target="../tags/tag2.xml"/><Relationship Id="rId3" Type="http://schemas.openxmlformats.org/officeDocument/2006/relationships/slideLayout" Target="../slideLayouts/slideLayout52.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5" Type="http://schemas.openxmlformats.org/officeDocument/2006/relationships/slideLayout" Target="../slideLayouts/slideLayout74.xml"/><Relationship Id="rId33" Type="http://schemas.openxmlformats.org/officeDocument/2006/relationships/slideLayout" Target="../slideLayouts/slideLayout82.xml"/><Relationship Id="rId38" Type="http://schemas.openxmlformats.org/officeDocument/2006/relationships/slideLayout" Target="../slideLayouts/slideLayout87.xml"/><Relationship Id="rId46" Type="http://schemas.openxmlformats.org/officeDocument/2006/relationships/slideLayout" Target="../slideLayouts/slideLayout95.xml"/><Relationship Id="rId20" Type="http://schemas.openxmlformats.org/officeDocument/2006/relationships/slideLayout" Target="../slideLayouts/slideLayout69.xml"/><Relationship Id="rId41" Type="http://schemas.openxmlformats.org/officeDocument/2006/relationships/slideLayout" Target="../slideLayouts/slideLayout90.xml"/><Relationship Id="rId54" Type="http://schemas.openxmlformats.org/officeDocument/2006/relationships/image" Target="../media/image1.emf"/><Relationship Id="rId1" Type="http://schemas.openxmlformats.org/officeDocument/2006/relationships/slideLayout" Target="../slideLayouts/slideLayout50.xml"/><Relationship Id="rId6" Type="http://schemas.openxmlformats.org/officeDocument/2006/relationships/slideLayout" Target="../slideLayouts/slideLayout55.xml"/><Relationship Id="rId15" Type="http://schemas.openxmlformats.org/officeDocument/2006/relationships/slideLayout" Target="../slideLayouts/slideLayout64.xml"/><Relationship Id="rId23" Type="http://schemas.openxmlformats.org/officeDocument/2006/relationships/slideLayout" Target="../slideLayouts/slideLayout72.xml"/><Relationship Id="rId28" Type="http://schemas.openxmlformats.org/officeDocument/2006/relationships/slideLayout" Target="../slideLayouts/slideLayout77.xml"/><Relationship Id="rId36" Type="http://schemas.openxmlformats.org/officeDocument/2006/relationships/slideLayout" Target="../slideLayouts/slideLayout85.xml"/><Relationship Id="rId4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slideLayout" Target="../slideLayouts/slideLayout123.xml"/><Relationship Id="rId39" Type="http://schemas.openxmlformats.org/officeDocument/2006/relationships/slideLayout" Target="../slideLayouts/slideLayout136.xml"/><Relationship Id="rId21" Type="http://schemas.openxmlformats.org/officeDocument/2006/relationships/slideLayout" Target="../slideLayouts/slideLayout118.xml"/><Relationship Id="rId34" Type="http://schemas.openxmlformats.org/officeDocument/2006/relationships/slideLayout" Target="../slideLayouts/slideLayout131.xml"/><Relationship Id="rId42" Type="http://schemas.openxmlformats.org/officeDocument/2006/relationships/slideLayout" Target="../slideLayouts/slideLayout139.xml"/><Relationship Id="rId47" Type="http://schemas.openxmlformats.org/officeDocument/2006/relationships/slideLayout" Target="../slideLayouts/slideLayout144.xml"/><Relationship Id="rId50" Type="http://schemas.openxmlformats.org/officeDocument/2006/relationships/vmlDrawing" Target="../drawings/vmlDrawing3.vml"/><Relationship Id="rId7" Type="http://schemas.openxmlformats.org/officeDocument/2006/relationships/slideLayout" Target="../slideLayouts/slideLayout104.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9" Type="http://schemas.openxmlformats.org/officeDocument/2006/relationships/slideLayout" Target="../slideLayouts/slideLayout126.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32" Type="http://schemas.openxmlformats.org/officeDocument/2006/relationships/slideLayout" Target="../slideLayouts/slideLayout129.xml"/><Relationship Id="rId37" Type="http://schemas.openxmlformats.org/officeDocument/2006/relationships/slideLayout" Target="../slideLayouts/slideLayout134.xml"/><Relationship Id="rId40" Type="http://schemas.openxmlformats.org/officeDocument/2006/relationships/slideLayout" Target="../slideLayouts/slideLayout137.xml"/><Relationship Id="rId45" Type="http://schemas.openxmlformats.org/officeDocument/2006/relationships/slideLayout" Target="../slideLayouts/slideLayout142.xml"/><Relationship Id="rId53" Type="http://schemas.openxmlformats.org/officeDocument/2006/relationships/oleObject" Target="../embeddings/oleObject3.bin"/><Relationship Id="rId5" Type="http://schemas.openxmlformats.org/officeDocument/2006/relationships/slideLayout" Target="../slideLayouts/slideLayout102.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31" Type="http://schemas.openxmlformats.org/officeDocument/2006/relationships/slideLayout" Target="../slideLayouts/slideLayout128.xml"/><Relationship Id="rId44" Type="http://schemas.openxmlformats.org/officeDocument/2006/relationships/slideLayout" Target="../slideLayouts/slideLayout141.xml"/><Relationship Id="rId52" Type="http://schemas.openxmlformats.org/officeDocument/2006/relationships/image" Target="../media/image34.png"/><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slideLayout" Target="../slideLayouts/slideLayout124.xml"/><Relationship Id="rId30" Type="http://schemas.openxmlformats.org/officeDocument/2006/relationships/slideLayout" Target="../slideLayouts/slideLayout127.xml"/><Relationship Id="rId35" Type="http://schemas.openxmlformats.org/officeDocument/2006/relationships/slideLayout" Target="../slideLayouts/slideLayout132.xml"/><Relationship Id="rId43" Type="http://schemas.openxmlformats.org/officeDocument/2006/relationships/slideLayout" Target="../slideLayouts/slideLayout140.xml"/><Relationship Id="rId48" Type="http://schemas.openxmlformats.org/officeDocument/2006/relationships/slideLayout" Target="../slideLayouts/slideLayout145.xml"/><Relationship Id="rId8" Type="http://schemas.openxmlformats.org/officeDocument/2006/relationships/slideLayout" Target="../slideLayouts/slideLayout105.xml"/><Relationship Id="rId51" Type="http://schemas.openxmlformats.org/officeDocument/2006/relationships/tags" Target="../tags/tag3.xml"/><Relationship Id="rId3" Type="http://schemas.openxmlformats.org/officeDocument/2006/relationships/slideLayout" Target="../slideLayouts/slideLayout100.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33" Type="http://schemas.openxmlformats.org/officeDocument/2006/relationships/slideLayout" Target="../slideLayouts/slideLayout130.xml"/><Relationship Id="rId38" Type="http://schemas.openxmlformats.org/officeDocument/2006/relationships/slideLayout" Target="../slideLayouts/slideLayout135.xml"/><Relationship Id="rId46" Type="http://schemas.openxmlformats.org/officeDocument/2006/relationships/slideLayout" Target="../slideLayouts/slideLayout143.xml"/><Relationship Id="rId20" Type="http://schemas.openxmlformats.org/officeDocument/2006/relationships/slideLayout" Target="../slideLayouts/slideLayout117.xml"/><Relationship Id="rId41" Type="http://schemas.openxmlformats.org/officeDocument/2006/relationships/slideLayout" Target="../slideLayouts/slideLayout138.xml"/><Relationship Id="rId54" Type="http://schemas.openxmlformats.org/officeDocument/2006/relationships/image" Target="../media/image1.emf"/><Relationship Id="rId1" Type="http://schemas.openxmlformats.org/officeDocument/2006/relationships/slideLayout" Target="../slideLayouts/slideLayout98.xml"/><Relationship Id="rId6" Type="http://schemas.openxmlformats.org/officeDocument/2006/relationships/slideLayout" Target="../slideLayouts/slideLayout103.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slideLayout" Target="../slideLayouts/slideLayout125.xml"/><Relationship Id="rId36" Type="http://schemas.openxmlformats.org/officeDocument/2006/relationships/slideLayout" Target="../slideLayouts/slideLayout133.xml"/><Relationship Id="rId4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8" name="TextBox 107">
            <a:extLst>
              <a:ext uri="{FF2B5EF4-FFF2-40B4-BE49-F238E27FC236}">
                <a16:creationId xmlns:a16="http://schemas.microsoft.com/office/drawing/2014/main" id="{A5706798-7455-4548-A42A-B31167F6AEB2}"/>
              </a:ext>
            </a:extLst>
          </p:cNvPr>
          <p:cNvSpPr txBox="1">
            <a:spLocks/>
          </p:cNvSpPr>
          <p:nvPr userDrawn="1"/>
        </p:nvSpPr>
        <p:spPr>
          <a:xfrm>
            <a:off x="0" y="6200776"/>
            <a:ext cx="12191999" cy="657225"/>
          </a:xfrm>
          <a:custGeom>
            <a:avLst/>
            <a:gdLst>
              <a:gd name="connsiteX0" fmla="*/ 11452969 w 12191999"/>
              <a:gd name="connsiteY0" fmla="*/ 376499 h 657225"/>
              <a:gd name="connsiteX1" fmla="*/ 11462279 w 12191999"/>
              <a:gd name="connsiteY1" fmla="*/ 376499 h 657225"/>
              <a:gd name="connsiteX2" fmla="*/ 11480405 w 12191999"/>
              <a:gd name="connsiteY2" fmla="*/ 391788 h 657225"/>
              <a:gd name="connsiteX3" fmla="*/ 11460489 w 12191999"/>
              <a:gd name="connsiteY3" fmla="*/ 407811 h 657225"/>
              <a:gd name="connsiteX4" fmla="*/ 11460489 w 12191999"/>
              <a:gd name="connsiteY4" fmla="*/ 407698 h 657225"/>
              <a:gd name="connsiteX5" fmla="*/ 11452969 w 12191999"/>
              <a:gd name="connsiteY5" fmla="*/ 407698 h 657225"/>
              <a:gd name="connsiteX6" fmla="*/ 11348180 w 12191999"/>
              <a:gd name="connsiteY6" fmla="*/ 375389 h 657225"/>
              <a:gd name="connsiteX7" fmla="*/ 11358518 w 12191999"/>
              <a:gd name="connsiteY7" fmla="*/ 375389 h 657225"/>
              <a:gd name="connsiteX8" fmla="*/ 11394215 w 12191999"/>
              <a:gd name="connsiteY8" fmla="*/ 406438 h 657225"/>
              <a:gd name="connsiteX9" fmla="*/ 11360136 w 12191999"/>
              <a:gd name="connsiteY9" fmla="*/ 439519 h 657225"/>
              <a:gd name="connsiteX10" fmla="*/ 11348180 w 12191999"/>
              <a:gd name="connsiteY10" fmla="*/ 439519 h 657225"/>
              <a:gd name="connsiteX11" fmla="*/ 11266961 w 12191999"/>
              <a:gd name="connsiteY11" fmla="*/ 353969 h 657225"/>
              <a:gd name="connsiteX12" fmla="*/ 11265495 w 12191999"/>
              <a:gd name="connsiteY12" fmla="*/ 357072 h 657225"/>
              <a:gd name="connsiteX13" fmla="*/ 11245714 w 12191999"/>
              <a:gd name="connsiteY13" fmla="*/ 398878 h 657225"/>
              <a:gd name="connsiteX14" fmla="*/ 11245714 w 12191999"/>
              <a:gd name="connsiteY14" fmla="*/ 460789 h 657225"/>
              <a:gd name="connsiteX15" fmla="*/ 11314177 w 12191999"/>
              <a:gd name="connsiteY15" fmla="*/ 460789 h 657225"/>
              <a:gd name="connsiteX16" fmla="*/ 11314177 w 12191999"/>
              <a:gd name="connsiteY16" fmla="*/ 438202 h 657225"/>
              <a:gd name="connsiteX17" fmla="*/ 11270807 w 12191999"/>
              <a:gd name="connsiteY17" fmla="*/ 438202 h 657225"/>
              <a:gd name="connsiteX18" fmla="*/ 11270807 w 12191999"/>
              <a:gd name="connsiteY18" fmla="*/ 417365 h 657225"/>
              <a:gd name="connsiteX19" fmla="*/ 11310331 w 12191999"/>
              <a:gd name="connsiteY19" fmla="*/ 417365 h 657225"/>
              <a:gd name="connsiteX20" fmla="*/ 11310331 w 12191999"/>
              <a:gd name="connsiteY20" fmla="*/ 395794 h 657225"/>
              <a:gd name="connsiteX21" fmla="*/ 11270807 w 12191999"/>
              <a:gd name="connsiteY21" fmla="*/ 395794 h 657225"/>
              <a:gd name="connsiteX22" fmla="*/ 11270807 w 12191999"/>
              <a:gd name="connsiteY22" fmla="*/ 376706 h 657225"/>
              <a:gd name="connsiteX23" fmla="*/ 11314177 w 12191999"/>
              <a:gd name="connsiteY23" fmla="*/ 376706 h 657225"/>
              <a:gd name="connsiteX24" fmla="*/ 11314177 w 12191999"/>
              <a:gd name="connsiteY24" fmla="*/ 353969 h 657225"/>
              <a:gd name="connsiteX25" fmla="*/ 11153224 w 12191999"/>
              <a:gd name="connsiteY25" fmla="*/ 353950 h 657225"/>
              <a:gd name="connsiteX26" fmla="*/ 11169731 w 12191999"/>
              <a:gd name="connsiteY26" fmla="*/ 388347 h 657225"/>
              <a:gd name="connsiteX27" fmla="*/ 11196175 w 12191999"/>
              <a:gd name="connsiteY27" fmla="*/ 388347 h 657225"/>
              <a:gd name="connsiteX28" fmla="*/ 11181611 w 12191999"/>
              <a:gd name="connsiteY28" fmla="*/ 353950 h 657225"/>
              <a:gd name="connsiteX29" fmla="*/ 11427895 w 12191999"/>
              <a:gd name="connsiteY29" fmla="*/ 353931 h 657225"/>
              <a:gd name="connsiteX30" fmla="*/ 11427895 w 12191999"/>
              <a:gd name="connsiteY30" fmla="*/ 460788 h 657225"/>
              <a:gd name="connsiteX31" fmla="*/ 11452969 w 12191999"/>
              <a:gd name="connsiteY31" fmla="*/ 460788 h 657225"/>
              <a:gd name="connsiteX32" fmla="*/ 11452969 w 12191999"/>
              <a:gd name="connsiteY32" fmla="*/ 429156 h 657225"/>
              <a:gd name="connsiteX33" fmla="*/ 11462279 w 12191999"/>
              <a:gd name="connsiteY33" fmla="*/ 429156 h 657225"/>
              <a:gd name="connsiteX34" fmla="*/ 11506069 w 12191999"/>
              <a:gd name="connsiteY34" fmla="*/ 391243 h 657225"/>
              <a:gd name="connsiteX35" fmla="*/ 11457995 w 12191999"/>
              <a:gd name="connsiteY35" fmla="*/ 353931 h 657225"/>
              <a:gd name="connsiteX36" fmla="*/ 11323144 w 12191999"/>
              <a:gd name="connsiteY36" fmla="*/ 353931 h 657225"/>
              <a:gd name="connsiteX37" fmla="*/ 11323144 w 12191999"/>
              <a:gd name="connsiteY37" fmla="*/ 460694 h 657225"/>
              <a:gd name="connsiteX38" fmla="*/ 11356195 w 12191999"/>
              <a:gd name="connsiteY38" fmla="*/ 460807 h 657225"/>
              <a:gd name="connsiteX39" fmla="*/ 11420927 w 12191999"/>
              <a:gd name="connsiteY39" fmla="*/ 406438 h 657225"/>
              <a:gd name="connsiteX40" fmla="*/ 11355110 w 12191999"/>
              <a:gd name="connsiteY40" fmla="*/ 353969 h 657225"/>
              <a:gd name="connsiteX41" fmla="*/ 11355148 w 12191999"/>
              <a:gd name="connsiteY41" fmla="*/ 353931 h 657225"/>
              <a:gd name="connsiteX42" fmla="*/ 11323144 w 12191999"/>
              <a:gd name="connsiteY42" fmla="*/ 353931 h 657225"/>
              <a:gd name="connsiteX43" fmla="*/ 11231549 w 12191999"/>
              <a:gd name="connsiteY43" fmla="*/ 353931 h 657225"/>
              <a:gd name="connsiteX44" fmla="*/ 11206342 w 12191999"/>
              <a:gd name="connsiteY44" fmla="*/ 411873 h 657225"/>
              <a:gd name="connsiteX45" fmla="*/ 11199507 w 12191999"/>
              <a:gd name="connsiteY45" fmla="*/ 395869 h 657225"/>
              <a:gd name="connsiteX46" fmla="*/ 11173272 w 12191999"/>
              <a:gd name="connsiteY46" fmla="*/ 395869 h 657225"/>
              <a:gd name="connsiteX47" fmla="*/ 11204591 w 12191999"/>
              <a:gd name="connsiteY47" fmla="*/ 461202 h 657225"/>
              <a:gd name="connsiteX48" fmla="*/ 11207504 w 12191999"/>
              <a:gd name="connsiteY48" fmla="*/ 461202 h 657225"/>
              <a:gd name="connsiteX49" fmla="*/ 11258242 w 12191999"/>
              <a:gd name="connsiteY49" fmla="*/ 353931 h 657225"/>
              <a:gd name="connsiteX50" fmla="*/ 11611931 w 12191999"/>
              <a:gd name="connsiteY50" fmla="*/ 315372 h 657225"/>
              <a:gd name="connsiteX51" fmla="*/ 11611931 w 12191999"/>
              <a:gd name="connsiteY51" fmla="*/ 489997 h 657225"/>
              <a:gd name="connsiteX52" fmla="*/ 11631320 w 12191999"/>
              <a:gd name="connsiteY52" fmla="*/ 489997 h 657225"/>
              <a:gd name="connsiteX53" fmla="*/ 11631320 w 12191999"/>
              <a:gd name="connsiteY53" fmla="*/ 315372 h 657225"/>
              <a:gd name="connsiteX54" fmla="*/ 0 w 12191999"/>
              <a:gd name="connsiteY54" fmla="*/ 0 h 657225"/>
              <a:gd name="connsiteX55" fmla="*/ 12191999 w 12191999"/>
              <a:gd name="connsiteY55" fmla="*/ 0 h 657225"/>
              <a:gd name="connsiteX56" fmla="*/ 12191999 w 12191999"/>
              <a:gd name="connsiteY56" fmla="*/ 657225 h 657225"/>
              <a:gd name="connsiteX57" fmla="*/ 0 w 12191999"/>
              <a:gd name="connsiteY57" fmla="*/ 657225 h 657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2191999" h="657225">
                <a:moveTo>
                  <a:pt x="11452969" y="376499"/>
                </a:moveTo>
                <a:lnTo>
                  <a:pt x="11462279" y="376499"/>
                </a:lnTo>
                <a:cubicBezTo>
                  <a:pt x="11474655" y="376499"/>
                  <a:pt x="11480405" y="383194"/>
                  <a:pt x="11480405" y="391788"/>
                </a:cubicBezTo>
                <a:cubicBezTo>
                  <a:pt x="11480405" y="402132"/>
                  <a:pt x="11473779" y="407811"/>
                  <a:pt x="11460489" y="407811"/>
                </a:cubicBezTo>
                <a:lnTo>
                  <a:pt x="11460489" y="407698"/>
                </a:lnTo>
                <a:lnTo>
                  <a:pt x="11452969" y="407698"/>
                </a:lnTo>
                <a:close/>
                <a:moveTo>
                  <a:pt x="11348180" y="375389"/>
                </a:moveTo>
                <a:lnTo>
                  <a:pt x="11358518" y="375389"/>
                </a:lnTo>
                <a:cubicBezTo>
                  <a:pt x="11381821" y="375389"/>
                  <a:pt x="11394215" y="387049"/>
                  <a:pt x="11394215" y="406438"/>
                </a:cubicBezTo>
                <a:cubicBezTo>
                  <a:pt x="11394215" y="426411"/>
                  <a:pt x="11383744" y="439519"/>
                  <a:pt x="11360136" y="439519"/>
                </a:cubicBezTo>
                <a:lnTo>
                  <a:pt x="11348180" y="439519"/>
                </a:lnTo>
                <a:close/>
                <a:moveTo>
                  <a:pt x="11266961" y="353969"/>
                </a:moveTo>
                <a:lnTo>
                  <a:pt x="11265495" y="357072"/>
                </a:lnTo>
                <a:lnTo>
                  <a:pt x="11245714" y="398878"/>
                </a:lnTo>
                <a:lnTo>
                  <a:pt x="11245714" y="460789"/>
                </a:lnTo>
                <a:lnTo>
                  <a:pt x="11314177" y="460789"/>
                </a:lnTo>
                <a:lnTo>
                  <a:pt x="11314177" y="438202"/>
                </a:lnTo>
                <a:lnTo>
                  <a:pt x="11270807" y="438202"/>
                </a:lnTo>
                <a:lnTo>
                  <a:pt x="11270807" y="417365"/>
                </a:lnTo>
                <a:lnTo>
                  <a:pt x="11310331" y="417365"/>
                </a:lnTo>
                <a:lnTo>
                  <a:pt x="11310331" y="395794"/>
                </a:lnTo>
                <a:lnTo>
                  <a:pt x="11270807" y="395794"/>
                </a:lnTo>
                <a:lnTo>
                  <a:pt x="11270807" y="376706"/>
                </a:lnTo>
                <a:lnTo>
                  <a:pt x="11314177" y="376706"/>
                </a:lnTo>
                <a:lnTo>
                  <a:pt x="11314177" y="353969"/>
                </a:lnTo>
                <a:close/>
                <a:moveTo>
                  <a:pt x="11153224" y="353950"/>
                </a:moveTo>
                <a:lnTo>
                  <a:pt x="11169731" y="388347"/>
                </a:lnTo>
                <a:lnTo>
                  <a:pt x="11196175" y="388347"/>
                </a:lnTo>
                <a:lnTo>
                  <a:pt x="11181611" y="353950"/>
                </a:lnTo>
                <a:close/>
                <a:moveTo>
                  <a:pt x="11427895" y="353931"/>
                </a:moveTo>
                <a:lnTo>
                  <a:pt x="11427895" y="460788"/>
                </a:lnTo>
                <a:lnTo>
                  <a:pt x="11452969" y="460788"/>
                </a:lnTo>
                <a:lnTo>
                  <a:pt x="11452969" y="429156"/>
                </a:lnTo>
                <a:lnTo>
                  <a:pt x="11462279" y="429156"/>
                </a:lnTo>
                <a:cubicBezTo>
                  <a:pt x="11490838" y="429156"/>
                  <a:pt x="11506069" y="413265"/>
                  <a:pt x="11506069" y="391243"/>
                </a:cubicBezTo>
                <a:cubicBezTo>
                  <a:pt x="11506088" y="369710"/>
                  <a:pt x="11489277" y="353931"/>
                  <a:pt x="11457995" y="353931"/>
                </a:cubicBezTo>
                <a:close/>
                <a:moveTo>
                  <a:pt x="11323144" y="353931"/>
                </a:moveTo>
                <a:lnTo>
                  <a:pt x="11323144" y="460694"/>
                </a:lnTo>
                <a:cubicBezTo>
                  <a:pt x="11323144" y="460694"/>
                  <a:pt x="11343515" y="460807"/>
                  <a:pt x="11356195" y="460807"/>
                </a:cubicBezTo>
                <a:cubicBezTo>
                  <a:pt x="11401031" y="460807"/>
                  <a:pt x="11420927" y="437920"/>
                  <a:pt x="11420927" y="406438"/>
                </a:cubicBezTo>
                <a:cubicBezTo>
                  <a:pt x="11420927" y="376348"/>
                  <a:pt x="11399984" y="353969"/>
                  <a:pt x="11355110" y="353969"/>
                </a:cubicBezTo>
                <a:lnTo>
                  <a:pt x="11355148" y="353931"/>
                </a:lnTo>
                <a:cubicBezTo>
                  <a:pt x="11344391" y="353931"/>
                  <a:pt x="11323144" y="353931"/>
                  <a:pt x="11323144" y="353931"/>
                </a:cubicBezTo>
                <a:close/>
                <a:moveTo>
                  <a:pt x="11231549" y="353931"/>
                </a:moveTo>
                <a:lnTo>
                  <a:pt x="11206342" y="411873"/>
                </a:lnTo>
                <a:lnTo>
                  <a:pt x="11199507" y="395869"/>
                </a:lnTo>
                <a:lnTo>
                  <a:pt x="11173272" y="395869"/>
                </a:lnTo>
                <a:lnTo>
                  <a:pt x="11204591" y="461202"/>
                </a:lnTo>
                <a:lnTo>
                  <a:pt x="11207504" y="461202"/>
                </a:lnTo>
                <a:lnTo>
                  <a:pt x="11258242" y="353931"/>
                </a:lnTo>
                <a:close/>
                <a:moveTo>
                  <a:pt x="11611931" y="315372"/>
                </a:moveTo>
                <a:lnTo>
                  <a:pt x="11611931" y="489997"/>
                </a:lnTo>
                <a:lnTo>
                  <a:pt x="11631320" y="489997"/>
                </a:lnTo>
                <a:lnTo>
                  <a:pt x="11631320" y="315372"/>
                </a:lnTo>
                <a:close/>
                <a:moveTo>
                  <a:pt x="0" y="0"/>
                </a:moveTo>
                <a:lnTo>
                  <a:pt x="12191999" y="0"/>
                </a:lnTo>
                <a:lnTo>
                  <a:pt x="12191999" y="657225"/>
                </a:lnTo>
                <a:lnTo>
                  <a:pt x="0" y="657225"/>
                </a:lnTo>
                <a:close/>
              </a:path>
            </a:pathLst>
          </a:custGeom>
          <a:solidFill>
            <a:schemeClr val="bg1"/>
          </a:solidFill>
          <a:ln>
            <a:noFill/>
          </a:ln>
        </p:spPr>
        <p:txBody>
          <a:bodyPr wrap="square" anchor="ctr">
            <a:noAutofit/>
          </a:bodyPr>
          <a:lstStyle>
            <a:lvl1pPr marL="0" indent="0" algn="ctr" defTabSz="914400" rtl="0" eaLnBrk="1" latinLnBrk="0" hangingPunct="1">
              <a:lnSpc>
                <a:spcPct val="90000"/>
              </a:lnSpc>
              <a:spcBef>
                <a:spcPts val="600"/>
              </a:spcBef>
              <a:spcAft>
                <a:spcPts val="300"/>
              </a:spcAft>
              <a:buFont typeface="Wingdings" pitchFamily="2" charset="2"/>
              <a:buNone/>
              <a:defRPr sz="1400" b="0" kern="1200">
                <a:solidFill>
                  <a:schemeClr val="tx1">
                    <a:lumMod val="50000"/>
                    <a:lumOff val="50000"/>
                  </a:schemeClr>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77850" indent="-301625"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69950" indent="-277813"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a:p>
        </p:txBody>
      </p:sp>
      <p:graphicFrame>
        <p:nvGraphicFramePr>
          <p:cNvPr id="7" name="Object 6" hidden="1">
            <a:extLst>
              <a:ext uri="{FF2B5EF4-FFF2-40B4-BE49-F238E27FC236}">
                <a16:creationId xmlns:a16="http://schemas.microsoft.com/office/drawing/2014/main" id="{E83C530C-6A23-2143-97CF-E9F3861AF40A}"/>
              </a:ext>
            </a:extLst>
          </p:cNvPr>
          <p:cNvGraphicFramePr>
            <a:graphicFrameLocks noChangeAspect="1"/>
          </p:cNvGraphicFramePr>
          <p:nvPr userDrawn="1">
            <p:custDataLst>
              <p:tags r:id="rId52"/>
            </p:custDataLst>
            <p:extLst>
              <p:ext uri="{D42A27DB-BD31-4B8C-83A1-F6EECF244321}">
                <p14:modId xmlns:p14="http://schemas.microsoft.com/office/powerpoint/2010/main" val="266784335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7" name="think-cell Slide" r:id="rId53" imgW="7772400" imgH="10058400" progId="TCLayout.ActiveDocument.1">
                  <p:embed/>
                </p:oleObj>
              </mc:Choice>
              <mc:Fallback>
                <p:oleObj name="think-cell Slide" r:id="rId53" imgW="7772400" imgH="10058400" progId="TCLayout.ActiveDocument.1">
                  <p:embed/>
                  <p:pic>
                    <p:nvPicPr>
                      <p:cNvPr id="7" name="Object 6" hidden="1">
                        <a:extLst>
                          <a:ext uri="{FF2B5EF4-FFF2-40B4-BE49-F238E27FC236}">
                            <a16:creationId xmlns:a16="http://schemas.microsoft.com/office/drawing/2014/main" id="{E83C530C-6A23-2143-97CF-E9F3861AF40A}"/>
                          </a:ext>
                        </a:extLst>
                      </p:cNvPr>
                      <p:cNvPicPr/>
                      <p:nvPr/>
                    </p:nvPicPr>
                    <p:blipFill>
                      <a:blip r:embed="rId54"/>
                      <a:stretch>
                        <a:fillRect/>
                      </a:stretch>
                    </p:blipFill>
                    <p:spPr>
                      <a:xfrm>
                        <a:off x="2118" y="1589"/>
                        <a:ext cx="2116"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0D71511-F07B-A04E-A54D-BD95CD8FCE2A}"/>
              </a:ext>
            </a:extLst>
          </p:cNvPr>
          <p:cNvSpPr>
            <a:spLocks noGrp="1"/>
          </p:cNvSpPr>
          <p:nvPr userDrawn="1">
            <p:ph type="title"/>
          </p:nvPr>
        </p:nvSpPr>
        <p:spPr>
          <a:xfrm>
            <a:off x="575734" y="423038"/>
            <a:ext cx="11040533" cy="567394"/>
          </a:xfrm>
          <a:prstGeom prst="rect">
            <a:avLst/>
          </a:prstGeom>
        </p:spPr>
        <p:txBody>
          <a:bodyPr vert="horz" lIns="0" tIns="0" rIns="0" bIns="0" rtlCol="0" anchor="b">
            <a:noAutofit/>
          </a:bodyPr>
          <a:lstStyle/>
          <a:p>
            <a:endParaRPr lang="en-US"/>
          </a:p>
        </p:txBody>
      </p:sp>
      <p:sp>
        <p:nvSpPr>
          <p:cNvPr id="4" name="Date Placeholder 3">
            <a:extLst>
              <a:ext uri="{FF2B5EF4-FFF2-40B4-BE49-F238E27FC236}">
                <a16:creationId xmlns:a16="http://schemas.microsoft.com/office/drawing/2014/main" id="{C6A45110-0167-564A-88EE-77AC9A9796DD}"/>
              </a:ext>
            </a:extLst>
          </p:cNvPr>
          <p:cNvSpPr>
            <a:spLocks noGrp="1"/>
          </p:cNvSpPr>
          <p:nvPr userDrawn="1">
            <p:ph type="dt" sz="half" idx="2"/>
          </p:nvPr>
        </p:nvSpPr>
        <p:spPr>
          <a:xfrm flipH="1">
            <a:off x="-1" y="6864579"/>
            <a:ext cx="45719" cy="0"/>
          </a:xfrm>
          <a:prstGeom prst="rect">
            <a:avLst/>
          </a:prstGeom>
          <a:ln w="0">
            <a:solidFill>
              <a:schemeClr val="bg1">
                <a:alpha val="0"/>
              </a:schemeClr>
            </a:solidFill>
          </a:ln>
        </p:spPr>
        <p:txBody>
          <a:bodyPr vert="horz" lIns="0" tIns="45720" rIns="91440" bIns="45720" rtlCol="0" anchor="ctr"/>
          <a:lstStyle>
            <a:lvl1pPr algn="l">
              <a:defRPr sz="200">
                <a:solidFill>
                  <a:schemeClr val="bg1">
                    <a:alpha val="0"/>
                  </a:schemeClr>
                </a:solidFill>
              </a:defRPr>
            </a:lvl1pPr>
          </a:lstStyle>
          <a:p>
            <a:endParaRPr lang="en-US"/>
          </a:p>
        </p:txBody>
      </p:sp>
      <p:sp>
        <p:nvSpPr>
          <p:cNvPr id="6" name="Text Placeholder 5">
            <a:extLst>
              <a:ext uri="{FF2B5EF4-FFF2-40B4-BE49-F238E27FC236}">
                <a16:creationId xmlns:a16="http://schemas.microsoft.com/office/drawing/2014/main" id="{23D3717A-E9D8-444D-8D16-5A32534671E2}"/>
              </a:ext>
            </a:extLst>
          </p:cNvPr>
          <p:cNvSpPr>
            <a:spLocks noGrp="1"/>
          </p:cNvSpPr>
          <p:nvPr userDrawn="1">
            <p:ph type="body" idx="1"/>
          </p:nvPr>
        </p:nvSpPr>
        <p:spPr>
          <a:xfrm>
            <a:off x="575734" y="1233489"/>
            <a:ext cx="11040533" cy="4932361"/>
          </a:xfrm>
          <a:prstGeom prst="rect">
            <a:avLst/>
          </a:prstGeom>
        </p:spPr>
        <p:txBody>
          <a:bodyPr vert="horz" lIns="0" tIns="0" rIns="0" bIns="0" rtlCol="0">
            <a:noAutofit/>
          </a:bodyPr>
          <a:lstStyle/>
          <a:p>
            <a:pPr marL="0" marR="0" lvl="0" indent="0" algn="l" defTabSz="914400" rtl="0" eaLnBrk="1" fontAlgn="auto" latinLnBrk="0" hangingPunct="1">
              <a:lnSpc>
                <a:spcPct val="90000"/>
              </a:lnSpc>
              <a:spcBef>
                <a:spcPts val="600"/>
              </a:spcBef>
              <a:spcAft>
                <a:spcPts val="300"/>
              </a:spcAft>
              <a:buClrTx/>
              <a:buSzTx/>
              <a:buFont typeface="Wingdings" pitchFamily="2" charset="2"/>
              <a:buNone/>
              <a:tabLst/>
              <a:defRPr/>
            </a:pPr>
            <a:r>
              <a:rPr lang="en-US"/>
              <a:t>Subheading (first level)</a:t>
            </a:r>
          </a:p>
          <a:p>
            <a:pPr lvl="1"/>
            <a:r>
              <a:rPr lang="en-US"/>
              <a:t>Body text (second level)</a:t>
            </a:r>
          </a:p>
          <a:p>
            <a:pPr lvl="2"/>
            <a:r>
              <a:rPr lang="en-US"/>
              <a:t>Square bullet (third level)</a:t>
            </a:r>
          </a:p>
          <a:p>
            <a:pPr lvl="3"/>
            <a:r>
              <a:rPr lang="en-US"/>
              <a:t>Dashed bullet (fourth level)</a:t>
            </a:r>
          </a:p>
          <a:p>
            <a:pPr lvl="4"/>
            <a:r>
              <a:rPr lang="en-US"/>
              <a:t>Dashed bullet (fifth level)</a:t>
            </a:r>
          </a:p>
          <a:p>
            <a:pPr lvl="5"/>
            <a:r>
              <a:rPr lang="en-US"/>
              <a:t>Dashed bullet (sixth level)</a:t>
            </a:r>
          </a:p>
          <a:p>
            <a:pPr lvl="6"/>
            <a:r>
              <a:rPr lang="en-US"/>
              <a:t>Dashed bullet (seventh level)</a:t>
            </a:r>
          </a:p>
          <a:p>
            <a:pPr lvl="7"/>
            <a:r>
              <a:rPr lang="en-US"/>
              <a:t>Dashed bullet (eighth level)</a:t>
            </a:r>
          </a:p>
          <a:p>
            <a:pPr lvl="8"/>
            <a:r>
              <a:rPr lang="en-US"/>
              <a:t>Dashed bullet (ninth level)</a:t>
            </a:r>
          </a:p>
        </p:txBody>
      </p:sp>
      <p:grpSp>
        <p:nvGrpSpPr>
          <p:cNvPr id="16" name="Group 15">
            <a:extLst>
              <a:ext uri="{FF2B5EF4-FFF2-40B4-BE49-F238E27FC236}">
                <a16:creationId xmlns:a16="http://schemas.microsoft.com/office/drawing/2014/main" id="{9DD01246-F4C7-1C40-BD87-B278116D308C}"/>
              </a:ext>
            </a:extLst>
          </p:cNvPr>
          <p:cNvGrpSpPr/>
          <p:nvPr userDrawn="1"/>
        </p:nvGrpSpPr>
        <p:grpSpPr>
          <a:xfrm>
            <a:off x="-266701" y="-246933"/>
            <a:ext cx="12724248" cy="7348688"/>
            <a:chOff x="-266701" y="-246933"/>
            <a:chExt cx="12724248" cy="7348688"/>
          </a:xfrm>
        </p:grpSpPr>
        <p:grpSp>
          <p:nvGrpSpPr>
            <p:cNvPr id="14" name="Group 13">
              <a:extLst>
                <a:ext uri="{FF2B5EF4-FFF2-40B4-BE49-F238E27FC236}">
                  <a16:creationId xmlns:a16="http://schemas.microsoft.com/office/drawing/2014/main" id="{8F743F1F-CE4E-E94B-B9F2-16B4CD05F2C5}"/>
                </a:ext>
              </a:extLst>
            </p:cNvPr>
            <p:cNvGrpSpPr/>
            <p:nvPr userDrawn="1"/>
          </p:nvGrpSpPr>
          <p:grpSpPr>
            <a:xfrm>
              <a:off x="-266701" y="421650"/>
              <a:ext cx="12724248" cy="6283249"/>
              <a:chOff x="-266701" y="421650"/>
              <a:chExt cx="12724248" cy="6283249"/>
            </a:xfrm>
          </p:grpSpPr>
          <p:grpSp>
            <p:nvGrpSpPr>
              <p:cNvPr id="20" name="Group 19">
                <a:extLst>
                  <a:ext uri="{FF2B5EF4-FFF2-40B4-BE49-F238E27FC236}">
                    <a16:creationId xmlns:a16="http://schemas.microsoft.com/office/drawing/2014/main" id="{73BDEFE8-9FA7-3249-9B81-EC3C5E1E0CD6}"/>
                  </a:ext>
                </a:extLst>
              </p:cNvPr>
              <p:cNvGrpSpPr/>
              <p:nvPr userDrawn="1"/>
            </p:nvGrpSpPr>
            <p:grpSpPr>
              <a:xfrm>
                <a:off x="-266701" y="421651"/>
                <a:ext cx="259364" cy="567396"/>
                <a:chOff x="-256404" y="360363"/>
                <a:chExt cx="251461" cy="692152"/>
              </a:xfrm>
            </p:grpSpPr>
            <p:grpSp>
              <p:nvGrpSpPr>
                <p:cNvPr id="41" name="Group 40">
                  <a:extLst>
                    <a:ext uri="{FF2B5EF4-FFF2-40B4-BE49-F238E27FC236}">
                      <a16:creationId xmlns:a16="http://schemas.microsoft.com/office/drawing/2014/main" id="{5E12FD18-FB76-9E45-A035-FA2ACD4D007A}"/>
                    </a:ext>
                  </a:extLst>
                </p:cNvPr>
                <p:cNvGrpSpPr/>
                <p:nvPr userDrawn="1"/>
              </p:nvGrpSpPr>
              <p:grpSpPr>
                <a:xfrm rot="16200000">
                  <a:off x="-476749" y="580708"/>
                  <a:ext cx="692152" cy="251461"/>
                  <a:chOff x="431800" y="-235792"/>
                  <a:chExt cx="4400551" cy="235792"/>
                </a:xfrm>
              </p:grpSpPr>
              <p:cxnSp>
                <p:nvCxnSpPr>
                  <p:cNvPr id="42" name="Straight Connector 41">
                    <a:extLst>
                      <a:ext uri="{FF2B5EF4-FFF2-40B4-BE49-F238E27FC236}">
                        <a16:creationId xmlns:a16="http://schemas.microsoft.com/office/drawing/2014/main" id="{F22B49D1-B420-0E48-A6FA-450123A6193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B8D8002-031B-CE42-98C5-47AAD17660D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2C8986EF-5E91-E542-AF40-1DD8D8D0DAC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45" name="TextBox 44">
                  <a:extLst>
                    <a:ext uri="{FF2B5EF4-FFF2-40B4-BE49-F238E27FC236}">
                      <a16:creationId xmlns:a16="http://schemas.microsoft.com/office/drawing/2014/main" id="{4A41689B-8D32-B948-A8FC-5383A4F1BF0A}"/>
                    </a:ext>
                  </a:extLst>
                </p:cNvPr>
                <p:cNvSpPr txBox="1"/>
                <p:nvPr userDrawn="1"/>
              </p:nvSpPr>
              <p:spPr>
                <a:xfrm rot="16200000">
                  <a:off x="-279288" y="662665"/>
                  <a:ext cx="297230" cy="80792"/>
                </a:xfrm>
                <a:prstGeom prst="rect">
                  <a:avLst/>
                </a:prstGeom>
              </p:spPr>
              <p:txBody>
                <a:bodyPr vert="horz" wrap="none" lIns="0" tIns="0" rIns="0" bIns="0" rtlCol="0" anchor="ctr">
                  <a:spAutoFit/>
                </a:bodyPr>
                <a:lstStyle/>
                <a:p>
                  <a:pPr algn="ctr"/>
                  <a:r>
                    <a:rPr lang="en-US" sz="700">
                      <a:solidFill>
                        <a:schemeClr val="accent2"/>
                      </a:solidFill>
                      <a:latin typeface="Arial" charset="0"/>
                      <a:ea typeface="Arial" charset="0"/>
                      <a:cs typeface="Arial" charset="0"/>
                    </a:rPr>
                    <a:t>TITLE</a:t>
                  </a:r>
                </a:p>
              </p:txBody>
            </p:sp>
          </p:grpSp>
          <p:grpSp>
            <p:nvGrpSpPr>
              <p:cNvPr id="19" name="Group 18">
                <a:extLst>
                  <a:ext uri="{FF2B5EF4-FFF2-40B4-BE49-F238E27FC236}">
                    <a16:creationId xmlns:a16="http://schemas.microsoft.com/office/drawing/2014/main" id="{D3D8E7E2-5950-E647-8606-275BB3DBFB13}"/>
                  </a:ext>
                </a:extLst>
              </p:cNvPr>
              <p:cNvGrpSpPr/>
              <p:nvPr userDrawn="1"/>
            </p:nvGrpSpPr>
            <p:grpSpPr>
              <a:xfrm>
                <a:off x="-266700" y="6199390"/>
                <a:ext cx="259364" cy="505509"/>
                <a:chOff x="-256403" y="6200775"/>
                <a:chExt cx="251461" cy="505509"/>
              </a:xfrm>
            </p:grpSpPr>
            <p:grpSp>
              <p:nvGrpSpPr>
                <p:cNvPr id="58" name="Group 57">
                  <a:extLst>
                    <a:ext uri="{FF2B5EF4-FFF2-40B4-BE49-F238E27FC236}">
                      <a16:creationId xmlns:a16="http://schemas.microsoft.com/office/drawing/2014/main" id="{AA9EE014-7DD6-A04C-A2C6-7D9CCBE48B53}"/>
                    </a:ext>
                  </a:extLst>
                </p:cNvPr>
                <p:cNvGrpSpPr/>
                <p:nvPr userDrawn="1"/>
              </p:nvGrpSpPr>
              <p:grpSpPr>
                <a:xfrm rot="16200000">
                  <a:off x="-383427" y="6327799"/>
                  <a:ext cx="505509" cy="251461"/>
                  <a:chOff x="431800" y="-235792"/>
                  <a:chExt cx="4400551" cy="235792"/>
                </a:xfrm>
              </p:grpSpPr>
              <p:cxnSp>
                <p:nvCxnSpPr>
                  <p:cNvPr id="59" name="Straight Connector 58">
                    <a:extLst>
                      <a:ext uri="{FF2B5EF4-FFF2-40B4-BE49-F238E27FC236}">
                        <a16:creationId xmlns:a16="http://schemas.microsoft.com/office/drawing/2014/main" id="{73AE3D48-81C2-CC4E-A917-4EFA9A8758E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7BA2BEC-D71E-2D4A-8263-034DF97FA82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C5E46BE6-4D23-5749-A5BA-CC466FA5839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62" name="TextBox 61">
                  <a:extLst>
                    <a:ext uri="{FF2B5EF4-FFF2-40B4-BE49-F238E27FC236}">
                      <a16:creationId xmlns:a16="http://schemas.microsoft.com/office/drawing/2014/main" id="{F4593E23-5413-AB48-9A3C-62AE835EAF18}"/>
                    </a:ext>
                  </a:extLst>
                </p:cNvPr>
                <p:cNvSpPr txBox="1"/>
                <p:nvPr userDrawn="1"/>
              </p:nvSpPr>
              <p:spPr>
                <a:xfrm rot="16200000">
                  <a:off x="-284561" y="6399801"/>
                  <a:ext cx="307777" cy="129266"/>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FOOT</a:t>
                  </a:r>
                  <a:br>
                    <a:rPr lang="en-US" sz="700">
                      <a:solidFill>
                        <a:schemeClr val="accent2"/>
                      </a:solidFill>
                      <a:latin typeface="Arial" charset="0"/>
                      <a:ea typeface="Arial" charset="0"/>
                      <a:cs typeface="Arial" charset="0"/>
                    </a:rPr>
                  </a:br>
                  <a:r>
                    <a:rPr lang="en-US" sz="700">
                      <a:solidFill>
                        <a:schemeClr val="accent2"/>
                      </a:solidFill>
                      <a:latin typeface="Arial" charset="0"/>
                      <a:ea typeface="Arial" charset="0"/>
                      <a:cs typeface="Arial" charset="0"/>
                    </a:rPr>
                    <a:t>NOTES</a:t>
                  </a:r>
                </a:p>
              </p:txBody>
            </p:sp>
          </p:grpSp>
          <p:grpSp>
            <p:nvGrpSpPr>
              <p:cNvPr id="18" name="Group 17">
                <a:extLst>
                  <a:ext uri="{FF2B5EF4-FFF2-40B4-BE49-F238E27FC236}">
                    <a16:creationId xmlns:a16="http://schemas.microsoft.com/office/drawing/2014/main" id="{00980A37-D446-294D-95D8-4AE280E4D28B}"/>
                  </a:ext>
                </a:extLst>
              </p:cNvPr>
              <p:cNvGrpSpPr/>
              <p:nvPr userDrawn="1"/>
            </p:nvGrpSpPr>
            <p:grpSpPr>
              <a:xfrm>
                <a:off x="-266700" y="1233487"/>
                <a:ext cx="259364" cy="4930977"/>
                <a:chOff x="-256403" y="1304924"/>
                <a:chExt cx="251461" cy="4843215"/>
              </a:xfrm>
            </p:grpSpPr>
            <p:grpSp>
              <p:nvGrpSpPr>
                <p:cNvPr id="36" name="Group 35">
                  <a:extLst>
                    <a:ext uri="{FF2B5EF4-FFF2-40B4-BE49-F238E27FC236}">
                      <a16:creationId xmlns:a16="http://schemas.microsoft.com/office/drawing/2014/main" id="{45EE91C7-0375-8348-97F0-234CD68ACFF0}"/>
                    </a:ext>
                  </a:extLst>
                </p:cNvPr>
                <p:cNvGrpSpPr/>
                <p:nvPr userDrawn="1"/>
              </p:nvGrpSpPr>
              <p:grpSpPr>
                <a:xfrm rot="16200000">
                  <a:off x="-2552280" y="3600801"/>
                  <a:ext cx="4843215" cy="251461"/>
                  <a:chOff x="431800" y="-235792"/>
                  <a:chExt cx="4400551" cy="235792"/>
                </a:xfrm>
              </p:grpSpPr>
              <p:cxnSp>
                <p:nvCxnSpPr>
                  <p:cNvPr id="37" name="Straight Connector 36">
                    <a:extLst>
                      <a:ext uri="{FF2B5EF4-FFF2-40B4-BE49-F238E27FC236}">
                        <a16:creationId xmlns:a16="http://schemas.microsoft.com/office/drawing/2014/main" id="{2EC75812-09C4-7D47-9562-5A8554E0209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6B1498-4B03-674C-80E6-9988AA331A62}"/>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3DD40D0F-5B45-A441-A065-F744384DF89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40" name="TextBox 39">
                  <a:extLst>
                    <a:ext uri="{FF2B5EF4-FFF2-40B4-BE49-F238E27FC236}">
                      <a16:creationId xmlns:a16="http://schemas.microsoft.com/office/drawing/2014/main" id="{CE0455E3-6AFB-7D40-BC14-7ACB1F9DAD6E}"/>
                    </a:ext>
                  </a:extLst>
                </p:cNvPr>
                <p:cNvSpPr txBox="1"/>
                <p:nvPr userDrawn="1"/>
              </p:nvSpPr>
              <p:spPr>
                <a:xfrm rot="16200000">
                  <a:off x="-991958" y="3686134"/>
                  <a:ext cx="1722572" cy="8079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66" name="Straight Arrow Connector 65">
                  <a:extLst>
                    <a:ext uri="{FF2B5EF4-FFF2-40B4-BE49-F238E27FC236}">
                      <a16:creationId xmlns:a16="http://schemas.microsoft.com/office/drawing/2014/main" id="{369A0288-B930-114B-B48F-D4F3EF647C47}"/>
                    </a:ext>
                  </a:extLst>
                </p:cNvPr>
                <p:cNvCxnSpPr>
                  <a:cxnSpLocks/>
                  <a:stCxn id="40" idx="1"/>
                </p:cNvCxnSpPr>
                <p:nvPr userDrawn="1"/>
              </p:nvCxnSpPr>
              <p:spPr>
                <a:xfrm flipH="1">
                  <a:off x="-130672" y="4587817"/>
                  <a:ext cx="1" cy="156032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C5709236-298B-344F-AFF7-86E5F553B2FA}"/>
                    </a:ext>
                  </a:extLst>
                </p:cNvPr>
                <p:cNvCxnSpPr>
                  <a:cxnSpLocks/>
                  <a:stCxn id="40" idx="3"/>
                </p:cNvCxnSpPr>
                <p:nvPr userDrawn="1"/>
              </p:nvCxnSpPr>
              <p:spPr>
                <a:xfrm flipV="1">
                  <a:off x="-130672" y="1304929"/>
                  <a:ext cx="0" cy="1560316"/>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6943FE73-F9AD-6244-A555-E55A255D9C2B}"/>
                  </a:ext>
                </a:extLst>
              </p:cNvPr>
              <p:cNvGrpSpPr/>
              <p:nvPr userDrawn="1"/>
            </p:nvGrpSpPr>
            <p:grpSpPr>
              <a:xfrm rot="16200000">
                <a:off x="12044168" y="575667"/>
                <a:ext cx="567396" cy="259362"/>
                <a:chOff x="431801" y="-235792"/>
                <a:chExt cx="4400550" cy="235792"/>
              </a:xfrm>
            </p:grpSpPr>
            <p:cxnSp>
              <p:nvCxnSpPr>
                <p:cNvPr id="70" name="Straight Connector 69">
                  <a:extLst>
                    <a:ext uri="{FF2B5EF4-FFF2-40B4-BE49-F238E27FC236}">
                      <a16:creationId xmlns:a16="http://schemas.microsoft.com/office/drawing/2014/main" id="{C3628860-D8D8-0042-9BCF-5AA5EE7B1049}"/>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8BB8402-4D22-B448-885D-1B05C4E245E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5AE26B18-92DF-3249-AC98-8FA7C7C05ACB}"/>
                  </a:ext>
                </a:extLst>
              </p:cNvPr>
              <p:cNvGrpSpPr/>
              <p:nvPr userDrawn="1"/>
            </p:nvGrpSpPr>
            <p:grpSpPr>
              <a:xfrm rot="16200000">
                <a:off x="12075109" y="6322462"/>
                <a:ext cx="505509" cy="259364"/>
                <a:chOff x="431801" y="-235792"/>
                <a:chExt cx="4400550" cy="235792"/>
              </a:xfrm>
            </p:grpSpPr>
            <p:cxnSp>
              <p:nvCxnSpPr>
                <p:cNvPr id="84" name="Straight Connector 83">
                  <a:extLst>
                    <a:ext uri="{FF2B5EF4-FFF2-40B4-BE49-F238E27FC236}">
                      <a16:creationId xmlns:a16="http://schemas.microsoft.com/office/drawing/2014/main" id="{CF4903C6-7D49-3144-8CA4-C4535B8178A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18B5DD9-7082-2F46-B230-AB7FEF259DF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2450701C-1FD4-734B-B53D-04C1A47F09EC}"/>
                  </a:ext>
                </a:extLst>
              </p:cNvPr>
              <p:cNvGrpSpPr/>
              <p:nvPr userDrawn="1"/>
            </p:nvGrpSpPr>
            <p:grpSpPr>
              <a:xfrm rot="16200000">
                <a:off x="9863272" y="3570188"/>
                <a:ext cx="4929186" cy="259364"/>
                <a:chOff x="431801" y="-235792"/>
                <a:chExt cx="4462347" cy="235792"/>
              </a:xfrm>
            </p:grpSpPr>
            <p:cxnSp>
              <p:nvCxnSpPr>
                <p:cNvPr id="92" name="Straight Connector 91">
                  <a:extLst>
                    <a:ext uri="{FF2B5EF4-FFF2-40B4-BE49-F238E27FC236}">
                      <a16:creationId xmlns:a16="http://schemas.microsoft.com/office/drawing/2014/main" id="{EA7F5C02-DBA8-114C-B8AD-E6E39FB3E452}"/>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BBED8D4-0952-E441-B264-00A3F7C399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nvGrpSpPr>
            <p:cNvPr id="15" name="Group 14">
              <a:extLst>
                <a:ext uri="{FF2B5EF4-FFF2-40B4-BE49-F238E27FC236}">
                  <a16:creationId xmlns:a16="http://schemas.microsoft.com/office/drawing/2014/main" id="{83624E05-C02E-8545-871A-D3BCB32E0FB1}"/>
                </a:ext>
              </a:extLst>
            </p:cNvPr>
            <p:cNvGrpSpPr/>
            <p:nvPr userDrawn="1"/>
          </p:nvGrpSpPr>
          <p:grpSpPr>
            <a:xfrm>
              <a:off x="574987" y="-246933"/>
              <a:ext cx="11040535" cy="7348688"/>
              <a:chOff x="574987" y="-246933"/>
              <a:chExt cx="11040535" cy="7348688"/>
            </a:xfrm>
          </p:grpSpPr>
          <p:grpSp>
            <p:nvGrpSpPr>
              <p:cNvPr id="9" name="Group 8">
                <a:extLst>
                  <a:ext uri="{FF2B5EF4-FFF2-40B4-BE49-F238E27FC236}">
                    <a16:creationId xmlns:a16="http://schemas.microsoft.com/office/drawing/2014/main" id="{F27CEBF6-43E9-5F47-8E2C-B54AD33300C0}"/>
                  </a:ext>
                </a:extLst>
              </p:cNvPr>
              <p:cNvGrpSpPr/>
              <p:nvPr userDrawn="1"/>
            </p:nvGrpSpPr>
            <p:grpSpPr>
              <a:xfrm>
                <a:off x="574987" y="-246933"/>
                <a:ext cx="11040535" cy="7347304"/>
                <a:chOff x="431240" y="-246933"/>
                <a:chExt cx="8280401" cy="7347304"/>
              </a:xfrm>
            </p:grpSpPr>
            <p:grpSp>
              <p:nvGrpSpPr>
                <p:cNvPr id="54" name="Group 53">
                  <a:extLst>
                    <a:ext uri="{FF2B5EF4-FFF2-40B4-BE49-F238E27FC236}">
                      <a16:creationId xmlns:a16="http://schemas.microsoft.com/office/drawing/2014/main" id="{0FC885F4-0406-DD40-A377-62D4618F4E97}"/>
                    </a:ext>
                  </a:extLst>
                </p:cNvPr>
                <p:cNvGrpSpPr/>
                <p:nvPr userDrawn="1"/>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5BF68FD4-ABD4-6F49-AD60-341BFE5D1119}"/>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60F2D9F-628D-F44D-844A-F65DE298D8E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2015149B-889B-6140-AA46-36035191AC4D}"/>
                    </a:ext>
                  </a:extLst>
                </p:cNvPr>
                <p:cNvGrpSpPr/>
                <p:nvPr userDrawn="1"/>
              </p:nvGrpSpPr>
              <p:grpSpPr>
                <a:xfrm>
                  <a:off x="431240" y="-246933"/>
                  <a:ext cx="8280401" cy="235792"/>
                  <a:chOff x="431800" y="-240735"/>
                  <a:chExt cx="8280401" cy="235792"/>
                </a:xfrm>
              </p:grpSpPr>
              <p:grpSp>
                <p:nvGrpSpPr>
                  <p:cNvPr id="29" name="Group 28">
                    <a:extLst>
                      <a:ext uri="{FF2B5EF4-FFF2-40B4-BE49-F238E27FC236}">
                        <a16:creationId xmlns:a16="http://schemas.microsoft.com/office/drawing/2014/main" id="{6943FC13-01DD-AC42-A596-C5EAB432F263}"/>
                      </a:ext>
                    </a:extLst>
                  </p:cNvPr>
                  <p:cNvGrpSpPr/>
                  <p:nvPr userDrawn="1"/>
                </p:nvGrpSpPr>
                <p:grpSpPr>
                  <a:xfrm>
                    <a:off x="431800" y="-240735"/>
                    <a:ext cx="8280400" cy="235792"/>
                    <a:chOff x="431800" y="-235792"/>
                    <a:chExt cx="4400551" cy="235792"/>
                  </a:xfrm>
                </p:grpSpPr>
                <p:cxnSp>
                  <p:nvCxnSpPr>
                    <p:cNvPr id="23" name="Straight Connector 22">
                      <a:extLst>
                        <a:ext uri="{FF2B5EF4-FFF2-40B4-BE49-F238E27FC236}">
                          <a16:creationId xmlns:a16="http://schemas.microsoft.com/office/drawing/2014/main" id="{12F2B51E-5808-304B-9933-3B15AE6AE84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3FF3526-1234-674B-80E7-BCA857B95E8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F4605588-4BA0-B14E-B9D7-4220945390F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30" name="TextBox 29">
                    <a:extLst>
                      <a:ext uri="{FF2B5EF4-FFF2-40B4-BE49-F238E27FC236}">
                        <a16:creationId xmlns:a16="http://schemas.microsoft.com/office/drawing/2014/main" id="{75E48346-3BAB-6A45-BD6B-2E12F1AC491B}"/>
                      </a:ext>
                    </a:extLst>
                  </p:cNvPr>
                  <p:cNvSpPr txBox="1"/>
                  <p:nvPr userDrawn="1"/>
                </p:nvSpPr>
                <p:spPr>
                  <a:xfrm>
                    <a:off x="3914336" y="-176700"/>
                    <a:ext cx="1315339" cy="107722"/>
                  </a:xfrm>
                  <a:prstGeom prst="rect">
                    <a:avLst/>
                  </a:prstGeom>
                </p:spPr>
                <p:txBody>
                  <a:bodyPr vert="horz" wrap="none" lIns="108000" tIns="0" rIns="108000" bIns="0" rtlCol="0" anchor="ctr">
                    <a:spAutoFit/>
                  </a:bodyPr>
                  <a:lstStyle/>
                  <a:p>
                    <a:pPr algn="ctr"/>
                    <a:r>
                      <a:rPr lang="en-US" sz="700">
                        <a:solidFill>
                          <a:schemeClr val="accent2"/>
                        </a:solidFill>
                        <a:latin typeface="Arial" charset="0"/>
                        <a:ea typeface="Arial" charset="0"/>
                        <a:cs typeface="Arial" charset="0"/>
                      </a:rPr>
                      <a:t>KEEP CONTENT WITHIN THIS AREA</a:t>
                    </a:r>
                  </a:p>
                </p:txBody>
              </p:sp>
              <p:cxnSp>
                <p:nvCxnSpPr>
                  <p:cNvPr id="64" name="Straight Arrow Connector 63">
                    <a:extLst>
                      <a:ext uri="{FF2B5EF4-FFF2-40B4-BE49-F238E27FC236}">
                        <a16:creationId xmlns:a16="http://schemas.microsoft.com/office/drawing/2014/main" id="{7C3A3DDC-8736-8B47-957C-4DB3DC7BA389}"/>
                      </a:ext>
                    </a:extLst>
                  </p:cNvPr>
                  <p:cNvCxnSpPr>
                    <a:cxnSpLocks/>
                    <a:stCxn id="30" idx="1"/>
                    <a:endCxn id="22" idx="2"/>
                  </p:cNvCxnSpPr>
                  <p:nvPr userDrawn="1"/>
                </p:nvCxnSpPr>
                <p:spPr>
                  <a:xfrm flipH="1">
                    <a:off x="431801" y="-122839"/>
                    <a:ext cx="3482535"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9E1BBA66-E33F-5246-A101-D1F7F9E3EFE0}"/>
                      </a:ext>
                    </a:extLst>
                  </p:cNvPr>
                  <p:cNvCxnSpPr>
                    <a:cxnSpLocks/>
                    <a:stCxn id="30" idx="3"/>
                    <a:endCxn id="22" idx="0"/>
                  </p:cNvCxnSpPr>
                  <p:nvPr userDrawn="1"/>
                </p:nvCxnSpPr>
                <p:spPr>
                  <a:xfrm flipV="1">
                    <a:off x="5229674" y="-122840"/>
                    <a:ext cx="3482527"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3" name="Group 12">
                <a:extLst>
                  <a:ext uri="{FF2B5EF4-FFF2-40B4-BE49-F238E27FC236}">
                    <a16:creationId xmlns:a16="http://schemas.microsoft.com/office/drawing/2014/main" id="{3C2F4607-7DC3-324D-879F-E486D0EDF66B}"/>
                  </a:ext>
                </a:extLst>
              </p:cNvPr>
              <p:cNvGrpSpPr/>
              <p:nvPr userDrawn="1"/>
            </p:nvGrpSpPr>
            <p:grpSpPr>
              <a:xfrm>
                <a:off x="4161863" y="6865965"/>
                <a:ext cx="3906819" cy="235790"/>
                <a:chOff x="3121388" y="6869197"/>
                <a:chExt cx="2930114" cy="235790"/>
              </a:xfrm>
            </p:grpSpPr>
            <p:grpSp>
              <p:nvGrpSpPr>
                <p:cNvPr id="11" name="Group 10">
                  <a:extLst>
                    <a:ext uri="{FF2B5EF4-FFF2-40B4-BE49-F238E27FC236}">
                      <a16:creationId xmlns:a16="http://schemas.microsoft.com/office/drawing/2014/main" id="{AEF875DB-5EB3-4849-8E5F-39088FA886E7}"/>
                    </a:ext>
                  </a:extLst>
                </p:cNvPr>
                <p:cNvGrpSpPr/>
                <p:nvPr userDrawn="1"/>
              </p:nvGrpSpPr>
              <p:grpSpPr>
                <a:xfrm>
                  <a:off x="3184525" y="6869197"/>
                  <a:ext cx="2774950" cy="60992"/>
                  <a:chOff x="3184525" y="6869196"/>
                  <a:chExt cx="2774950" cy="235791"/>
                </a:xfrm>
              </p:grpSpPr>
              <p:cxnSp>
                <p:nvCxnSpPr>
                  <p:cNvPr id="73" name="Straight Connector 72">
                    <a:extLst>
                      <a:ext uri="{FF2B5EF4-FFF2-40B4-BE49-F238E27FC236}">
                        <a16:creationId xmlns:a16="http://schemas.microsoft.com/office/drawing/2014/main" id="{401B80A4-C088-3F40-B2A2-2D862F375A3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2736629-EF45-5843-9E91-AF39A137BD0F}"/>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AD5C415B-C58A-5143-B195-53B6A53B164E}"/>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87" name="TextBox 86">
                  <a:extLst>
                    <a:ext uri="{FF2B5EF4-FFF2-40B4-BE49-F238E27FC236}">
                      <a16:creationId xmlns:a16="http://schemas.microsoft.com/office/drawing/2014/main" id="{7CA58A63-C828-AB49-B77B-45A6B4DBDD83}"/>
                    </a:ext>
                  </a:extLst>
                </p:cNvPr>
                <p:cNvSpPr txBox="1"/>
                <p:nvPr userDrawn="1"/>
              </p:nvSpPr>
              <p:spPr>
                <a:xfrm>
                  <a:off x="3121388" y="6954537"/>
                  <a:ext cx="153888"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1/3</a:t>
                  </a:r>
                  <a:r>
                    <a:rPr lang="en-US" sz="650" kern="1200" baseline="30000">
                      <a:solidFill>
                        <a:schemeClr val="accent2"/>
                      </a:solidFill>
                      <a:latin typeface="Arial" charset="0"/>
                      <a:ea typeface="Arial" charset="0"/>
                      <a:cs typeface="Arial" charset="0"/>
                    </a:rPr>
                    <a:t>RD</a:t>
                  </a:r>
                </a:p>
              </p:txBody>
            </p:sp>
            <p:sp>
              <p:nvSpPr>
                <p:cNvPr id="89" name="TextBox 88">
                  <a:extLst>
                    <a:ext uri="{FF2B5EF4-FFF2-40B4-BE49-F238E27FC236}">
                      <a16:creationId xmlns:a16="http://schemas.microsoft.com/office/drawing/2014/main" id="{0005311A-1292-E544-A38B-88988BFE1577}"/>
                    </a:ext>
                  </a:extLst>
                </p:cNvPr>
                <p:cNvSpPr txBox="1"/>
                <p:nvPr userDrawn="1"/>
              </p:nvSpPr>
              <p:spPr>
                <a:xfrm>
                  <a:off x="4487991" y="6954537"/>
                  <a:ext cx="170720"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HALF</a:t>
                  </a:r>
                </a:p>
              </p:txBody>
            </p:sp>
            <p:sp>
              <p:nvSpPr>
                <p:cNvPr id="90" name="TextBox 89">
                  <a:extLst>
                    <a:ext uri="{FF2B5EF4-FFF2-40B4-BE49-F238E27FC236}">
                      <a16:creationId xmlns:a16="http://schemas.microsoft.com/office/drawing/2014/main" id="{417A683D-6BBC-AD4D-9603-29408D7E4EE4}"/>
                    </a:ext>
                  </a:extLst>
                </p:cNvPr>
                <p:cNvSpPr txBox="1"/>
                <p:nvPr userDrawn="1"/>
              </p:nvSpPr>
              <p:spPr>
                <a:xfrm>
                  <a:off x="5869961" y="6954537"/>
                  <a:ext cx="181541" cy="86177"/>
                </a:xfrm>
                <a:prstGeom prst="rect">
                  <a:avLst/>
                </a:prstGeom>
              </p:spPr>
              <p:txBody>
                <a:bodyPr vert="horz" wrap="none" lIns="0" tIns="0" rIns="0" bIns="0" rtlCol="0" anchor="ctr">
                  <a:spAutoFit/>
                </a:bodyPr>
                <a:lstStyle/>
                <a:p>
                  <a:pPr algn="ctr">
                    <a:lnSpc>
                      <a:spcPct val="80000"/>
                    </a:lnSpc>
                  </a:pPr>
                  <a:r>
                    <a:rPr lang="en-US" sz="700">
                      <a:solidFill>
                        <a:schemeClr val="accent2"/>
                      </a:solidFill>
                      <a:latin typeface="Arial" charset="0"/>
                      <a:ea typeface="Arial" charset="0"/>
                      <a:cs typeface="Arial" charset="0"/>
                    </a:rPr>
                    <a:t>2/3</a:t>
                  </a:r>
                  <a:r>
                    <a:rPr lang="en-US" sz="650" baseline="30000">
                      <a:solidFill>
                        <a:schemeClr val="accent2"/>
                      </a:solidFill>
                      <a:latin typeface="Arial" charset="0"/>
                      <a:ea typeface="Arial" charset="0"/>
                      <a:cs typeface="Arial" charset="0"/>
                    </a:rPr>
                    <a:t>RDS</a:t>
                  </a:r>
                </a:p>
              </p:txBody>
            </p:sp>
            <p:grpSp>
              <p:nvGrpSpPr>
                <p:cNvPr id="91" name="Group 90">
                  <a:extLst>
                    <a:ext uri="{FF2B5EF4-FFF2-40B4-BE49-F238E27FC236}">
                      <a16:creationId xmlns:a16="http://schemas.microsoft.com/office/drawing/2014/main" id="{3236913A-BD45-484F-BBAE-557205654333}"/>
                    </a:ext>
                  </a:extLst>
                </p:cNvPr>
                <p:cNvGrpSpPr/>
                <p:nvPr userDrawn="1"/>
              </p:nvGrpSpPr>
              <p:grpSpPr>
                <a:xfrm>
                  <a:off x="3184525" y="7040714"/>
                  <a:ext cx="2774950" cy="64273"/>
                  <a:chOff x="3184525" y="6869196"/>
                  <a:chExt cx="2774950" cy="235791"/>
                </a:xfrm>
              </p:grpSpPr>
              <p:cxnSp>
                <p:nvCxnSpPr>
                  <p:cNvPr id="94" name="Straight Connector 93">
                    <a:extLst>
                      <a:ext uri="{FF2B5EF4-FFF2-40B4-BE49-F238E27FC236}">
                        <a16:creationId xmlns:a16="http://schemas.microsoft.com/office/drawing/2014/main" id="{B8DC771C-3FBD-2747-9F87-9ED9BB8478E7}"/>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E5CA426-9DD9-D944-BE42-16A5DAC54CD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02052529-8A86-4346-9F9F-9FB1DD488169}"/>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grpSp>
      <p:sp>
        <p:nvSpPr>
          <p:cNvPr id="98" name="Slide Number Placeholder 97">
            <a:extLst>
              <a:ext uri="{FF2B5EF4-FFF2-40B4-BE49-F238E27FC236}">
                <a16:creationId xmlns:a16="http://schemas.microsoft.com/office/drawing/2014/main" id="{8B997069-D21E-5945-9056-B66AD470AD31}"/>
              </a:ext>
            </a:extLst>
          </p:cNvPr>
          <p:cNvSpPr>
            <a:spLocks noGrp="1"/>
          </p:cNvSpPr>
          <p:nvPr userDrawn="1">
            <p:ph type="sldNum" sz="quarter" idx="4"/>
          </p:nvPr>
        </p:nvSpPr>
        <p:spPr>
          <a:xfrm>
            <a:off x="11720052" y="6516149"/>
            <a:ext cx="467272" cy="174625"/>
          </a:xfrm>
          <a:prstGeom prst="rect">
            <a:avLst/>
          </a:prstGeom>
          <a:noFill/>
          <a:ln>
            <a:noFill/>
          </a:ln>
        </p:spPr>
        <p:txBody>
          <a:bodyPr vert="horz" wrap="square" lIns="0" tIns="0" rIns="0" bIns="0" rtlCol="0" anchor="ctr">
            <a:noAutofit/>
          </a:bodyPr>
          <a:lstStyle>
            <a:lvl1pPr algn="l">
              <a:defRPr sz="900" b="1">
                <a:solidFill>
                  <a:schemeClr val="accent1"/>
                </a:solidFill>
              </a:defRPr>
            </a:lvl1pPr>
          </a:lstStyle>
          <a:p>
            <a:pPr marL="12700"/>
            <a:fld id="{078C017C-E1B9-8443-B047-B08AAA027B45}" type="slidenum">
              <a:rPr lang="en-US" smtClean="0"/>
              <a:pPr marL="12700"/>
              <a:t>‹#›</a:t>
            </a:fld>
            <a:endParaRPr lang="en-US"/>
          </a:p>
        </p:txBody>
      </p:sp>
      <p:sp>
        <p:nvSpPr>
          <p:cNvPr id="5" name="Footer Placeholder 4">
            <a:extLst>
              <a:ext uri="{FF2B5EF4-FFF2-40B4-BE49-F238E27FC236}">
                <a16:creationId xmlns:a16="http://schemas.microsoft.com/office/drawing/2014/main" id="{C9CDD5D0-2B57-DD49-8A52-35BB8429C6FC}"/>
              </a:ext>
            </a:extLst>
          </p:cNvPr>
          <p:cNvSpPr>
            <a:spLocks noGrp="1"/>
          </p:cNvSpPr>
          <p:nvPr userDrawn="1">
            <p:ph type="ftr" sz="quarter" idx="3"/>
          </p:nvPr>
        </p:nvSpPr>
        <p:spPr>
          <a:xfrm flipH="1">
            <a:off x="-1" y="6864579"/>
            <a:ext cx="45719" cy="0"/>
          </a:xfrm>
          <a:prstGeom prst="rect">
            <a:avLst/>
          </a:prstGeom>
          <a:ln w="0">
            <a:solidFill>
              <a:schemeClr val="bg1">
                <a:alpha val="0"/>
              </a:schemeClr>
            </a:solidFill>
          </a:ln>
        </p:spPr>
        <p:txBody>
          <a:bodyPr vert="horz" lIns="0" tIns="0" rIns="0" bIns="0" rtlCol="0" anchor="b"/>
          <a:lstStyle>
            <a:lvl1pPr marL="4763" indent="0" algn="l">
              <a:buFont typeface="Arial" panose="020B0604020202020204" pitchFamily="34" charset="0"/>
              <a:buNone/>
              <a:tabLst/>
              <a:defRPr sz="200">
                <a:solidFill>
                  <a:schemeClr val="tx1">
                    <a:alpha val="0"/>
                  </a:schemeClr>
                </a:solidFill>
              </a:defRPr>
            </a:lvl1pPr>
            <a:lvl2pPr marL="4763" indent="0" algn="l">
              <a:tabLst/>
              <a:defRPr sz="1100"/>
            </a:lvl2pPr>
            <a:lvl3pPr marL="4763" indent="0" algn="l">
              <a:tabLst/>
              <a:defRPr sz="1100"/>
            </a:lvl3pPr>
            <a:lvl4pPr marL="4763" indent="0" algn="l">
              <a:tabLst/>
              <a:defRPr sz="1100"/>
            </a:lvl4pPr>
            <a:lvl5pPr marL="4763" indent="0" algn="l">
              <a:tabLst/>
              <a:defRPr sz="1100"/>
            </a:lvl5pPr>
            <a:lvl6pPr marL="4763" indent="0" algn="l">
              <a:tabLst/>
              <a:defRPr sz="1100"/>
            </a:lvl6pPr>
            <a:lvl7pPr marL="4763" indent="0" algn="l">
              <a:tabLst/>
              <a:defRPr sz="1100"/>
            </a:lvl7pPr>
            <a:lvl8pPr marL="4763" indent="0" algn="l">
              <a:tabLst/>
              <a:defRPr sz="1100"/>
            </a:lvl8pPr>
            <a:lvl9pPr marL="4763" indent="0" algn="l">
              <a:tabLst/>
              <a:defRPr sz="1100"/>
            </a:lvl9pPr>
          </a:lstStyle>
          <a:p>
            <a:endParaRPr lang="en-US"/>
          </a:p>
        </p:txBody>
      </p:sp>
    </p:spTree>
    <p:extLst>
      <p:ext uri="{BB962C8B-B14F-4D97-AF65-F5344CB8AC3E}">
        <p14:creationId xmlns:p14="http://schemas.microsoft.com/office/powerpoint/2010/main" val="717954282"/>
      </p:ext>
    </p:extLst>
  </p:cSld>
  <p:clrMap bg1="lt1" tx1="dk1" bg2="lt2" tx2="dk2" accent1="accent1" accent2="accent2" accent3="accent3" accent4="accent4" accent5="accent5" accent6="accent6" hlink="hlink" folHlink="folHlink"/>
  <p:sldLayoutIdLst>
    <p:sldLayoutId id="2147483737" r:id="rId1"/>
    <p:sldLayoutId id="2147483771" r:id="rId2"/>
    <p:sldLayoutId id="2147483733" r:id="rId3"/>
    <p:sldLayoutId id="2147483734" r:id="rId4"/>
    <p:sldLayoutId id="2147483679" r:id="rId5"/>
    <p:sldLayoutId id="2147483680" r:id="rId6"/>
    <p:sldLayoutId id="2147483681" r:id="rId7"/>
    <p:sldLayoutId id="2147483736"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 id="2147483698" r:id="rId24"/>
    <p:sldLayoutId id="2147483699" r:id="rId25"/>
    <p:sldLayoutId id="2147483700" r:id="rId26"/>
    <p:sldLayoutId id="2147483701" r:id="rId27"/>
    <p:sldLayoutId id="2147483702" r:id="rId28"/>
    <p:sldLayoutId id="2147483703" r:id="rId29"/>
    <p:sldLayoutId id="2147483704" r:id="rId30"/>
    <p:sldLayoutId id="2147483705" r:id="rId31"/>
    <p:sldLayoutId id="2147483706" r:id="rId32"/>
    <p:sldLayoutId id="2147483707" r:id="rId33"/>
    <p:sldLayoutId id="2147483708" r:id="rId34"/>
    <p:sldLayoutId id="2147483709" r:id="rId35"/>
    <p:sldLayoutId id="2147483710" r:id="rId36"/>
    <p:sldLayoutId id="2147483711" r:id="rId37"/>
    <p:sldLayoutId id="2147483712" r:id="rId38"/>
    <p:sldLayoutId id="2147483713" r:id="rId39"/>
    <p:sldLayoutId id="2147483714" r:id="rId40"/>
    <p:sldLayoutId id="2147483715" r:id="rId41"/>
    <p:sldLayoutId id="2147483716" r:id="rId42"/>
    <p:sldLayoutId id="2147483717" r:id="rId43"/>
    <p:sldLayoutId id="2147483718" r:id="rId44"/>
    <p:sldLayoutId id="2147483719" r:id="rId45"/>
    <p:sldLayoutId id="2147483720" r:id="rId46"/>
    <p:sldLayoutId id="2147483723" r:id="rId47"/>
    <p:sldLayoutId id="2147483726" r:id="rId48"/>
    <p:sldLayoutId id="2147483727" r:id="rId49"/>
  </p:sldLayoutIdLst>
  <p:hf hdr="0" ftr="0" dt="0"/>
  <p:txStyles>
    <p:title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p:titleStyle>
    <p:body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sz="14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508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200" kern="1200">
          <a:solidFill>
            <a:schemeClr val="tx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userDrawn="1">
          <p15:clr>
            <a:srgbClr val="A4A3A4"/>
          </p15:clr>
        </p15:guide>
        <p15:guide id="3" pos="363" userDrawn="1">
          <p15:clr>
            <a:srgbClr val="C35EA4"/>
          </p15:clr>
        </p15:guide>
        <p15:guide id="4" pos="7317" userDrawn="1">
          <p15:clr>
            <a:srgbClr val="C35EA4"/>
          </p15:clr>
        </p15:guide>
        <p15:guide id="5" orient="horz" pos="624" userDrawn="1">
          <p15:clr>
            <a:srgbClr val="A4A3A4"/>
          </p15:clr>
        </p15:guide>
        <p15:guide id="6" orient="horz" pos="777" userDrawn="1">
          <p15:clr>
            <a:srgbClr val="F26B43"/>
          </p15:clr>
        </p15:guide>
        <p15:guide id="7" orient="horz" pos="3884" userDrawn="1">
          <p15:clr>
            <a:srgbClr val="F26B43"/>
          </p15:clr>
        </p15:guide>
        <p15:guide id="9" orient="horz" pos="3906" userDrawn="1">
          <p15:clr>
            <a:srgbClr val="A4A3A4"/>
          </p15:clr>
        </p15:guide>
        <p15:guide id="10" orient="horz" pos="4224" userDrawn="1">
          <p15:clr>
            <a:srgbClr val="A4A3A4"/>
          </p15:clr>
        </p15:guide>
        <p15:guide id="11" orient="horz" pos="265" userDrawn="1">
          <p15:clr>
            <a:srgbClr val="A4A3A4"/>
          </p15:clr>
        </p15:guide>
        <p15:guide id="13" pos="7499" userDrawn="1">
          <p15:clr>
            <a:srgbClr val="F26B43"/>
          </p15:clr>
        </p15:guide>
        <p15:guide id="14" orient="horz" pos="701" userDrawn="1">
          <p15:clr>
            <a:srgbClr val="5ACBF0"/>
          </p15:clr>
        </p15:guide>
        <p15:guide id="15" pos="181" userDrawn="1">
          <p15:clr>
            <a:srgbClr val="F26B43"/>
          </p15:clr>
        </p15:guide>
        <p15:guide id="16" pos="2675" userDrawn="1">
          <p15:clr>
            <a:srgbClr val="A4A3A4"/>
          </p15:clr>
        </p15:guide>
        <p15:guide id="17" pos="5005" userDrawn="1">
          <p15:clr>
            <a:srgbClr val="A4A3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2">
            <a:lum/>
          </a:blip>
          <a:srcRect/>
          <a:stretch>
            <a:fillRect/>
          </a:stretch>
        </a:blipFill>
        <a:effectLst/>
      </p:bgPr>
    </p:bg>
    <p:spTree>
      <p:nvGrpSpPr>
        <p:cNvPr id="1" name=""/>
        <p:cNvGrpSpPr/>
        <p:nvPr/>
      </p:nvGrpSpPr>
      <p:grpSpPr>
        <a:xfrm>
          <a:off x="0" y="0"/>
          <a:ext cx="0" cy="0"/>
          <a:chOff x="0" y="0"/>
          <a:chExt cx="0" cy="0"/>
        </a:xfrm>
      </p:grpSpPr>
      <p:sp>
        <p:nvSpPr>
          <p:cNvPr id="110" name="Freeform 109">
            <a:extLst>
              <a:ext uri="{FF2B5EF4-FFF2-40B4-BE49-F238E27FC236}">
                <a16:creationId xmlns:a16="http://schemas.microsoft.com/office/drawing/2014/main" id="{B7C26CD4-FD5C-CD47-A4A6-348CBFB3FA1C}"/>
              </a:ext>
            </a:extLst>
          </p:cNvPr>
          <p:cNvSpPr/>
          <p:nvPr userDrawn="1"/>
        </p:nvSpPr>
        <p:spPr>
          <a:xfrm>
            <a:off x="0" y="6200775"/>
            <a:ext cx="12192000" cy="658368"/>
          </a:xfrm>
          <a:custGeom>
            <a:avLst/>
            <a:gdLst>
              <a:gd name="connsiteX0" fmla="*/ 8381735 w 9144000"/>
              <a:gd name="connsiteY0" fmla="*/ 376390 h 658368"/>
              <a:gd name="connsiteX1" fmla="*/ 8398942 w 9144000"/>
              <a:gd name="connsiteY1" fmla="*/ 378245 h 658368"/>
              <a:gd name="connsiteX2" fmla="*/ 8407847 w 9144000"/>
              <a:gd name="connsiteY2" fmla="*/ 385034 h 658368"/>
              <a:gd name="connsiteX3" fmla="*/ 8413547 w 9144000"/>
              <a:gd name="connsiteY3" fmla="*/ 395359 h 658368"/>
              <a:gd name="connsiteX4" fmla="*/ 8415584 w 9144000"/>
              <a:gd name="connsiteY4" fmla="*/ 408571 h 658368"/>
              <a:gd name="connsiteX5" fmla="*/ 8413646 w 9144000"/>
              <a:gd name="connsiteY5" fmla="*/ 421642 h 658368"/>
              <a:gd name="connsiteX6" fmla="*/ 8407947 w 9144000"/>
              <a:gd name="connsiteY6" fmla="*/ 432037 h 658368"/>
              <a:gd name="connsiteX7" fmla="*/ 8375887 w 9144000"/>
              <a:gd name="connsiteY7" fmla="*/ 438882 h 658368"/>
              <a:gd name="connsiteX8" fmla="*/ 8366910 w 9144000"/>
              <a:gd name="connsiteY8" fmla="*/ 432037 h 658368"/>
              <a:gd name="connsiteX9" fmla="*/ 8361211 w 9144000"/>
              <a:gd name="connsiteY9" fmla="*/ 421642 h 658368"/>
              <a:gd name="connsiteX10" fmla="*/ 8359045 w 9144000"/>
              <a:gd name="connsiteY10" fmla="*/ 408571 h 658368"/>
              <a:gd name="connsiteX11" fmla="*/ 8361097 w 9144000"/>
              <a:gd name="connsiteY11" fmla="*/ 395359 h 658368"/>
              <a:gd name="connsiteX12" fmla="*/ 8366796 w 9144000"/>
              <a:gd name="connsiteY12" fmla="*/ 385034 h 658368"/>
              <a:gd name="connsiteX13" fmla="*/ 8381735 w 9144000"/>
              <a:gd name="connsiteY13" fmla="*/ 376390 h 658368"/>
              <a:gd name="connsiteX14" fmla="*/ 8525633 w 9144000"/>
              <a:gd name="connsiteY14" fmla="*/ 353854 h 658368"/>
              <a:gd name="connsiteX15" fmla="*/ 8525633 w 9144000"/>
              <a:gd name="connsiteY15" fmla="*/ 399800 h 658368"/>
              <a:gd name="connsiteX16" fmla="*/ 8525633 w 9144000"/>
              <a:gd name="connsiteY16" fmla="*/ 463141 h 658368"/>
              <a:gd name="connsiteX17" fmla="*/ 8595623 w 9144000"/>
              <a:gd name="connsiteY17" fmla="*/ 463141 h 658368"/>
              <a:gd name="connsiteX18" fmla="*/ 8596022 w 9144000"/>
              <a:gd name="connsiteY18" fmla="*/ 463141 h 658368"/>
              <a:gd name="connsiteX19" fmla="*/ 8596022 w 9144000"/>
              <a:gd name="connsiteY19" fmla="*/ 446140 h 658368"/>
              <a:gd name="connsiteX20" fmla="*/ 8595623 w 9144000"/>
              <a:gd name="connsiteY20" fmla="*/ 446140 h 658368"/>
              <a:gd name="connsiteX21" fmla="*/ 8595623 w 9144000"/>
              <a:gd name="connsiteY21" fmla="*/ 440042 h 658368"/>
              <a:gd name="connsiteX22" fmla="*/ 8551295 w 9144000"/>
              <a:gd name="connsiteY22" fmla="*/ 440042 h 658368"/>
              <a:gd name="connsiteX23" fmla="*/ 8551295 w 9144000"/>
              <a:gd name="connsiteY23" fmla="*/ 418717 h 658368"/>
              <a:gd name="connsiteX24" fmla="*/ 8591705 w 9144000"/>
              <a:gd name="connsiteY24" fmla="*/ 418717 h 658368"/>
              <a:gd name="connsiteX25" fmla="*/ 8591705 w 9144000"/>
              <a:gd name="connsiteY25" fmla="*/ 396645 h 658368"/>
              <a:gd name="connsiteX26" fmla="*/ 8551295 w 9144000"/>
              <a:gd name="connsiteY26" fmla="*/ 396645 h 658368"/>
              <a:gd name="connsiteX27" fmla="*/ 8551295 w 9144000"/>
              <a:gd name="connsiteY27" fmla="*/ 377123 h 658368"/>
              <a:gd name="connsiteX28" fmla="*/ 8595623 w 9144000"/>
              <a:gd name="connsiteY28" fmla="*/ 377123 h 658368"/>
              <a:gd name="connsiteX29" fmla="*/ 8595623 w 9144000"/>
              <a:gd name="connsiteY29" fmla="*/ 370855 h 658368"/>
              <a:gd name="connsiteX30" fmla="*/ 8596022 w 9144000"/>
              <a:gd name="connsiteY30" fmla="*/ 370855 h 658368"/>
              <a:gd name="connsiteX31" fmla="*/ 8596022 w 9144000"/>
              <a:gd name="connsiteY31" fmla="*/ 353854 h 658368"/>
              <a:gd name="connsiteX32" fmla="*/ 8595623 w 9144000"/>
              <a:gd name="connsiteY32" fmla="*/ 353854 h 658368"/>
              <a:gd name="connsiteX33" fmla="*/ 8547362 w 9144000"/>
              <a:gd name="connsiteY33" fmla="*/ 353854 h 658368"/>
              <a:gd name="connsiteX34" fmla="*/ 8448177 w 9144000"/>
              <a:gd name="connsiteY34" fmla="*/ 353854 h 658368"/>
              <a:gd name="connsiteX35" fmla="*/ 8448177 w 9144000"/>
              <a:gd name="connsiteY35" fmla="*/ 399800 h 658368"/>
              <a:gd name="connsiteX36" fmla="*/ 8448177 w 9144000"/>
              <a:gd name="connsiteY36" fmla="*/ 463141 h 658368"/>
              <a:gd name="connsiteX37" fmla="*/ 8518167 w 9144000"/>
              <a:gd name="connsiteY37" fmla="*/ 463141 h 658368"/>
              <a:gd name="connsiteX38" fmla="*/ 8518552 w 9144000"/>
              <a:gd name="connsiteY38" fmla="*/ 463141 h 658368"/>
              <a:gd name="connsiteX39" fmla="*/ 8518552 w 9144000"/>
              <a:gd name="connsiteY39" fmla="*/ 446140 h 658368"/>
              <a:gd name="connsiteX40" fmla="*/ 8518167 w 9144000"/>
              <a:gd name="connsiteY40" fmla="*/ 446140 h 658368"/>
              <a:gd name="connsiteX41" fmla="*/ 8518167 w 9144000"/>
              <a:gd name="connsiteY41" fmla="*/ 440042 h 658368"/>
              <a:gd name="connsiteX42" fmla="*/ 8473825 w 9144000"/>
              <a:gd name="connsiteY42" fmla="*/ 440042 h 658368"/>
              <a:gd name="connsiteX43" fmla="*/ 8473825 w 9144000"/>
              <a:gd name="connsiteY43" fmla="*/ 418717 h 658368"/>
              <a:gd name="connsiteX44" fmla="*/ 8514235 w 9144000"/>
              <a:gd name="connsiteY44" fmla="*/ 418717 h 658368"/>
              <a:gd name="connsiteX45" fmla="*/ 8514235 w 9144000"/>
              <a:gd name="connsiteY45" fmla="*/ 396645 h 658368"/>
              <a:gd name="connsiteX46" fmla="*/ 8473825 w 9144000"/>
              <a:gd name="connsiteY46" fmla="*/ 396645 h 658368"/>
              <a:gd name="connsiteX47" fmla="*/ 8473825 w 9144000"/>
              <a:gd name="connsiteY47" fmla="*/ 377123 h 658368"/>
              <a:gd name="connsiteX48" fmla="*/ 8518167 w 9144000"/>
              <a:gd name="connsiteY48" fmla="*/ 377123 h 658368"/>
              <a:gd name="connsiteX49" fmla="*/ 8518167 w 9144000"/>
              <a:gd name="connsiteY49" fmla="*/ 370855 h 658368"/>
              <a:gd name="connsiteX50" fmla="*/ 8518552 w 9144000"/>
              <a:gd name="connsiteY50" fmla="*/ 370855 h 658368"/>
              <a:gd name="connsiteX51" fmla="*/ 8518552 w 9144000"/>
              <a:gd name="connsiteY51" fmla="*/ 353854 h 658368"/>
              <a:gd name="connsiteX52" fmla="*/ 8518167 w 9144000"/>
              <a:gd name="connsiteY52" fmla="*/ 353854 h 658368"/>
              <a:gd name="connsiteX53" fmla="*/ 8469892 w 9144000"/>
              <a:gd name="connsiteY53" fmla="*/ 353854 h 658368"/>
              <a:gd name="connsiteX54" fmla="*/ 8387913 w 9144000"/>
              <a:gd name="connsiteY54" fmla="*/ 353821 h 658368"/>
              <a:gd name="connsiteX55" fmla="*/ 8365286 w 9144000"/>
              <a:gd name="connsiteY55" fmla="*/ 358047 h 658368"/>
              <a:gd name="connsiteX56" fmla="*/ 8357150 w 9144000"/>
              <a:gd name="connsiteY56" fmla="*/ 362174 h 658368"/>
              <a:gd name="connsiteX57" fmla="*/ 8332784 w 9144000"/>
              <a:gd name="connsiteY57" fmla="*/ 413740 h 658368"/>
              <a:gd name="connsiteX58" fmla="*/ 8336389 w 9144000"/>
              <a:gd name="connsiteY58" fmla="*/ 430220 h 658368"/>
              <a:gd name="connsiteX59" fmla="*/ 8364431 w 9144000"/>
              <a:gd name="connsiteY59" fmla="*/ 458953 h 658368"/>
              <a:gd name="connsiteX60" fmla="*/ 8386916 w 9144000"/>
              <a:gd name="connsiteY60" fmla="*/ 463179 h 658368"/>
              <a:gd name="connsiteX61" fmla="*/ 8409486 w 9144000"/>
              <a:gd name="connsiteY61" fmla="*/ 458953 h 658368"/>
              <a:gd name="connsiteX62" fmla="*/ 8426926 w 9144000"/>
              <a:gd name="connsiteY62" fmla="*/ 447474 h 658368"/>
              <a:gd name="connsiteX63" fmla="*/ 8438240 w 9144000"/>
              <a:gd name="connsiteY63" fmla="*/ 430220 h 658368"/>
              <a:gd name="connsiteX64" fmla="*/ 8442258 w 9144000"/>
              <a:gd name="connsiteY64" fmla="*/ 408571 h 658368"/>
              <a:gd name="connsiteX65" fmla="*/ 8438397 w 9144000"/>
              <a:gd name="connsiteY65" fmla="*/ 386837 h 658368"/>
              <a:gd name="connsiteX66" fmla="*/ 8427439 w 9144000"/>
              <a:gd name="connsiteY66" fmla="*/ 369526 h 658368"/>
              <a:gd name="connsiteX67" fmla="*/ 8410341 w 9144000"/>
              <a:gd name="connsiteY67" fmla="*/ 358047 h 658368"/>
              <a:gd name="connsiteX68" fmla="*/ 8387913 w 9144000"/>
              <a:gd name="connsiteY68" fmla="*/ 353821 h 658368"/>
              <a:gd name="connsiteX69" fmla="*/ 8245203 w 9144000"/>
              <a:gd name="connsiteY69" fmla="*/ 353474 h 658368"/>
              <a:gd name="connsiteX70" fmla="*/ 8261546 w 9144000"/>
              <a:gd name="connsiteY70" fmla="*/ 387546 h 658368"/>
              <a:gd name="connsiteX71" fmla="*/ 8288505 w 9144000"/>
              <a:gd name="connsiteY71" fmla="*/ 387546 h 658368"/>
              <a:gd name="connsiteX72" fmla="*/ 8274156 w 9144000"/>
              <a:gd name="connsiteY72" fmla="*/ 353474 h 658368"/>
              <a:gd name="connsiteX73" fmla="*/ 8325053 w 9144000"/>
              <a:gd name="connsiteY73" fmla="*/ 353460 h 658368"/>
              <a:gd name="connsiteX74" fmla="*/ 8299363 w 9144000"/>
              <a:gd name="connsiteY74" fmla="*/ 412590 h 658368"/>
              <a:gd name="connsiteX75" fmla="*/ 8292395 w 9144000"/>
              <a:gd name="connsiteY75" fmla="*/ 396251 h 658368"/>
              <a:gd name="connsiteX76" fmla="*/ 8265650 w 9144000"/>
              <a:gd name="connsiteY76" fmla="*/ 396251 h 658368"/>
              <a:gd name="connsiteX77" fmla="*/ 8297582 w 9144000"/>
              <a:gd name="connsiteY77" fmla="*/ 462916 h 658368"/>
              <a:gd name="connsiteX78" fmla="*/ 8300545 w 9144000"/>
              <a:gd name="connsiteY78" fmla="*/ 462916 h 658368"/>
              <a:gd name="connsiteX79" fmla="*/ 8352283 w 9144000"/>
              <a:gd name="connsiteY79" fmla="*/ 353460 h 658368"/>
              <a:gd name="connsiteX80" fmla="*/ 8704282 w 9144000"/>
              <a:gd name="connsiteY80" fmla="*/ 315922 h 658368"/>
              <a:gd name="connsiteX81" fmla="*/ 8704282 w 9144000"/>
              <a:gd name="connsiteY81" fmla="*/ 490850 h 658368"/>
              <a:gd name="connsiteX82" fmla="*/ 8723671 w 9144000"/>
              <a:gd name="connsiteY82" fmla="*/ 490850 h 658368"/>
              <a:gd name="connsiteX83" fmla="*/ 8723671 w 9144000"/>
              <a:gd name="connsiteY83" fmla="*/ 315922 h 658368"/>
              <a:gd name="connsiteX84" fmla="*/ 0 w 9144000"/>
              <a:gd name="connsiteY84" fmla="*/ 0 h 658368"/>
              <a:gd name="connsiteX85" fmla="*/ 9144000 w 9144000"/>
              <a:gd name="connsiteY85" fmla="*/ 0 h 658368"/>
              <a:gd name="connsiteX86" fmla="*/ 9144000 w 9144000"/>
              <a:gd name="connsiteY86" fmla="*/ 658368 h 658368"/>
              <a:gd name="connsiteX87" fmla="*/ 0 w 9144000"/>
              <a:gd name="connsiteY87" fmla="*/ 658368 h 65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9144000" h="658368">
                <a:moveTo>
                  <a:pt x="8381735" y="376390"/>
                </a:moveTo>
                <a:cubicBezTo>
                  <a:pt x="8387385" y="375197"/>
                  <a:pt x="8393413" y="375753"/>
                  <a:pt x="8398942" y="378245"/>
                </a:cubicBezTo>
                <a:cubicBezTo>
                  <a:pt x="8402361" y="379863"/>
                  <a:pt x="8405396" y="382176"/>
                  <a:pt x="8407847" y="385034"/>
                </a:cubicBezTo>
                <a:cubicBezTo>
                  <a:pt x="8410387" y="388091"/>
                  <a:pt x="8412320" y="391594"/>
                  <a:pt x="8413547" y="395359"/>
                </a:cubicBezTo>
                <a:cubicBezTo>
                  <a:pt x="8414952" y="399623"/>
                  <a:pt x="8415640" y="404086"/>
                  <a:pt x="8415584" y="408571"/>
                </a:cubicBezTo>
                <a:cubicBezTo>
                  <a:pt x="8415665" y="413003"/>
                  <a:pt x="8415011" y="417419"/>
                  <a:pt x="8413646" y="421642"/>
                </a:cubicBezTo>
                <a:cubicBezTo>
                  <a:pt x="8412411" y="425424"/>
                  <a:pt x="8410478" y="428948"/>
                  <a:pt x="8407947" y="432037"/>
                </a:cubicBezTo>
                <a:cubicBezTo>
                  <a:pt x="8399972" y="441083"/>
                  <a:pt x="8386928" y="443868"/>
                  <a:pt x="8375887" y="438882"/>
                </a:cubicBezTo>
                <a:cubicBezTo>
                  <a:pt x="8372423" y="437279"/>
                  <a:pt x="8369358" y="434942"/>
                  <a:pt x="8366910" y="432037"/>
                </a:cubicBezTo>
                <a:cubicBezTo>
                  <a:pt x="8364379" y="428948"/>
                  <a:pt x="8362446" y="425424"/>
                  <a:pt x="8361211" y="421642"/>
                </a:cubicBezTo>
                <a:cubicBezTo>
                  <a:pt x="8359769" y="417431"/>
                  <a:pt x="8359038" y="413015"/>
                  <a:pt x="8359045" y="408571"/>
                </a:cubicBezTo>
                <a:cubicBezTo>
                  <a:pt x="8358993" y="404085"/>
                  <a:pt x="8359686" y="399622"/>
                  <a:pt x="8361097" y="395359"/>
                </a:cubicBezTo>
                <a:cubicBezTo>
                  <a:pt x="8362323" y="391594"/>
                  <a:pt x="8364257" y="388091"/>
                  <a:pt x="8366796" y="385034"/>
                </a:cubicBezTo>
                <a:cubicBezTo>
                  <a:pt x="8370813" y="380526"/>
                  <a:pt x="8376085" y="377583"/>
                  <a:pt x="8381735" y="376390"/>
                </a:cubicBezTo>
                <a:close/>
                <a:moveTo>
                  <a:pt x="8525633" y="353854"/>
                </a:moveTo>
                <a:lnTo>
                  <a:pt x="8525633" y="399800"/>
                </a:lnTo>
                <a:lnTo>
                  <a:pt x="8525633" y="463141"/>
                </a:lnTo>
                <a:lnTo>
                  <a:pt x="8595623" y="463141"/>
                </a:lnTo>
                <a:lnTo>
                  <a:pt x="8596022" y="463141"/>
                </a:lnTo>
                <a:lnTo>
                  <a:pt x="8596022" y="446140"/>
                </a:lnTo>
                <a:lnTo>
                  <a:pt x="8595623" y="446140"/>
                </a:lnTo>
                <a:lnTo>
                  <a:pt x="8595623" y="440042"/>
                </a:lnTo>
                <a:lnTo>
                  <a:pt x="8551295" y="440042"/>
                </a:lnTo>
                <a:lnTo>
                  <a:pt x="8551295" y="418717"/>
                </a:lnTo>
                <a:lnTo>
                  <a:pt x="8591705" y="418717"/>
                </a:lnTo>
                <a:lnTo>
                  <a:pt x="8591705" y="396645"/>
                </a:lnTo>
                <a:lnTo>
                  <a:pt x="8551295" y="396645"/>
                </a:lnTo>
                <a:lnTo>
                  <a:pt x="8551295" y="377123"/>
                </a:lnTo>
                <a:lnTo>
                  <a:pt x="8595623" y="377123"/>
                </a:lnTo>
                <a:lnTo>
                  <a:pt x="8595623" y="370855"/>
                </a:lnTo>
                <a:lnTo>
                  <a:pt x="8596022" y="370855"/>
                </a:lnTo>
                <a:lnTo>
                  <a:pt x="8596022" y="353854"/>
                </a:lnTo>
                <a:lnTo>
                  <a:pt x="8595623" y="353854"/>
                </a:lnTo>
                <a:lnTo>
                  <a:pt x="8547362" y="353854"/>
                </a:lnTo>
                <a:close/>
                <a:moveTo>
                  <a:pt x="8448177" y="353854"/>
                </a:moveTo>
                <a:lnTo>
                  <a:pt x="8448177" y="399800"/>
                </a:lnTo>
                <a:lnTo>
                  <a:pt x="8448177" y="463141"/>
                </a:lnTo>
                <a:lnTo>
                  <a:pt x="8518167" y="463141"/>
                </a:lnTo>
                <a:lnTo>
                  <a:pt x="8518552" y="463141"/>
                </a:lnTo>
                <a:lnTo>
                  <a:pt x="8518552" y="446140"/>
                </a:lnTo>
                <a:lnTo>
                  <a:pt x="8518167" y="446140"/>
                </a:lnTo>
                <a:lnTo>
                  <a:pt x="8518167" y="440042"/>
                </a:lnTo>
                <a:lnTo>
                  <a:pt x="8473825" y="440042"/>
                </a:lnTo>
                <a:lnTo>
                  <a:pt x="8473825" y="418717"/>
                </a:lnTo>
                <a:lnTo>
                  <a:pt x="8514235" y="418717"/>
                </a:lnTo>
                <a:lnTo>
                  <a:pt x="8514235" y="396645"/>
                </a:lnTo>
                <a:lnTo>
                  <a:pt x="8473825" y="396645"/>
                </a:lnTo>
                <a:lnTo>
                  <a:pt x="8473825" y="377123"/>
                </a:lnTo>
                <a:lnTo>
                  <a:pt x="8518167" y="377123"/>
                </a:lnTo>
                <a:lnTo>
                  <a:pt x="8518167" y="370855"/>
                </a:lnTo>
                <a:lnTo>
                  <a:pt x="8518552" y="370855"/>
                </a:lnTo>
                <a:lnTo>
                  <a:pt x="8518552" y="353854"/>
                </a:lnTo>
                <a:lnTo>
                  <a:pt x="8518167" y="353854"/>
                </a:lnTo>
                <a:lnTo>
                  <a:pt x="8469892" y="353854"/>
                </a:lnTo>
                <a:close/>
                <a:moveTo>
                  <a:pt x="8387913" y="353821"/>
                </a:moveTo>
                <a:cubicBezTo>
                  <a:pt x="8380162" y="353737"/>
                  <a:pt x="8372471" y="355173"/>
                  <a:pt x="8365286" y="358047"/>
                </a:cubicBezTo>
                <a:cubicBezTo>
                  <a:pt x="8362463" y="359198"/>
                  <a:pt x="8359742" y="360579"/>
                  <a:pt x="8357150" y="362174"/>
                </a:cubicBezTo>
                <a:lnTo>
                  <a:pt x="8332784" y="413740"/>
                </a:lnTo>
                <a:cubicBezTo>
                  <a:pt x="8333178" y="419376"/>
                  <a:pt x="8334392" y="424926"/>
                  <a:pt x="8336389" y="430220"/>
                </a:cubicBezTo>
                <a:cubicBezTo>
                  <a:pt x="8341193" y="443294"/>
                  <a:pt x="8351385" y="453738"/>
                  <a:pt x="8364431" y="458953"/>
                </a:cubicBezTo>
                <a:cubicBezTo>
                  <a:pt x="8371564" y="461837"/>
                  <a:pt x="8379210" y="463274"/>
                  <a:pt x="8386916" y="463179"/>
                </a:cubicBezTo>
                <a:cubicBezTo>
                  <a:pt x="8394648" y="463266"/>
                  <a:pt x="8402321" y="461830"/>
                  <a:pt x="8409486" y="458953"/>
                </a:cubicBezTo>
                <a:cubicBezTo>
                  <a:pt x="8416013" y="456311"/>
                  <a:pt x="8421943" y="452409"/>
                  <a:pt x="8426926" y="447474"/>
                </a:cubicBezTo>
                <a:cubicBezTo>
                  <a:pt x="8431850" y="442547"/>
                  <a:pt x="8435700" y="436674"/>
                  <a:pt x="8438240" y="430220"/>
                </a:cubicBezTo>
                <a:cubicBezTo>
                  <a:pt x="8440974" y="423326"/>
                  <a:pt x="8442338" y="415975"/>
                  <a:pt x="8442258" y="408571"/>
                </a:cubicBezTo>
                <a:cubicBezTo>
                  <a:pt x="8442328" y="401153"/>
                  <a:pt x="8441019" y="393787"/>
                  <a:pt x="8438397" y="386837"/>
                </a:cubicBezTo>
                <a:cubicBezTo>
                  <a:pt x="8435967" y="380393"/>
                  <a:pt x="8432239" y="374504"/>
                  <a:pt x="8427439" y="369526"/>
                </a:cubicBezTo>
                <a:cubicBezTo>
                  <a:pt x="8422597" y="364580"/>
                  <a:pt x="8416777" y="360673"/>
                  <a:pt x="8410341" y="358047"/>
                </a:cubicBezTo>
                <a:cubicBezTo>
                  <a:pt x="8403230" y="355157"/>
                  <a:pt x="8395601" y="353720"/>
                  <a:pt x="8387913" y="353821"/>
                </a:cubicBezTo>
                <a:close/>
                <a:moveTo>
                  <a:pt x="8245203" y="353474"/>
                </a:moveTo>
                <a:lnTo>
                  <a:pt x="8261546" y="387546"/>
                </a:lnTo>
                <a:lnTo>
                  <a:pt x="8288505" y="387546"/>
                </a:lnTo>
                <a:lnTo>
                  <a:pt x="8274156" y="353474"/>
                </a:lnTo>
                <a:close/>
                <a:moveTo>
                  <a:pt x="8325053" y="353460"/>
                </a:moveTo>
                <a:lnTo>
                  <a:pt x="8299363" y="412590"/>
                </a:lnTo>
                <a:lnTo>
                  <a:pt x="8292395" y="396251"/>
                </a:lnTo>
                <a:lnTo>
                  <a:pt x="8265650" y="396251"/>
                </a:lnTo>
                <a:lnTo>
                  <a:pt x="8297582" y="462916"/>
                </a:lnTo>
                <a:lnTo>
                  <a:pt x="8300545" y="462916"/>
                </a:lnTo>
                <a:lnTo>
                  <a:pt x="8352283" y="353460"/>
                </a:lnTo>
                <a:close/>
                <a:moveTo>
                  <a:pt x="8704282" y="315922"/>
                </a:moveTo>
                <a:lnTo>
                  <a:pt x="8704282" y="490850"/>
                </a:lnTo>
                <a:lnTo>
                  <a:pt x="8723671" y="490850"/>
                </a:lnTo>
                <a:lnTo>
                  <a:pt x="8723671" y="315922"/>
                </a:lnTo>
                <a:close/>
                <a:moveTo>
                  <a:pt x="0" y="0"/>
                </a:moveTo>
                <a:lnTo>
                  <a:pt x="9144000" y="0"/>
                </a:lnTo>
                <a:lnTo>
                  <a:pt x="9144000" y="658368"/>
                </a:lnTo>
                <a:lnTo>
                  <a:pt x="0" y="6583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200"/>
          </a:p>
        </p:txBody>
      </p:sp>
      <p:graphicFrame>
        <p:nvGraphicFramePr>
          <p:cNvPr id="7" name="Object 6" hidden="1">
            <a:extLst>
              <a:ext uri="{FF2B5EF4-FFF2-40B4-BE49-F238E27FC236}">
                <a16:creationId xmlns:a16="http://schemas.microsoft.com/office/drawing/2014/main" id="{E83C530C-6A23-2143-97CF-E9F3861AF40A}"/>
              </a:ext>
            </a:extLst>
          </p:cNvPr>
          <p:cNvGraphicFramePr>
            <a:graphicFrameLocks noChangeAspect="1"/>
          </p:cNvGraphicFramePr>
          <p:nvPr userDrawn="1">
            <p:custDataLst>
              <p:tags r:id="rId51"/>
            </p:custDataLst>
            <p:extLst>
              <p:ext uri="{D42A27DB-BD31-4B8C-83A1-F6EECF244321}">
                <p14:modId xmlns:p14="http://schemas.microsoft.com/office/powerpoint/2010/main" val="250909897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51" name="think-cell Slide" r:id="rId53" imgW="7772400" imgH="10058400" progId="TCLayout.ActiveDocument.1">
                  <p:embed/>
                </p:oleObj>
              </mc:Choice>
              <mc:Fallback>
                <p:oleObj name="think-cell Slide" r:id="rId53" imgW="7772400" imgH="10058400" progId="TCLayout.ActiveDocument.1">
                  <p:embed/>
                  <p:pic>
                    <p:nvPicPr>
                      <p:cNvPr id="7" name="Object 6" hidden="1">
                        <a:extLst>
                          <a:ext uri="{FF2B5EF4-FFF2-40B4-BE49-F238E27FC236}">
                            <a16:creationId xmlns:a16="http://schemas.microsoft.com/office/drawing/2014/main" id="{E83C530C-6A23-2143-97CF-E9F3861AF40A}"/>
                          </a:ext>
                        </a:extLst>
                      </p:cNvPr>
                      <p:cNvPicPr/>
                      <p:nvPr/>
                    </p:nvPicPr>
                    <p:blipFill>
                      <a:blip r:embed="rId54"/>
                      <a:stretch>
                        <a:fillRect/>
                      </a:stretch>
                    </p:blipFill>
                    <p:spPr>
                      <a:xfrm>
                        <a:off x="2118" y="1589"/>
                        <a:ext cx="2116"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0D71511-F07B-A04E-A54D-BD95CD8FCE2A}"/>
              </a:ext>
            </a:extLst>
          </p:cNvPr>
          <p:cNvSpPr>
            <a:spLocks noGrp="1"/>
          </p:cNvSpPr>
          <p:nvPr userDrawn="1">
            <p:ph type="title"/>
          </p:nvPr>
        </p:nvSpPr>
        <p:spPr>
          <a:xfrm>
            <a:off x="575734" y="423038"/>
            <a:ext cx="11040533" cy="567394"/>
          </a:xfrm>
          <a:prstGeom prst="rect">
            <a:avLst/>
          </a:prstGeom>
        </p:spPr>
        <p:txBody>
          <a:bodyPr vert="horz" lIns="0" tIns="0" rIns="0" bIns="0" rtlCol="0" anchor="b">
            <a:noAutofit/>
          </a:bodyPr>
          <a:lstStyle/>
          <a:p>
            <a:endParaRPr lang="en-US" dirty="0"/>
          </a:p>
        </p:txBody>
      </p:sp>
      <p:sp>
        <p:nvSpPr>
          <p:cNvPr id="4" name="Date Placeholder 3">
            <a:extLst>
              <a:ext uri="{FF2B5EF4-FFF2-40B4-BE49-F238E27FC236}">
                <a16:creationId xmlns:a16="http://schemas.microsoft.com/office/drawing/2014/main" id="{C6A45110-0167-564A-88EE-77AC9A9796DD}"/>
              </a:ext>
            </a:extLst>
          </p:cNvPr>
          <p:cNvSpPr>
            <a:spLocks noGrp="1"/>
          </p:cNvSpPr>
          <p:nvPr userDrawn="1">
            <p:ph type="dt" sz="half" idx="2"/>
          </p:nvPr>
        </p:nvSpPr>
        <p:spPr>
          <a:xfrm>
            <a:off x="0" y="6864579"/>
            <a:ext cx="0" cy="0"/>
          </a:xfrm>
          <a:prstGeom prst="rect">
            <a:avLst/>
          </a:prstGeom>
          <a:ln w="0">
            <a:solidFill>
              <a:schemeClr val="bg1">
                <a:alpha val="0"/>
              </a:schemeClr>
            </a:solidFill>
          </a:ln>
        </p:spPr>
        <p:txBody>
          <a:bodyPr vert="horz" lIns="0" tIns="45720" rIns="91440" bIns="45720" rtlCol="0" anchor="ctr"/>
          <a:lstStyle>
            <a:lvl1pPr algn="l">
              <a:defRPr sz="200">
                <a:solidFill>
                  <a:schemeClr val="bg1">
                    <a:alpha val="0"/>
                  </a:schemeClr>
                </a:solidFill>
              </a:defRPr>
            </a:lvl1pPr>
          </a:lstStyle>
          <a:p>
            <a:endParaRPr lang="en-US" dirty="0"/>
          </a:p>
        </p:txBody>
      </p:sp>
      <p:sp>
        <p:nvSpPr>
          <p:cNvPr id="6" name="Text Placeholder 5">
            <a:extLst>
              <a:ext uri="{FF2B5EF4-FFF2-40B4-BE49-F238E27FC236}">
                <a16:creationId xmlns:a16="http://schemas.microsoft.com/office/drawing/2014/main" id="{23D3717A-E9D8-444D-8D16-5A32534671E2}"/>
              </a:ext>
            </a:extLst>
          </p:cNvPr>
          <p:cNvSpPr>
            <a:spLocks noGrp="1"/>
          </p:cNvSpPr>
          <p:nvPr userDrawn="1">
            <p:ph type="body" idx="1"/>
          </p:nvPr>
        </p:nvSpPr>
        <p:spPr>
          <a:xfrm>
            <a:off x="575734" y="1233489"/>
            <a:ext cx="11040533" cy="4932361"/>
          </a:xfrm>
          <a:prstGeom prst="rect">
            <a:avLst/>
          </a:prstGeom>
        </p:spPr>
        <p:txBody>
          <a:bodyPr vert="horz" lIns="0" tIns="0" rIns="0" bIns="0" rtlCol="0">
            <a:noAutofit/>
          </a:bodyPr>
          <a:lstStyle/>
          <a:p>
            <a:pPr marL="0" marR="0" lvl="0" indent="0" algn="l" defTabSz="914400" rtl="0" eaLnBrk="1" fontAlgn="auto" latinLnBrk="0" hangingPunct="1">
              <a:lnSpc>
                <a:spcPct val="90000"/>
              </a:lnSpc>
              <a:spcBef>
                <a:spcPts val="600"/>
              </a:spcBef>
              <a:spcAft>
                <a:spcPts val="300"/>
              </a:spcAft>
              <a:buClrTx/>
              <a:buSzTx/>
              <a:buFont typeface="Wingdings" pitchFamily="2" charset="2"/>
              <a:buNone/>
              <a:tabLst/>
              <a:defRPr/>
            </a:pPr>
            <a:r>
              <a:rPr lang="en-US" dirty="0"/>
              <a:t>Subheading (first level)</a:t>
            </a:r>
          </a:p>
          <a:p>
            <a:pPr lvl="1"/>
            <a:r>
              <a:rPr lang="en-US" dirty="0"/>
              <a:t>Body text (second level)</a:t>
            </a:r>
          </a:p>
          <a:p>
            <a:pPr lvl="2"/>
            <a:r>
              <a:rPr lang="en-US" dirty="0"/>
              <a:t>Square bullet (third level)</a:t>
            </a:r>
          </a:p>
          <a:p>
            <a:pPr lvl="3"/>
            <a:r>
              <a:rPr lang="en-US" dirty="0"/>
              <a:t>Dashed bullet (fourth level)</a:t>
            </a:r>
          </a:p>
          <a:p>
            <a:pPr lvl="4"/>
            <a:r>
              <a:rPr lang="en-US" dirty="0"/>
              <a:t>Dashed bullet (fifth level)</a:t>
            </a:r>
          </a:p>
          <a:p>
            <a:pPr lvl="5"/>
            <a:r>
              <a:rPr lang="en-US" dirty="0"/>
              <a:t>Dashed bullet (sixth level)</a:t>
            </a:r>
          </a:p>
          <a:p>
            <a:pPr lvl="6"/>
            <a:r>
              <a:rPr lang="en-US" dirty="0"/>
              <a:t>Dashed bullet (seventh level)</a:t>
            </a:r>
          </a:p>
          <a:p>
            <a:pPr lvl="7"/>
            <a:r>
              <a:rPr lang="en-US" dirty="0"/>
              <a:t>Dashed bullet (eighth level)</a:t>
            </a:r>
          </a:p>
          <a:p>
            <a:pPr lvl="8"/>
            <a:r>
              <a:rPr lang="en-US" dirty="0"/>
              <a:t>Dashed bullet (ninth level)</a:t>
            </a:r>
          </a:p>
        </p:txBody>
      </p:sp>
      <p:grpSp>
        <p:nvGrpSpPr>
          <p:cNvPr id="8" name="Group 7">
            <a:extLst>
              <a:ext uri="{FF2B5EF4-FFF2-40B4-BE49-F238E27FC236}">
                <a16:creationId xmlns:a16="http://schemas.microsoft.com/office/drawing/2014/main" id="{539F0740-B130-9148-920F-1FBC5D74BB85}"/>
              </a:ext>
            </a:extLst>
          </p:cNvPr>
          <p:cNvGrpSpPr/>
          <p:nvPr userDrawn="1"/>
        </p:nvGrpSpPr>
        <p:grpSpPr>
          <a:xfrm>
            <a:off x="-342618" y="-246933"/>
            <a:ext cx="12877239" cy="7348688"/>
            <a:chOff x="-256964" y="-246933"/>
            <a:chExt cx="9657929" cy="7348688"/>
          </a:xfrm>
        </p:grpSpPr>
        <p:grpSp>
          <p:nvGrpSpPr>
            <p:cNvPr id="20" name="Group 19">
              <a:extLst>
                <a:ext uri="{FF2B5EF4-FFF2-40B4-BE49-F238E27FC236}">
                  <a16:creationId xmlns:a16="http://schemas.microsoft.com/office/drawing/2014/main" id="{73BDEFE8-9FA7-3249-9B81-EC3C5E1E0CD6}"/>
                </a:ext>
              </a:extLst>
            </p:cNvPr>
            <p:cNvGrpSpPr/>
            <p:nvPr userDrawn="1"/>
          </p:nvGrpSpPr>
          <p:grpSpPr>
            <a:xfrm>
              <a:off x="-256964" y="421651"/>
              <a:ext cx="251461" cy="567396"/>
              <a:chOff x="-256404" y="360363"/>
              <a:chExt cx="251461" cy="692152"/>
            </a:xfrm>
          </p:grpSpPr>
          <p:grpSp>
            <p:nvGrpSpPr>
              <p:cNvPr id="41" name="Group 40">
                <a:extLst>
                  <a:ext uri="{FF2B5EF4-FFF2-40B4-BE49-F238E27FC236}">
                    <a16:creationId xmlns:a16="http://schemas.microsoft.com/office/drawing/2014/main" id="{5E12FD18-FB76-9E45-A035-FA2ACD4D007A}"/>
                  </a:ext>
                </a:extLst>
              </p:cNvPr>
              <p:cNvGrpSpPr/>
              <p:nvPr userDrawn="1"/>
            </p:nvGrpSpPr>
            <p:grpSpPr>
              <a:xfrm rot="16200000">
                <a:off x="-476749" y="580708"/>
                <a:ext cx="692152" cy="251461"/>
                <a:chOff x="431800" y="-235792"/>
                <a:chExt cx="4400551" cy="235792"/>
              </a:xfrm>
            </p:grpSpPr>
            <p:cxnSp>
              <p:nvCxnSpPr>
                <p:cNvPr id="42" name="Straight Connector 41">
                  <a:extLst>
                    <a:ext uri="{FF2B5EF4-FFF2-40B4-BE49-F238E27FC236}">
                      <a16:creationId xmlns:a16="http://schemas.microsoft.com/office/drawing/2014/main" id="{F22B49D1-B420-0E48-A6FA-450123A6193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B8D8002-031B-CE42-98C5-47AAD17660D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2C8986EF-5E91-E542-AF40-1DD8D8D0DAC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45" name="TextBox 44">
                <a:extLst>
                  <a:ext uri="{FF2B5EF4-FFF2-40B4-BE49-F238E27FC236}">
                    <a16:creationId xmlns:a16="http://schemas.microsoft.com/office/drawing/2014/main" id="{4A41689B-8D32-B948-A8FC-5383A4F1BF0A}"/>
                  </a:ext>
                </a:extLst>
              </p:cNvPr>
              <p:cNvSpPr txBox="1"/>
              <p:nvPr userDrawn="1"/>
            </p:nvSpPr>
            <p:spPr>
              <a:xfrm rot="16200000">
                <a:off x="-279288" y="662665"/>
                <a:ext cx="297230" cy="8079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9" name="Group 18">
              <a:extLst>
                <a:ext uri="{FF2B5EF4-FFF2-40B4-BE49-F238E27FC236}">
                  <a16:creationId xmlns:a16="http://schemas.microsoft.com/office/drawing/2014/main" id="{D3D8E7E2-5950-E647-8606-275BB3DBFB13}"/>
                </a:ext>
              </a:extLst>
            </p:cNvPr>
            <p:cNvGrpSpPr/>
            <p:nvPr userDrawn="1"/>
          </p:nvGrpSpPr>
          <p:grpSpPr>
            <a:xfrm>
              <a:off x="-256963" y="6199390"/>
              <a:ext cx="251461" cy="505509"/>
              <a:chOff x="-256403" y="6200775"/>
              <a:chExt cx="251461" cy="505509"/>
            </a:xfrm>
          </p:grpSpPr>
          <p:grpSp>
            <p:nvGrpSpPr>
              <p:cNvPr id="58" name="Group 57">
                <a:extLst>
                  <a:ext uri="{FF2B5EF4-FFF2-40B4-BE49-F238E27FC236}">
                    <a16:creationId xmlns:a16="http://schemas.microsoft.com/office/drawing/2014/main" id="{AA9EE014-7DD6-A04C-A2C6-7D9CCBE48B53}"/>
                  </a:ext>
                </a:extLst>
              </p:cNvPr>
              <p:cNvGrpSpPr/>
              <p:nvPr userDrawn="1"/>
            </p:nvGrpSpPr>
            <p:grpSpPr>
              <a:xfrm rot="16200000">
                <a:off x="-383427" y="6327799"/>
                <a:ext cx="505509" cy="251461"/>
                <a:chOff x="431800" y="-235792"/>
                <a:chExt cx="4400551" cy="235792"/>
              </a:xfrm>
            </p:grpSpPr>
            <p:cxnSp>
              <p:nvCxnSpPr>
                <p:cNvPr id="59" name="Straight Connector 58">
                  <a:extLst>
                    <a:ext uri="{FF2B5EF4-FFF2-40B4-BE49-F238E27FC236}">
                      <a16:creationId xmlns:a16="http://schemas.microsoft.com/office/drawing/2014/main" id="{73AE3D48-81C2-CC4E-A917-4EFA9A8758E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7BA2BEC-D71E-2D4A-8263-034DF97FA82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C5E46BE6-4D23-5749-A5BA-CC466FA5839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62" name="TextBox 61">
                <a:extLst>
                  <a:ext uri="{FF2B5EF4-FFF2-40B4-BE49-F238E27FC236}">
                    <a16:creationId xmlns:a16="http://schemas.microsoft.com/office/drawing/2014/main" id="{F4593E23-5413-AB48-9A3C-62AE835EAF18}"/>
                  </a:ext>
                </a:extLst>
              </p:cNvPr>
              <p:cNvSpPr txBox="1"/>
              <p:nvPr userDrawn="1"/>
            </p:nvSpPr>
            <p:spPr>
              <a:xfrm rot="16200000">
                <a:off x="-284561" y="6399801"/>
                <a:ext cx="307777" cy="129266"/>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9" name="Group 8">
              <a:extLst>
                <a:ext uri="{FF2B5EF4-FFF2-40B4-BE49-F238E27FC236}">
                  <a16:creationId xmlns:a16="http://schemas.microsoft.com/office/drawing/2014/main" id="{F27CEBF6-43E9-5F47-8E2C-B54AD33300C0}"/>
                </a:ext>
              </a:extLst>
            </p:cNvPr>
            <p:cNvGrpSpPr/>
            <p:nvPr userDrawn="1"/>
          </p:nvGrpSpPr>
          <p:grpSpPr>
            <a:xfrm>
              <a:off x="431240" y="-246933"/>
              <a:ext cx="8280401" cy="7347304"/>
              <a:chOff x="431240" y="-246933"/>
              <a:chExt cx="8280401" cy="7347304"/>
            </a:xfrm>
          </p:grpSpPr>
          <p:grpSp>
            <p:nvGrpSpPr>
              <p:cNvPr id="54" name="Group 53">
                <a:extLst>
                  <a:ext uri="{FF2B5EF4-FFF2-40B4-BE49-F238E27FC236}">
                    <a16:creationId xmlns:a16="http://schemas.microsoft.com/office/drawing/2014/main" id="{0FC885F4-0406-DD40-A377-62D4618F4E97}"/>
                  </a:ext>
                </a:extLst>
              </p:cNvPr>
              <p:cNvGrpSpPr/>
              <p:nvPr userDrawn="1"/>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5BF68FD4-ABD4-6F49-AD60-341BFE5D1119}"/>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60F2D9F-628D-F44D-844A-F65DE298D8E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2015149B-889B-6140-AA46-36035191AC4D}"/>
                  </a:ext>
                </a:extLst>
              </p:cNvPr>
              <p:cNvGrpSpPr/>
              <p:nvPr userDrawn="1"/>
            </p:nvGrpSpPr>
            <p:grpSpPr>
              <a:xfrm>
                <a:off x="431240" y="-246933"/>
                <a:ext cx="8280401" cy="235792"/>
                <a:chOff x="431800" y="-240735"/>
                <a:chExt cx="8280401" cy="235792"/>
              </a:xfrm>
            </p:grpSpPr>
            <p:grpSp>
              <p:nvGrpSpPr>
                <p:cNvPr id="29" name="Group 28">
                  <a:extLst>
                    <a:ext uri="{FF2B5EF4-FFF2-40B4-BE49-F238E27FC236}">
                      <a16:creationId xmlns:a16="http://schemas.microsoft.com/office/drawing/2014/main" id="{6943FC13-01DD-AC42-A596-C5EAB432F263}"/>
                    </a:ext>
                  </a:extLst>
                </p:cNvPr>
                <p:cNvGrpSpPr/>
                <p:nvPr userDrawn="1"/>
              </p:nvGrpSpPr>
              <p:grpSpPr>
                <a:xfrm>
                  <a:off x="431800" y="-240735"/>
                  <a:ext cx="8280400" cy="235792"/>
                  <a:chOff x="431800" y="-235792"/>
                  <a:chExt cx="4400551" cy="235792"/>
                </a:xfrm>
              </p:grpSpPr>
              <p:cxnSp>
                <p:nvCxnSpPr>
                  <p:cNvPr id="23" name="Straight Connector 22">
                    <a:extLst>
                      <a:ext uri="{FF2B5EF4-FFF2-40B4-BE49-F238E27FC236}">
                        <a16:creationId xmlns:a16="http://schemas.microsoft.com/office/drawing/2014/main" id="{12F2B51E-5808-304B-9933-3B15AE6AE84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3FF3526-1234-674B-80E7-BCA857B95E8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F4605588-4BA0-B14E-B9D7-4220945390F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30" name="TextBox 29">
                  <a:extLst>
                    <a:ext uri="{FF2B5EF4-FFF2-40B4-BE49-F238E27FC236}">
                      <a16:creationId xmlns:a16="http://schemas.microsoft.com/office/drawing/2014/main" id="{75E48346-3BAB-6A45-BD6B-2E12F1AC491B}"/>
                    </a:ext>
                  </a:extLst>
                </p:cNvPr>
                <p:cNvSpPr txBox="1"/>
                <p:nvPr userDrawn="1"/>
              </p:nvSpPr>
              <p:spPr>
                <a:xfrm>
                  <a:off x="3914336" y="-176700"/>
                  <a:ext cx="1315339"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4" name="Straight Arrow Connector 63">
                  <a:extLst>
                    <a:ext uri="{FF2B5EF4-FFF2-40B4-BE49-F238E27FC236}">
                      <a16:creationId xmlns:a16="http://schemas.microsoft.com/office/drawing/2014/main" id="{7C3A3DDC-8736-8B47-957C-4DB3DC7BA389}"/>
                    </a:ext>
                  </a:extLst>
                </p:cNvPr>
                <p:cNvCxnSpPr>
                  <a:cxnSpLocks/>
                  <a:stCxn id="30" idx="1"/>
                  <a:endCxn id="22" idx="2"/>
                </p:cNvCxnSpPr>
                <p:nvPr userDrawn="1"/>
              </p:nvCxnSpPr>
              <p:spPr>
                <a:xfrm flipH="1">
                  <a:off x="431801" y="-122839"/>
                  <a:ext cx="3482535"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9E1BBA66-E33F-5246-A101-D1F7F9E3EFE0}"/>
                    </a:ext>
                  </a:extLst>
                </p:cNvPr>
                <p:cNvCxnSpPr>
                  <a:cxnSpLocks/>
                  <a:stCxn id="30" idx="3"/>
                  <a:endCxn id="22" idx="0"/>
                </p:cNvCxnSpPr>
                <p:nvPr userDrawn="1"/>
              </p:nvCxnSpPr>
              <p:spPr>
                <a:xfrm flipV="1">
                  <a:off x="5229674" y="-122840"/>
                  <a:ext cx="3482527"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8" name="Group 17">
              <a:extLst>
                <a:ext uri="{FF2B5EF4-FFF2-40B4-BE49-F238E27FC236}">
                  <a16:creationId xmlns:a16="http://schemas.microsoft.com/office/drawing/2014/main" id="{00980A37-D446-294D-95D8-4AE280E4D28B}"/>
                </a:ext>
              </a:extLst>
            </p:cNvPr>
            <p:cNvGrpSpPr/>
            <p:nvPr userDrawn="1"/>
          </p:nvGrpSpPr>
          <p:grpSpPr>
            <a:xfrm>
              <a:off x="-256963" y="1233487"/>
              <a:ext cx="251461" cy="4930977"/>
              <a:chOff x="-256403" y="1304924"/>
              <a:chExt cx="251461" cy="4843215"/>
            </a:xfrm>
          </p:grpSpPr>
          <p:grpSp>
            <p:nvGrpSpPr>
              <p:cNvPr id="36" name="Group 35">
                <a:extLst>
                  <a:ext uri="{FF2B5EF4-FFF2-40B4-BE49-F238E27FC236}">
                    <a16:creationId xmlns:a16="http://schemas.microsoft.com/office/drawing/2014/main" id="{45EE91C7-0375-8348-97F0-234CD68ACFF0}"/>
                  </a:ext>
                </a:extLst>
              </p:cNvPr>
              <p:cNvGrpSpPr/>
              <p:nvPr userDrawn="1"/>
            </p:nvGrpSpPr>
            <p:grpSpPr>
              <a:xfrm rot="16200000">
                <a:off x="-2552280" y="3600801"/>
                <a:ext cx="4843215" cy="251461"/>
                <a:chOff x="431800" y="-235792"/>
                <a:chExt cx="4400551" cy="235792"/>
              </a:xfrm>
            </p:grpSpPr>
            <p:cxnSp>
              <p:nvCxnSpPr>
                <p:cNvPr id="37" name="Straight Connector 36">
                  <a:extLst>
                    <a:ext uri="{FF2B5EF4-FFF2-40B4-BE49-F238E27FC236}">
                      <a16:creationId xmlns:a16="http://schemas.microsoft.com/office/drawing/2014/main" id="{2EC75812-09C4-7D47-9562-5A8554E0209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6B1498-4B03-674C-80E6-9988AA331A62}"/>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3DD40D0F-5B45-A441-A065-F744384DF89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40" name="TextBox 39">
                <a:extLst>
                  <a:ext uri="{FF2B5EF4-FFF2-40B4-BE49-F238E27FC236}">
                    <a16:creationId xmlns:a16="http://schemas.microsoft.com/office/drawing/2014/main" id="{CE0455E3-6AFB-7D40-BC14-7ACB1F9DAD6E}"/>
                  </a:ext>
                </a:extLst>
              </p:cNvPr>
              <p:cNvSpPr txBox="1"/>
              <p:nvPr userDrawn="1"/>
            </p:nvSpPr>
            <p:spPr>
              <a:xfrm rot="16200000">
                <a:off x="-991958" y="3686134"/>
                <a:ext cx="1722572" cy="8079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6" name="Straight Arrow Connector 65">
                <a:extLst>
                  <a:ext uri="{FF2B5EF4-FFF2-40B4-BE49-F238E27FC236}">
                    <a16:creationId xmlns:a16="http://schemas.microsoft.com/office/drawing/2014/main" id="{369A0288-B930-114B-B48F-D4F3EF647C47}"/>
                  </a:ext>
                </a:extLst>
              </p:cNvPr>
              <p:cNvCxnSpPr>
                <a:cxnSpLocks/>
                <a:stCxn id="40" idx="1"/>
              </p:cNvCxnSpPr>
              <p:nvPr userDrawn="1"/>
            </p:nvCxnSpPr>
            <p:spPr>
              <a:xfrm flipH="1">
                <a:off x="-130672" y="4587817"/>
                <a:ext cx="1" cy="156032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C5709236-298B-344F-AFF7-86E5F553B2FA}"/>
                  </a:ext>
                </a:extLst>
              </p:cNvPr>
              <p:cNvCxnSpPr>
                <a:cxnSpLocks/>
                <a:stCxn id="40" idx="3"/>
              </p:cNvCxnSpPr>
              <p:nvPr userDrawn="1"/>
            </p:nvCxnSpPr>
            <p:spPr>
              <a:xfrm flipH="1" flipV="1">
                <a:off x="-130673" y="1304928"/>
                <a:ext cx="1" cy="1560317"/>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6943FE73-F9AD-6244-A555-E55A255D9C2B}"/>
                </a:ext>
              </a:extLst>
            </p:cNvPr>
            <p:cNvGrpSpPr/>
            <p:nvPr userDrawn="1"/>
          </p:nvGrpSpPr>
          <p:grpSpPr>
            <a:xfrm rot="16200000">
              <a:off x="8991537" y="579617"/>
              <a:ext cx="567396" cy="251461"/>
              <a:chOff x="431801" y="-235792"/>
              <a:chExt cx="4400550" cy="235792"/>
            </a:xfrm>
          </p:grpSpPr>
          <p:cxnSp>
            <p:nvCxnSpPr>
              <p:cNvPr id="70" name="Straight Connector 69">
                <a:extLst>
                  <a:ext uri="{FF2B5EF4-FFF2-40B4-BE49-F238E27FC236}">
                    <a16:creationId xmlns:a16="http://schemas.microsoft.com/office/drawing/2014/main" id="{C3628860-D8D8-0042-9BCF-5AA5EE7B1049}"/>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8BB8402-4D22-B448-885D-1B05C4E245E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5AE26B18-92DF-3249-AC98-8FA7C7C05ACB}"/>
                </a:ext>
              </a:extLst>
            </p:cNvPr>
            <p:cNvGrpSpPr/>
            <p:nvPr userDrawn="1"/>
          </p:nvGrpSpPr>
          <p:grpSpPr>
            <a:xfrm rot="16200000">
              <a:off x="9022480" y="6326414"/>
              <a:ext cx="505509" cy="251461"/>
              <a:chOff x="431801" y="-235792"/>
              <a:chExt cx="4400550" cy="235792"/>
            </a:xfrm>
          </p:grpSpPr>
          <p:cxnSp>
            <p:nvCxnSpPr>
              <p:cNvPr id="84" name="Straight Connector 83">
                <a:extLst>
                  <a:ext uri="{FF2B5EF4-FFF2-40B4-BE49-F238E27FC236}">
                    <a16:creationId xmlns:a16="http://schemas.microsoft.com/office/drawing/2014/main" id="{CF4903C6-7D49-3144-8CA4-C4535B8178A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18B5DD9-7082-2F46-B230-AB7FEF259DF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2450701C-1FD4-734B-B53D-04C1A47F09EC}"/>
                </a:ext>
              </a:extLst>
            </p:cNvPr>
            <p:cNvGrpSpPr/>
            <p:nvPr userDrawn="1"/>
          </p:nvGrpSpPr>
          <p:grpSpPr>
            <a:xfrm rot="16200000">
              <a:off x="6810642" y="3574139"/>
              <a:ext cx="4929186" cy="251461"/>
              <a:chOff x="431801" y="-235792"/>
              <a:chExt cx="4462347" cy="235792"/>
            </a:xfrm>
          </p:grpSpPr>
          <p:cxnSp>
            <p:nvCxnSpPr>
              <p:cNvPr id="92" name="Straight Connector 91">
                <a:extLst>
                  <a:ext uri="{FF2B5EF4-FFF2-40B4-BE49-F238E27FC236}">
                    <a16:creationId xmlns:a16="http://schemas.microsoft.com/office/drawing/2014/main" id="{EA7F5C02-DBA8-114C-B8AD-E6E39FB3E452}"/>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BBED8D4-0952-E441-B264-00A3F7C399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3C2F4607-7DC3-324D-879F-E486D0EDF66B}"/>
                </a:ext>
              </a:extLst>
            </p:cNvPr>
            <p:cNvGrpSpPr/>
            <p:nvPr userDrawn="1"/>
          </p:nvGrpSpPr>
          <p:grpSpPr>
            <a:xfrm>
              <a:off x="3121397" y="6865965"/>
              <a:ext cx="2930114" cy="235790"/>
              <a:chOff x="3121388" y="6869197"/>
              <a:chExt cx="2930114" cy="235790"/>
            </a:xfrm>
          </p:grpSpPr>
          <p:grpSp>
            <p:nvGrpSpPr>
              <p:cNvPr id="11" name="Group 10">
                <a:extLst>
                  <a:ext uri="{FF2B5EF4-FFF2-40B4-BE49-F238E27FC236}">
                    <a16:creationId xmlns:a16="http://schemas.microsoft.com/office/drawing/2014/main" id="{AEF875DB-5EB3-4849-8E5F-39088FA886E7}"/>
                  </a:ext>
                </a:extLst>
              </p:cNvPr>
              <p:cNvGrpSpPr/>
              <p:nvPr userDrawn="1"/>
            </p:nvGrpSpPr>
            <p:grpSpPr>
              <a:xfrm>
                <a:off x="3184525" y="6869197"/>
                <a:ext cx="2774950" cy="60992"/>
                <a:chOff x="3184525" y="6869196"/>
                <a:chExt cx="2774950" cy="235791"/>
              </a:xfrm>
            </p:grpSpPr>
            <p:cxnSp>
              <p:nvCxnSpPr>
                <p:cNvPr id="73" name="Straight Connector 72">
                  <a:extLst>
                    <a:ext uri="{FF2B5EF4-FFF2-40B4-BE49-F238E27FC236}">
                      <a16:creationId xmlns:a16="http://schemas.microsoft.com/office/drawing/2014/main" id="{401B80A4-C088-3F40-B2A2-2D862F375A3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2736629-EF45-5843-9E91-AF39A137BD0F}"/>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AD5C415B-C58A-5143-B195-53B6A53B164E}"/>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87" name="TextBox 86">
                <a:extLst>
                  <a:ext uri="{FF2B5EF4-FFF2-40B4-BE49-F238E27FC236}">
                    <a16:creationId xmlns:a16="http://schemas.microsoft.com/office/drawing/2014/main" id="{7CA58A63-C828-AB49-B77B-45A6B4DBDD83}"/>
                  </a:ext>
                </a:extLst>
              </p:cNvPr>
              <p:cNvSpPr txBox="1"/>
              <p:nvPr userDrawn="1"/>
            </p:nvSpPr>
            <p:spPr>
              <a:xfrm>
                <a:off x="3121388" y="6954537"/>
                <a:ext cx="153888"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89" name="TextBox 88">
                <a:extLst>
                  <a:ext uri="{FF2B5EF4-FFF2-40B4-BE49-F238E27FC236}">
                    <a16:creationId xmlns:a16="http://schemas.microsoft.com/office/drawing/2014/main" id="{0005311A-1292-E544-A38B-88988BFE1577}"/>
                  </a:ext>
                </a:extLst>
              </p:cNvPr>
              <p:cNvSpPr txBox="1"/>
              <p:nvPr userDrawn="1"/>
            </p:nvSpPr>
            <p:spPr>
              <a:xfrm>
                <a:off x="4487991" y="6954537"/>
                <a:ext cx="170720"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90" name="TextBox 89">
                <a:extLst>
                  <a:ext uri="{FF2B5EF4-FFF2-40B4-BE49-F238E27FC236}">
                    <a16:creationId xmlns:a16="http://schemas.microsoft.com/office/drawing/2014/main" id="{417A683D-6BBC-AD4D-9603-29408D7E4EE4}"/>
                  </a:ext>
                </a:extLst>
              </p:cNvPr>
              <p:cNvSpPr txBox="1"/>
              <p:nvPr userDrawn="1"/>
            </p:nvSpPr>
            <p:spPr>
              <a:xfrm>
                <a:off x="5869961" y="6954537"/>
                <a:ext cx="181541"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91" name="Group 90">
                <a:extLst>
                  <a:ext uri="{FF2B5EF4-FFF2-40B4-BE49-F238E27FC236}">
                    <a16:creationId xmlns:a16="http://schemas.microsoft.com/office/drawing/2014/main" id="{3236913A-BD45-484F-BBAE-557205654333}"/>
                  </a:ext>
                </a:extLst>
              </p:cNvPr>
              <p:cNvGrpSpPr/>
              <p:nvPr userDrawn="1"/>
            </p:nvGrpSpPr>
            <p:grpSpPr>
              <a:xfrm>
                <a:off x="3184525" y="7040714"/>
                <a:ext cx="2774950" cy="64273"/>
                <a:chOff x="3184525" y="6869196"/>
                <a:chExt cx="2774950" cy="235791"/>
              </a:xfrm>
            </p:grpSpPr>
            <p:cxnSp>
              <p:nvCxnSpPr>
                <p:cNvPr id="94" name="Straight Connector 93">
                  <a:extLst>
                    <a:ext uri="{FF2B5EF4-FFF2-40B4-BE49-F238E27FC236}">
                      <a16:creationId xmlns:a16="http://schemas.microsoft.com/office/drawing/2014/main" id="{B8DC771C-3FBD-2747-9F87-9ED9BB8478E7}"/>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E5CA426-9DD9-D944-BE42-16A5DAC54CD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02052529-8A86-4346-9F9F-9FB1DD488169}"/>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98" name="Slide Number Placeholder 97">
            <a:extLst>
              <a:ext uri="{FF2B5EF4-FFF2-40B4-BE49-F238E27FC236}">
                <a16:creationId xmlns:a16="http://schemas.microsoft.com/office/drawing/2014/main" id="{8B997069-D21E-5945-9056-B66AD470AD31}"/>
              </a:ext>
            </a:extLst>
          </p:cNvPr>
          <p:cNvSpPr>
            <a:spLocks noGrp="1"/>
          </p:cNvSpPr>
          <p:nvPr userDrawn="1">
            <p:ph type="sldNum" sz="quarter" idx="4"/>
          </p:nvPr>
        </p:nvSpPr>
        <p:spPr>
          <a:xfrm>
            <a:off x="11720052" y="6516149"/>
            <a:ext cx="467272" cy="174625"/>
          </a:xfrm>
          <a:prstGeom prst="rect">
            <a:avLst/>
          </a:prstGeom>
          <a:noFill/>
          <a:ln>
            <a:noFill/>
          </a:ln>
        </p:spPr>
        <p:txBody>
          <a:bodyPr vert="horz" wrap="square" lIns="0" tIns="0" rIns="0" bIns="0" rtlCol="0" anchor="ctr">
            <a:noAutofit/>
          </a:bodyPr>
          <a:lstStyle>
            <a:lvl1pPr algn="l">
              <a:defRPr sz="900" b="1">
                <a:solidFill>
                  <a:schemeClr val="accent1"/>
                </a:solidFill>
              </a:defRPr>
            </a:lvl1pPr>
          </a:lstStyle>
          <a:p>
            <a:pPr marL="12700"/>
            <a:fld id="{078C017C-E1B9-8443-B047-B08AAA027B45}" type="slidenum">
              <a:rPr lang="en-US" smtClean="0"/>
              <a:pPr marL="12700"/>
              <a:t>‹#›</a:t>
            </a:fld>
            <a:endParaRPr lang="en-US" dirty="0"/>
          </a:p>
        </p:txBody>
      </p:sp>
      <p:sp>
        <p:nvSpPr>
          <p:cNvPr id="5" name="Footer Placeholder 4">
            <a:extLst>
              <a:ext uri="{FF2B5EF4-FFF2-40B4-BE49-F238E27FC236}">
                <a16:creationId xmlns:a16="http://schemas.microsoft.com/office/drawing/2014/main" id="{C9CDD5D0-2B57-DD49-8A52-35BB8429C6FC}"/>
              </a:ext>
            </a:extLst>
          </p:cNvPr>
          <p:cNvSpPr>
            <a:spLocks noGrp="1"/>
          </p:cNvSpPr>
          <p:nvPr userDrawn="1">
            <p:ph type="ftr" sz="quarter" idx="3"/>
          </p:nvPr>
        </p:nvSpPr>
        <p:spPr>
          <a:xfrm>
            <a:off x="0" y="6864579"/>
            <a:ext cx="0" cy="0"/>
          </a:xfrm>
          <a:prstGeom prst="rect">
            <a:avLst/>
          </a:prstGeom>
          <a:ln w="0">
            <a:solidFill>
              <a:schemeClr val="bg1">
                <a:alpha val="0"/>
              </a:schemeClr>
            </a:solidFill>
          </a:ln>
        </p:spPr>
        <p:txBody>
          <a:bodyPr vert="horz" lIns="0" tIns="0" rIns="0" bIns="0" rtlCol="0" anchor="b"/>
          <a:lstStyle>
            <a:lvl1pPr marL="4763" indent="0" algn="l">
              <a:buFont typeface="Arial" panose="020B0604020202020204" pitchFamily="34" charset="0"/>
              <a:buNone/>
              <a:tabLst/>
              <a:defRPr sz="200">
                <a:solidFill>
                  <a:schemeClr val="tx1">
                    <a:alpha val="0"/>
                  </a:schemeClr>
                </a:solidFill>
              </a:defRPr>
            </a:lvl1pPr>
            <a:lvl2pPr marL="4763" indent="0" algn="l">
              <a:tabLst/>
              <a:defRPr sz="1100"/>
            </a:lvl2pPr>
            <a:lvl3pPr marL="4763" indent="0" algn="l">
              <a:tabLst/>
              <a:defRPr sz="1100"/>
            </a:lvl3pPr>
            <a:lvl4pPr marL="4763" indent="0" algn="l">
              <a:tabLst/>
              <a:defRPr sz="1100"/>
            </a:lvl4pPr>
            <a:lvl5pPr marL="4763" indent="0" algn="l">
              <a:tabLst/>
              <a:defRPr sz="1100"/>
            </a:lvl5pPr>
            <a:lvl6pPr marL="4763" indent="0" algn="l">
              <a:tabLst/>
              <a:defRPr sz="1100"/>
            </a:lvl6pPr>
            <a:lvl7pPr marL="4763" indent="0" algn="l">
              <a:tabLst/>
              <a:defRPr sz="1100"/>
            </a:lvl7pPr>
            <a:lvl8pPr marL="4763" indent="0" algn="l">
              <a:tabLst/>
              <a:defRPr sz="1100"/>
            </a:lvl8pPr>
            <a:lvl9pPr marL="4763" indent="0" algn="l">
              <a:tabLst/>
              <a:defRPr sz="1100"/>
            </a:lvl9pPr>
          </a:lstStyle>
          <a:p>
            <a:endParaRPr lang="en-US" dirty="0"/>
          </a:p>
        </p:txBody>
      </p:sp>
    </p:spTree>
    <p:extLst>
      <p:ext uri="{BB962C8B-B14F-4D97-AF65-F5344CB8AC3E}">
        <p14:creationId xmlns:p14="http://schemas.microsoft.com/office/powerpoint/2010/main" val="717954282"/>
      </p:ext>
    </p:extLst>
  </p:cSld>
  <p:clrMap bg1="lt1" tx1="dk1" bg2="lt2" tx2="dk2" accent1="accent1" accent2="accent2" accent3="accent3" accent4="accent4" accent5="accent5" accent6="accent6" hlink="hlink" folHlink="folHlink"/>
  <p:sldLayoutIdLst>
    <p:sldLayoutId id="2147483673" r:id="rId1"/>
    <p:sldLayoutId id="2147483676" r:id="rId2"/>
    <p:sldLayoutId id="2147483739" r:id="rId3"/>
    <p:sldLayoutId id="2147483740" r:id="rId4"/>
    <p:sldLayoutId id="2147483741" r:id="rId5"/>
    <p:sldLayoutId id="2147483682" r:id="rId6"/>
    <p:sldLayoutId id="2147483742" r:id="rId7"/>
    <p:sldLayoutId id="2147483743" r:id="rId8"/>
    <p:sldLayoutId id="2147483744" r:id="rId9"/>
    <p:sldLayoutId id="2147483745" r:id="rId10"/>
    <p:sldLayoutId id="2147483746" r:id="rId11"/>
    <p:sldLayoutId id="2147483747" r:id="rId12"/>
    <p:sldLayoutId id="2147483748" r:id="rId13"/>
    <p:sldLayoutId id="2147483749" r:id="rId14"/>
    <p:sldLayoutId id="2147483750" r:id="rId15"/>
    <p:sldLayoutId id="2147483751" r:id="rId16"/>
    <p:sldLayoutId id="2147483752" r:id="rId17"/>
    <p:sldLayoutId id="2147483753" r:id="rId18"/>
    <p:sldLayoutId id="2147483754" r:id="rId19"/>
    <p:sldLayoutId id="2147483755" r:id="rId20"/>
    <p:sldLayoutId id="2147483756" r:id="rId21"/>
    <p:sldLayoutId id="2147483757" r:id="rId22"/>
    <p:sldLayoutId id="2147483758" r:id="rId23"/>
    <p:sldLayoutId id="2147483759" r:id="rId24"/>
    <p:sldLayoutId id="2147483760" r:id="rId25"/>
    <p:sldLayoutId id="2147483761" r:id="rId26"/>
    <p:sldLayoutId id="2147483762" r:id="rId27"/>
    <p:sldLayoutId id="2147483763" r:id="rId28"/>
    <p:sldLayoutId id="2147483764" r:id="rId29"/>
    <p:sldLayoutId id="2147483765" r:id="rId30"/>
    <p:sldLayoutId id="2147483766" r:id="rId31"/>
    <p:sldLayoutId id="2147483767" r:id="rId32"/>
    <p:sldLayoutId id="2147483768" r:id="rId33"/>
    <p:sldLayoutId id="2147483769" r:id="rId34"/>
    <p:sldLayoutId id="2147483770" r:id="rId35"/>
    <p:sldLayoutId id="2147483730" r:id="rId36"/>
    <p:sldLayoutId id="2147483772" r:id="rId37"/>
    <p:sldLayoutId id="2147483773" r:id="rId38"/>
    <p:sldLayoutId id="2147483774" r:id="rId39"/>
    <p:sldLayoutId id="2147483775" r:id="rId40"/>
    <p:sldLayoutId id="2147483776" r:id="rId41"/>
    <p:sldLayoutId id="2147483777" r:id="rId42"/>
    <p:sldLayoutId id="2147483778" r:id="rId43"/>
    <p:sldLayoutId id="2147483779" r:id="rId44"/>
    <p:sldLayoutId id="2147483780" r:id="rId45"/>
    <p:sldLayoutId id="2147483781" r:id="rId46"/>
    <p:sldLayoutId id="2147483782" r:id="rId47"/>
    <p:sldLayoutId id="2147483732" r:id="rId48"/>
  </p:sldLayoutIdLst>
  <p:hf hdr="0" ftr="0" dt="0"/>
  <p:txStyles>
    <p:title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p:titleStyle>
    <p:body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sz="14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508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200" kern="1200">
          <a:solidFill>
            <a:schemeClr val="tx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3840" userDrawn="1">
          <p15:clr>
            <a:srgbClr val="A4A3A4"/>
          </p15:clr>
        </p15:guide>
        <p15:guide id="3" pos="363" userDrawn="1">
          <p15:clr>
            <a:srgbClr val="C35EA4"/>
          </p15:clr>
        </p15:guide>
        <p15:guide id="4" pos="7317" userDrawn="1">
          <p15:clr>
            <a:srgbClr val="C35EA4"/>
          </p15:clr>
        </p15:guide>
        <p15:guide id="5" orient="horz" pos="624" userDrawn="1">
          <p15:clr>
            <a:srgbClr val="A4A3A4"/>
          </p15:clr>
        </p15:guide>
        <p15:guide id="6" orient="horz" pos="777" userDrawn="1">
          <p15:clr>
            <a:srgbClr val="F26B43"/>
          </p15:clr>
        </p15:guide>
        <p15:guide id="7" orient="horz" pos="3884" userDrawn="1">
          <p15:clr>
            <a:srgbClr val="F26B43"/>
          </p15:clr>
        </p15:guide>
        <p15:guide id="9" orient="horz" pos="3906" userDrawn="1">
          <p15:clr>
            <a:srgbClr val="A4A3A4"/>
          </p15:clr>
        </p15:guide>
        <p15:guide id="10" orient="horz" pos="4224" userDrawn="1">
          <p15:clr>
            <a:srgbClr val="A4A3A4"/>
          </p15:clr>
        </p15:guide>
        <p15:guide id="11" orient="horz" pos="265" userDrawn="1">
          <p15:clr>
            <a:srgbClr val="A4A3A4"/>
          </p15:clr>
        </p15:guide>
        <p15:guide id="13" pos="7499" userDrawn="1">
          <p15:clr>
            <a:srgbClr val="F26B43"/>
          </p15:clr>
        </p15:guide>
        <p15:guide id="14" orient="horz" pos="701" userDrawn="1">
          <p15:clr>
            <a:srgbClr val="5ACBF0"/>
          </p15:clr>
        </p15:guide>
        <p15:guide id="15" pos="181" userDrawn="1">
          <p15:clr>
            <a:srgbClr val="F26B43"/>
          </p15:clr>
        </p15:guide>
        <p15:guide id="16" pos="2675" userDrawn="1">
          <p15:clr>
            <a:srgbClr val="A4A3A4"/>
          </p15:clr>
        </p15:guide>
        <p15:guide id="17" pos="5005" userDrawn="1">
          <p15:clr>
            <a:srgbClr val="A4A3A4"/>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52">
            <a:lum/>
          </a:blip>
          <a:srcRect/>
          <a:stretch>
            <a:fillRect/>
          </a:stretch>
        </a:blipFill>
        <a:effectLst/>
      </p:bgPr>
    </p:bg>
    <p:spTree>
      <p:nvGrpSpPr>
        <p:cNvPr id="1" name=""/>
        <p:cNvGrpSpPr/>
        <p:nvPr/>
      </p:nvGrpSpPr>
      <p:grpSpPr>
        <a:xfrm>
          <a:off x="0" y="0"/>
          <a:ext cx="0" cy="0"/>
          <a:chOff x="0" y="0"/>
          <a:chExt cx="0" cy="0"/>
        </a:xfrm>
      </p:grpSpPr>
      <p:sp>
        <p:nvSpPr>
          <p:cNvPr id="110" name="Freeform 109">
            <a:extLst>
              <a:ext uri="{FF2B5EF4-FFF2-40B4-BE49-F238E27FC236}">
                <a16:creationId xmlns:a16="http://schemas.microsoft.com/office/drawing/2014/main" id="{B7C26CD4-FD5C-CD47-A4A6-348CBFB3FA1C}"/>
              </a:ext>
            </a:extLst>
          </p:cNvPr>
          <p:cNvSpPr/>
          <p:nvPr userDrawn="1"/>
        </p:nvSpPr>
        <p:spPr>
          <a:xfrm>
            <a:off x="0" y="6200775"/>
            <a:ext cx="12192000" cy="658368"/>
          </a:xfrm>
          <a:custGeom>
            <a:avLst/>
            <a:gdLst>
              <a:gd name="connsiteX0" fmla="*/ 8381735 w 9144000"/>
              <a:gd name="connsiteY0" fmla="*/ 376390 h 658368"/>
              <a:gd name="connsiteX1" fmla="*/ 8398942 w 9144000"/>
              <a:gd name="connsiteY1" fmla="*/ 378245 h 658368"/>
              <a:gd name="connsiteX2" fmla="*/ 8407847 w 9144000"/>
              <a:gd name="connsiteY2" fmla="*/ 385034 h 658368"/>
              <a:gd name="connsiteX3" fmla="*/ 8413547 w 9144000"/>
              <a:gd name="connsiteY3" fmla="*/ 395359 h 658368"/>
              <a:gd name="connsiteX4" fmla="*/ 8415584 w 9144000"/>
              <a:gd name="connsiteY4" fmla="*/ 408571 h 658368"/>
              <a:gd name="connsiteX5" fmla="*/ 8413646 w 9144000"/>
              <a:gd name="connsiteY5" fmla="*/ 421642 h 658368"/>
              <a:gd name="connsiteX6" fmla="*/ 8407947 w 9144000"/>
              <a:gd name="connsiteY6" fmla="*/ 432037 h 658368"/>
              <a:gd name="connsiteX7" fmla="*/ 8375887 w 9144000"/>
              <a:gd name="connsiteY7" fmla="*/ 438882 h 658368"/>
              <a:gd name="connsiteX8" fmla="*/ 8366910 w 9144000"/>
              <a:gd name="connsiteY8" fmla="*/ 432037 h 658368"/>
              <a:gd name="connsiteX9" fmla="*/ 8361211 w 9144000"/>
              <a:gd name="connsiteY9" fmla="*/ 421642 h 658368"/>
              <a:gd name="connsiteX10" fmla="*/ 8359045 w 9144000"/>
              <a:gd name="connsiteY10" fmla="*/ 408571 h 658368"/>
              <a:gd name="connsiteX11" fmla="*/ 8361097 w 9144000"/>
              <a:gd name="connsiteY11" fmla="*/ 395359 h 658368"/>
              <a:gd name="connsiteX12" fmla="*/ 8366796 w 9144000"/>
              <a:gd name="connsiteY12" fmla="*/ 385034 h 658368"/>
              <a:gd name="connsiteX13" fmla="*/ 8381735 w 9144000"/>
              <a:gd name="connsiteY13" fmla="*/ 376390 h 658368"/>
              <a:gd name="connsiteX14" fmla="*/ 8525633 w 9144000"/>
              <a:gd name="connsiteY14" fmla="*/ 353854 h 658368"/>
              <a:gd name="connsiteX15" fmla="*/ 8525633 w 9144000"/>
              <a:gd name="connsiteY15" fmla="*/ 399800 h 658368"/>
              <a:gd name="connsiteX16" fmla="*/ 8525633 w 9144000"/>
              <a:gd name="connsiteY16" fmla="*/ 463141 h 658368"/>
              <a:gd name="connsiteX17" fmla="*/ 8595623 w 9144000"/>
              <a:gd name="connsiteY17" fmla="*/ 463141 h 658368"/>
              <a:gd name="connsiteX18" fmla="*/ 8596022 w 9144000"/>
              <a:gd name="connsiteY18" fmla="*/ 463141 h 658368"/>
              <a:gd name="connsiteX19" fmla="*/ 8596022 w 9144000"/>
              <a:gd name="connsiteY19" fmla="*/ 446140 h 658368"/>
              <a:gd name="connsiteX20" fmla="*/ 8595623 w 9144000"/>
              <a:gd name="connsiteY20" fmla="*/ 446140 h 658368"/>
              <a:gd name="connsiteX21" fmla="*/ 8595623 w 9144000"/>
              <a:gd name="connsiteY21" fmla="*/ 440042 h 658368"/>
              <a:gd name="connsiteX22" fmla="*/ 8551295 w 9144000"/>
              <a:gd name="connsiteY22" fmla="*/ 440042 h 658368"/>
              <a:gd name="connsiteX23" fmla="*/ 8551295 w 9144000"/>
              <a:gd name="connsiteY23" fmla="*/ 418717 h 658368"/>
              <a:gd name="connsiteX24" fmla="*/ 8591705 w 9144000"/>
              <a:gd name="connsiteY24" fmla="*/ 418717 h 658368"/>
              <a:gd name="connsiteX25" fmla="*/ 8591705 w 9144000"/>
              <a:gd name="connsiteY25" fmla="*/ 396645 h 658368"/>
              <a:gd name="connsiteX26" fmla="*/ 8551295 w 9144000"/>
              <a:gd name="connsiteY26" fmla="*/ 396645 h 658368"/>
              <a:gd name="connsiteX27" fmla="*/ 8551295 w 9144000"/>
              <a:gd name="connsiteY27" fmla="*/ 377123 h 658368"/>
              <a:gd name="connsiteX28" fmla="*/ 8595623 w 9144000"/>
              <a:gd name="connsiteY28" fmla="*/ 377123 h 658368"/>
              <a:gd name="connsiteX29" fmla="*/ 8595623 w 9144000"/>
              <a:gd name="connsiteY29" fmla="*/ 370855 h 658368"/>
              <a:gd name="connsiteX30" fmla="*/ 8596022 w 9144000"/>
              <a:gd name="connsiteY30" fmla="*/ 370855 h 658368"/>
              <a:gd name="connsiteX31" fmla="*/ 8596022 w 9144000"/>
              <a:gd name="connsiteY31" fmla="*/ 353854 h 658368"/>
              <a:gd name="connsiteX32" fmla="*/ 8595623 w 9144000"/>
              <a:gd name="connsiteY32" fmla="*/ 353854 h 658368"/>
              <a:gd name="connsiteX33" fmla="*/ 8547362 w 9144000"/>
              <a:gd name="connsiteY33" fmla="*/ 353854 h 658368"/>
              <a:gd name="connsiteX34" fmla="*/ 8448177 w 9144000"/>
              <a:gd name="connsiteY34" fmla="*/ 353854 h 658368"/>
              <a:gd name="connsiteX35" fmla="*/ 8448177 w 9144000"/>
              <a:gd name="connsiteY35" fmla="*/ 399800 h 658368"/>
              <a:gd name="connsiteX36" fmla="*/ 8448177 w 9144000"/>
              <a:gd name="connsiteY36" fmla="*/ 463141 h 658368"/>
              <a:gd name="connsiteX37" fmla="*/ 8518167 w 9144000"/>
              <a:gd name="connsiteY37" fmla="*/ 463141 h 658368"/>
              <a:gd name="connsiteX38" fmla="*/ 8518552 w 9144000"/>
              <a:gd name="connsiteY38" fmla="*/ 463141 h 658368"/>
              <a:gd name="connsiteX39" fmla="*/ 8518552 w 9144000"/>
              <a:gd name="connsiteY39" fmla="*/ 446140 h 658368"/>
              <a:gd name="connsiteX40" fmla="*/ 8518167 w 9144000"/>
              <a:gd name="connsiteY40" fmla="*/ 446140 h 658368"/>
              <a:gd name="connsiteX41" fmla="*/ 8518167 w 9144000"/>
              <a:gd name="connsiteY41" fmla="*/ 440042 h 658368"/>
              <a:gd name="connsiteX42" fmla="*/ 8473825 w 9144000"/>
              <a:gd name="connsiteY42" fmla="*/ 440042 h 658368"/>
              <a:gd name="connsiteX43" fmla="*/ 8473825 w 9144000"/>
              <a:gd name="connsiteY43" fmla="*/ 418717 h 658368"/>
              <a:gd name="connsiteX44" fmla="*/ 8514235 w 9144000"/>
              <a:gd name="connsiteY44" fmla="*/ 418717 h 658368"/>
              <a:gd name="connsiteX45" fmla="*/ 8514235 w 9144000"/>
              <a:gd name="connsiteY45" fmla="*/ 396645 h 658368"/>
              <a:gd name="connsiteX46" fmla="*/ 8473825 w 9144000"/>
              <a:gd name="connsiteY46" fmla="*/ 396645 h 658368"/>
              <a:gd name="connsiteX47" fmla="*/ 8473825 w 9144000"/>
              <a:gd name="connsiteY47" fmla="*/ 377123 h 658368"/>
              <a:gd name="connsiteX48" fmla="*/ 8518167 w 9144000"/>
              <a:gd name="connsiteY48" fmla="*/ 377123 h 658368"/>
              <a:gd name="connsiteX49" fmla="*/ 8518167 w 9144000"/>
              <a:gd name="connsiteY49" fmla="*/ 370855 h 658368"/>
              <a:gd name="connsiteX50" fmla="*/ 8518552 w 9144000"/>
              <a:gd name="connsiteY50" fmla="*/ 370855 h 658368"/>
              <a:gd name="connsiteX51" fmla="*/ 8518552 w 9144000"/>
              <a:gd name="connsiteY51" fmla="*/ 353854 h 658368"/>
              <a:gd name="connsiteX52" fmla="*/ 8518167 w 9144000"/>
              <a:gd name="connsiteY52" fmla="*/ 353854 h 658368"/>
              <a:gd name="connsiteX53" fmla="*/ 8469892 w 9144000"/>
              <a:gd name="connsiteY53" fmla="*/ 353854 h 658368"/>
              <a:gd name="connsiteX54" fmla="*/ 8387913 w 9144000"/>
              <a:gd name="connsiteY54" fmla="*/ 353821 h 658368"/>
              <a:gd name="connsiteX55" fmla="*/ 8365286 w 9144000"/>
              <a:gd name="connsiteY55" fmla="*/ 358047 h 658368"/>
              <a:gd name="connsiteX56" fmla="*/ 8357150 w 9144000"/>
              <a:gd name="connsiteY56" fmla="*/ 362174 h 658368"/>
              <a:gd name="connsiteX57" fmla="*/ 8332784 w 9144000"/>
              <a:gd name="connsiteY57" fmla="*/ 413740 h 658368"/>
              <a:gd name="connsiteX58" fmla="*/ 8336389 w 9144000"/>
              <a:gd name="connsiteY58" fmla="*/ 430220 h 658368"/>
              <a:gd name="connsiteX59" fmla="*/ 8364431 w 9144000"/>
              <a:gd name="connsiteY59" fmla="*/ 458953 h 658368"/>
              <a:gd name="connsiteX60" fmla="*/ 8386916 w 9144000"/>
              <a:gd name="connsiteY60" fmla="*/ 463179 h 658368"/>
              <a:gd name="connsiteX61" fmla="*/ 8409486 w 9144000"/>
              <a:gd name="connsiteY61" fmla="*/ 458953 h 658368"/>
              <a:gd name="connsiteX62" fmla="*/ 8426926 w 9144000"/>
              <a:gd name="connsiteY62" fmla="*/ 447474 h 658368"/>
              <a:gd name="connsiteX63" fmla="*/ 8438240 w 9144000"/>
              <a:gd name="connsiteY63" fmla="*/ 430220 h 658368"/>
              <a:gd name="connsiteX64" fmla="*/ 8442258 w 9144000"/>
              <a:gd name="connsiteY64" fmla="*/ 408571 h 658368"/>
              <a:gd name="connsiteX65" fmla="*/ 8438397 w 9144000"/>
              <a:gd name="connsiteY65" fmla="*/ 386837 h 658368"/>
              <a:gd name="connsiteX66" fmla="*/ 8427439 w 9144000"/>
              <a:gd name="connsiteY66" fmla="*/ 369526 h 658368"/>
              <a:gd name="connsiteX67" fmla="*/ 8410341 w 9144000"/>
              <a:gd name="connsiteY67" fmla="*/ 358047 h 658368"/>
              <a:gd name="connsiteX68" fmla="*/ 8387913 w 9144000"/>
              <a:gd name="connsiteY68" fmla="*/ 353821 h 658368"/>
              <a:gd name="connsiteX69" fmla="*/ 8245203 w 9144000"/>
              <a:gd name="connsiteY69" fmla="*/ 353474 h 658368"/>
              <a:gd name="connsiteX70" fmla="*/ 8261546 w 9144000"/>
              <a:gd name="connsiteY70" fmla="*/ 387546 h 658368"/>
              <a:gd name="connsiteX71" fmla="*/ 8288505 w 9144000"/>
              <a:gd name="connsiteY71" fmla="*/ 387546 h 658368"/>
              <a:gd name="connsiteX72" fmla="*/ 8274156 w 9144000"/>
              <a:gd name="connsiteY72" fmla="*/ 353474 h 658368"/>
              <a:gd name="connsiteX73" fmla="*/ 8325053 w 9144000"/>
              <a:gd name="connsiteY73" fmla="*/ 353460 h 658368"/>
              <a:gd name="connsiteX74" fmla="*/ 8299363 w 9144000"/>
              <a:gd name="connsiteY74" fmla="*/ 412590 h 658368"/>
              <a:gd name="connsiteX75" fmla="*/ 8292395 w 9144000"/>
              <a:gd name="connsiteY75" fmla="*/ 396251 h 658368"/>
              <a:gd name="connsiteX76" fmla="*/ 8265650 w 9144000"/>
              <a:gd name="connsiteY76" fmla="*/ 396251 h 658368"/>
              <a:gd name="connsiteX77" fmla="*/ 8297582 w 9144000"/>
              <a:gd name="connsiteY77" fmla="*/ 462916 h 658368"/>
              <a:gd name="connsiteX78" fmla="*/ 8300545 w 9144000"/>
              <a:gd name="connsiteY78" fmla="*/ 462916 h 658368"/>
              <a:gd name="connsiteX79" fmla="*/ 8352283 w 9144000"/>
              <a:gd name="connsiteY79" fmla="*/ 353460 h 658368"/>
              <a:gd name="connsiteX80" fmla="*/ 8704282 w 9144000"/>
              <a:gd name="connsiteY80" fmla="*/ 315922 h 658368"/>
              <a:gd name="connsiteX81" fmla="*/ 8704282 w 9144000"/>
              <a:gd name="connsiteY81" fmla="*/ 490850 h 658368"/>
              <a:gd name="connsiteX82" fmla="*/ 8723671 w 9144000"/>
              <a:gd name="connsiteY82" fmla="*/ 490850 h 658368"/>
              <a:gd name="connsiteX83" fmla="*/ 8723671 w 9144000"/>
              <a:gd name="connsiteY83" fmla="*/ 315922 h 658368"/>
              <a:gd name="connsiteX84" fmla="*/ 0 w 9144000"/>
              <a:gd name="connsiteY84" fmla="*/ 0 h 658368"/>
              <a:gd name="connsiteX85" fmla="*/ 9144000 w 9144000"/>
              <a:gd name="connsiteY85" fmla="*/ 0 h 658368"/>
              <a:gd name="connsiteX86" fmla="*/ 9144000 w 9144000"/>
              <a:gd name="connsiteY86" fmla="*/ 658368 h 658368"/>
              <a:gd name="connsiteX87" fmla="*/ 0 w 9144000"/>
              <a:gd name="connsiteY87" fmla="*/ 658368 h 658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9144000" h="658368">
                <a:moveTo>
                  <a:pt x="8381735" y="376390"/>
                </a:moveTo>
                <a:cubicBezTo>
                  <a:pt x="8387385" y="375197"/>
                  <a:pt x="8393413" y="375753"/>
                  <a:pt x="8398942" y="378245"/>
                </a:cubicBezTo>
                <a:cubicBezTo>
                  <a:pt x="8402361" y="379863"/>
                  <a:pt x="8405396" y="382176"/>
                  <a:pt x="8407847" y="385034"/>
                </a:cubicBezTo>
                <a:cubicBezTo>
                  <a:pt x="8410387" y="388091"/>
                  <a:pt x="8412320" y="391594"/>
                  <a:pt x="8413547" y="395359"/>
                </a:cubicBezTo>
                <a:cubicBezTo>
                  <a:pt x="8414952" y="399623"/>
                  <a:pt x="8415640" y="404086"/>
                  <a:pt x="8415584" y="408571"/>
                </a:cubicBezTo>
                <a:cubicBezTo>
                  <a:pt x="8415665" y="413003"/>
                  <a:pt x="8415011" y="417419"/>
                  <a:pt x="8413646" y="421642"/>
                </a:cubicBezTo>
                <a:cubicBezTo>
                  <a:pt x="8412411" y="425424"/>
                  <a:pt x="8410478" y="428948"/>
                  <a:pt x="8407947" y="432037"/>
                </a:cubicBezTo>
                <a:cubicBezTo>
                  <a:pt x="8399972" y="441083"/>
                  <a:pt x="8386928" y="443868"/>
                  <a:pt x="8375887" y="438882"/>
                </a:cubicBezTo>
                <a:cubicBezTo>
                  <a:pt x="8372423" y="437279"/>
                  <a:pt x="8369358" y="434942"/>
                  <a:pt x="8366910" y="432037"/>
                </a:cubicBezTo>
                <a:cubicBezTo>
                  <a:pt x="8364379" y="428948"/>
                  <a:pt x="8362446" y="425424"/>
                  <a:pt x="8361211" y="421642"/>
                </a:cubicBezTo>
                <a:cubicBezTo>
                  <a:pt x="8359769" y="417431"/>
                  <a:pt x="8359038" y="413015"/>
                  <a:pt x="8359045" y="408571"/>
                </a:cubicBezTo>
                <a:cubicBezTo>
                  <a:pt x="8358993" y="404085"/>
                  <a:pt x="8359686" y="399622"/>
                  <a:pt x="8361097" y="395359"/>
                </a:cubicBezTo>
                <a:cubicBezTo>
                  <a:pt x="8362323" y="391594"/>
                  <a:pt x="8364257" y="388091"/>
                  <a:pt x="8366796" y="385034"/>
                </a:cubicBezTo>
                <a:cubicBezTo>
                  <a:pt x="8370813" y="380526"/>
                  <a:pt x="8376085" y="377583"/>
                  <a:pt x="8381735" y="376390"/>
                </a:cubicBezTo>
                <a:close/>
                <a:moveTo>
                  <a:pt x="8525633" y="353854"/>
                </a:moveTo>
                <a:lnTo>
                  <a:pt x="8525633" y="399800"/>
                </a:lnTo>
                <a:lnTo>
                  <a:pt x="8525633" y="463141"/>
                </a:lnTo>
                <a:lnTo>
                  <a:pt x="8595623" y="463141"/>
                </a:lnTo>
                <a:lnTo>
                  <a:pt x="8596022" y="463141"/>
                </a:lnTo>
                <a:lnTo>
                  <a:pt x="8596022" y="446140"/>
                </a:lnTo>
                <a:lnTo>
                  <a:pt x="8595623" y="446140"/>
                </a:lnTo>
                <a:lnTo>
                  <a:pt x="8595623" y="440042"/>
                </a:lnTo>
                <a:lnTo>
                  <a:pt x="8551295" y="440042"/>
                </a:lnTo>
                <a:lnTo>
                  <a:pt x="8551295" y="418717"/>
                </a:lnTo>
                <a:lnTo>
                  <a:pt x="8591705" y="418717"/>
                </a:lnTo>
                <a:lnTo>
                  <a:pt x="8591705" y="396645"/>
                </a:lnTo>
                <a:lnTo>
                  <a:pt x="8551295" y="396645"/>
                </a:lnTo>
                <a:lnTo>
                  <a:pt x="8551295" y="377123"/>
                </a:lnTo>
                <a:lnTo>
                  <a:pt x="8595623" y="377123"/>
                </a:lnTo>
                <a:lnTo>
                  <a:pt x="8595623" y="370855"/>
                </a:lnTo>
                <a:lnTo>
                  <a:pt x="8596022" y="370855"/>
                </a:lnTo>
                <a:lnTo>
                  <a:pt x="8596022" y="353854"/>
                </a:lnTo>
                <a:lnTo>
                  <a:pt x="8595623" y="353854"/>
                </a:lnTo>
                <a:lnTo>
                  <a:pt x="8547362" y="353854"/>
                </a:lnTo>
                <a:close/>
                <a:moveTo>
                  <a:pt x="8448177" y="353854"/>
                </a:moveTo>
                <a:lnTo>
                  <a:pt x="8448177" y="399800"/>
                </a:lnTo>
                <a:lnTo>
                  <a:pt x="8448177" y="463141"/>
                </a:lnTo>
                <a:lnTo>
                  <a:pt x="8518167" y="463141"/>
                </a:lnTo>
                <a:lnTo>
                  <a:pt x="8518552" y="463141"/>
                </a:lnTo>
                <a:lnTo>
                  <a:pt x="8518552" y="446140"/>
                </a:lnTo>
                <a:lnTo>
                  <a:pt x="8518167" y="446140"/>
                </a:lnTo>
                <a:lnTo>
                  <a:pt x="8518167" y="440042"/>
                </a:lnTo>
                <a:lnTo>
                  <a:pt x="8473825" y="440042"/>
                </a:lnTo>
                <a:lnTo>
                  <a:pt x="8473825" y="418717"/>
                </a:lnTo>
                <a:lnTo>
                  <a:pt x="8514235" y="418717"/>
                </a:lnTo>
                <a:lnTo>
                  <a:pt x="8514235" y="396645"/>
                </a:lnTo>
                <a:lnTo>
                  <a:pt x="8473825" y="396645"/>
                </a:lnTo>
                <a:lnTo>
                  <a:pt x="8473825" y="377123"/>
                </a:lnTo>
                <a:lnTo>
                  <a:pt x="8518167" y="377123"/>
                </a:lnTo>
                <a:lnTo>
                  <a:pt x="8518167" y="370855"/>
                </a:lnTo>
                <a:lnTo>
                  <a:pt x="8518552" y="370855"/>
                </a:lnTo>
                <a:lnTo>
                  <a:pt x="8518552" y="353854"/>
                </a:lnTo>
                <a:lnTo>
                  <a:pt x="8518167" y="353854"/>
                </a:lnTo>
                <a:lnTo>
                  <a:pt x="8469892" y="353854"/>
                </a:lnTo>
                <a:close/>
                <a:moveTo>
                  <a:pt x="8387913" y="353821"/>
                </a:moveTo>
                <a:cubicBezTo>
                  <a:pt x="8380162" y="353737"/>
                  <a:pt x="8372471" y="355173"/>
                  <a:pt x="8365286" y="358047"/>
                </a:cubicBezTo>
                <a:cubicBezTo>
                  <a:pt x="8362463" y="359198"/>
                  <a:pt x="8359742" y="360579"/>
                  <a:pt x="8357150" y="362174"/>
                </a:cubicBezTo>
                <a:lnTo>
                  <a:pt x="8332784" y="413740"/>
                </a:lnTo>
                <a:cubicBezTo>
                  <a:pt x="8333178" y="419376"/>
                  <a:pt x="8334392" y="424926"/>
                  <a:pt x="8336389" y="430220"/>
                </a:cubicBezTo>
                <a:cubicBezTo>
                  <a:pt x="8341193" y="443294"/>
                  <a:pt x="8351385" y="453738"/>
                  <a:pt x="8364431" y="458953"/>
                </a:cubicBezTo>
                <a:cubicBezTo>
                  <a:pt x="8371564" y="461837"/>
                  <a:pt x="8379210" y="463274"/>
                  <a:pt x="8386916" y="463179"/>
                </a:cubicBezTo>
                <a:cubicBezTo>
                  <a:pt x="8394648" y="463266"/>
                  <a:pt x="8402321" y="461830"/>
                  <a:pt x="8409486" y="458953"/>
                </a:cubicBezTo>
                <a:cubicBezTo>
                  <a:pt x="8416013" y="456311"/>
                  <a:pt x="8421943" y="452409"/>
                  <a:pt x="8426926" y="447474"/>
                </a:cubicBezTo>
                <a:cubicBezTo>
                  <a:pt x="8431850" y="442547"/>
                  <a:pt x="8435700" y="436674"/>
                  <a:pt x="8438240" y="430220"/>
                </a:cubicBezTo>
                <a:cubicBezTo>
                  <a:pt x="8440974" y="423326"/>
                  <a:pt x="8442338" y="415975"/>
                  <a:pt x="8442258" y="408571"/>
                </a:cubicBezTo>
                <a:cubicBezTo>
                  <a:pt x="8442328" y="401153"/>
                  <a:pt x="8441019" y="393787"/>
                  <a:pt x="8438397" y="386837"/>
                </a:cubicBezTo>
                <a:cubicBezTo>
                  <a:pt x="8435967" y="380393"/>
                  <a:pt x="8432239" y="374504"/>
                  <a:pt x="8427439" y="369526"/>
                </a:cubicBezTo>
                <a:cubicBezTo>
                  <a:pt x="8422597" y="364580"/>
                  <a:pt x="8416777" y="360673"/>
                  <a:pt x="8410341" y="358047"/>
                </a:cubicBezTo>
                <a:cubicBezTo>
                  <a:pt x="8403230" y="355157"/>
                  <a:pt x="8395601" y="353720"/>
                  <a:pt x="8387913" y="353821"/>
                </a:cubicBezTo>
                <a:close/>
                <a:moveTo>
                  <a:pt x="8245203" y="353474"/>
                </a:moveTo>
                <a:lnTo>
                  <a:pt x="8261546" y="387546"/>
                </a:lnTo>
                <a:lnTo>
                  <a:pt x="8288505" y="387546"/>
                </a:lnTo>
                <a:lnTo>
                  <a:pt x="8274156" y="353474"/>
                </a:lnTo>
                <a:close/>
                <a:moveTo>
                  <a:pt x="8325053" y="353460"/>
                </a:moveTo>
                <a:lnTo>
                  <a:pt x="8299363" y="412590"/>
                </a:lnTo>
                <a:lnTo>
                  <a:pt x="8292395" y="396251"/>
                </a:lnTo>
                <a:lnTo>
                  <a:pt x="8265650" y="396251"/>
                </a:lnTo>
                <a:lnTo>
                  <a:pt x="8297582" y="462916"/>
                </a:lnTo>
                <a:lnTo>
                  <a:pt x="8300545" y="462916"/>
                </a:lnTo>
                <a:lnTo>
                  <a:pt x="8352283" y="353460"/>
                </a:lnTo>
                <a:close/>
                <a:moveTo>
                  <a:pt x="8704282" y="315922"/>
                </a:moveTo>
                <a:lnTo>
                  <a:pt x="8704282" y="490850"/>
                </a:lnTo>
                <a:lnTo>
                  <a:pt x="8723671" y="490850"/>
                </a:lnTo>
                <a:lnTo>
                  <a:pt x="8723671" y="315922"/>
                </a:lnTo>
                <a:close/>
                <a:moveTo>
                  <a:pt x="0" y="0"/>
                </a:moveTo>
                <a:lnTo>
                  <a:pt x="9144000" y="0"/>
                </a:lnTo>
                <a:lnTo>
                  <a:pt x="9144000" y="658368"/>
                </a:lnTo>
                <a:lnTo>
                  <a:pt x="0" y="65836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1800"/>
          </a:p>
        </p:txBody>
      </p:sp>
      <p:graphicFrame>
        <p:nvGraphicFramePr>
          <p:cNvPr id="7" name="Object 6" hidden="1">
            <a:extLst>
              <a:ext uri="{FF2B5EF4-FFF2-40B4-BE49-F238E27FC236}">
                <a16:creationId xmlns:a16="http://schemas.microsoft.com/office/drawing/2014/main" id="{E83C530C-6A23-2143-97CF-E9F3861AF40A}"/>
              </a:ext>
            </a:extLst>
          </p:cNvPr>
          <p:cNvGraphicFramePr>
            <a:graphicFrameLocks noChangeAspect="1"/>
          </p:cNvGraphicFramePr>
          <p:nvPr userDrawn="1">
            <p:custDataLst>
              <p:tags r:id="rId51"/>
            </p:custDataLst>
            <p:extLst>
              <p:ext uri="{D42A27DB-BD31-4B8C-83A1-F6EECF244321}">
                <p14:modId xmlns:p14="http://schemas.microsoft.com/office/powerpoint/2010/main" val="2509098974"/>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075" name="think-cell Slide" r:id="rId53" imgW="7772400" imgH="10058400" progId="TCLayout.ActiveDocument.1">
                  <p:embed/>
                </p:oleObj>
              </mc:Choice>
              <mc:Fallback>
                <p:oleObj name="think-cell Slide" r:id="rId53" imgW="7772400" imgH="10058400" progId="TCLayout.ActiveDocument.1">
                  <p:embed/>
                  <p:pic>
                    <p:nvPicPr>
                      <p:cNvPr id="7" name="Object 6" hidden="1">
                        <a:extLst>
                          <a:ext uri="{FF2B5EF4-FFF2-40B4-BE49-F238E27FC236}">
                            <a16:creationId xmlns:a16="http://schemas.microsoft.com/office/drawing/2014/main" id="{E83C530C-6A23-2143-97CF-E9F3861AF40A}"/>
                          </a:ext>
                        </a:extLst>
                      </p:cNvPr>
                      <p:cNvPicPr/>
                      <p:nvPr/>
                    </p:nvPicPr>
                    <p:blipFill>
                      <a:blip r:embed="rId54"/>
                      <a:stretch>
                        <a:fillRect/>
                      </a:stretch>
                    </p:blipFill>
                    <p:spPr>
                      <a:xfrm>
                        <a:off x="2118" y="1589"/>
                        <a:ext cx="2116"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0D71511-F07B-A04E-A54D-BD95CD8FCE2A}"/>
              </a:ext>
            </a:extLst>
          </p:cNvPr>
          <p:cNvSpPr>
            <a:spLocks noGrp="1"/>
          </p:cNvSpPr>
          <p:nvPr userDrawn="1">
            <p:ph type="title"/>
          </p:nvPr>
        </p:nvSpPr>
        <p:spPr>
          <a:xfrm>
            <a:off x="575734" y="423038"/>
            <a:ext cx="11040533" cy="567394"/>
          </a:xfrm>
          <a:prstGeom prst="rect">
            <a:avLst/>
          </a:prstGeom>
        </p:spPr>
        <p:txBody>
          <a:bodyPr vert="horz" lIns="0" tIns="0" rIns="0" bIns="0" rtlCol="0" anchor="b">
            <a:noAutofit/>
          </a:bodyPr>
          <a:lstStyle/>
          <a:p>
            <a:endParaRPr lang="en-US" dirty="0"/>
          </a:p>
        </p:txBody>
      </p:sp>
      <p:sp>
        <p:nvSpPr>
          <p:cNvPr id="4" name="Date Placeholder 3">
            <a:extLst>
              <a:ext uri="{FF2B5EF4-FFF2-40B4-BE49-F238E27FC236}">
                <a16:creationId xmlns:a16="http://schemas.microsoft.com/office/drawing/2014/main" id="{C6A45110-0167-564A-88EE-77AC9A9796DD}"/>
              </a:ext>
            </a:extLst>
          </p:cNvPr>
          <p:cNvSpPr>
            <a:spLocks noGrp="1"/>
          </p:cNvSpPr>
          <p:nvPr userDrawn="1">
            <p:ph type="dt" sz="half" idx="2"/>
          </p:nvPr>
        </p:nvSpPr>
        <p:spPr>
          <a:xfrm>
            <a:off x="0" y="6864579"/>
            <a:ext cx="0" cy="0"/>
          </a:xfrm>
          <a:prstGeom prst="rect">
            <a:avLst/>
          </a:prstGeom>
          <a:ln w="0">
            <a:solidFill>
              <a:schemeClr val="bg1">
                <a:alpha val="0"/>
              </a:schemeClr>
            </a:solidFill>
          </a:ln>
        </p:spPr>
        <p:txBody>
          <a:bodyPr vert="horz" lIns="0" tIns="45720" rIns="91440" bIns="45720" rtlCol="0" anchor="ctr"/>
          <a:lstStyle>
            <a:lvl1pPr algn="l">
              <a:defRPr sz="200">
                <a:solidFill>
                  <a:schemeClr val="bg1">
                    <a:alpha val="0"/>
                  </a:schemeClr>
                </a:solidFill>
              </a:defRPr>
            </a:lvl1pPr>
          </a:lstStyle>
          <a:p>
            <a:endParaRPr lang="en-US" dirty="0"/>
          </a:p>
        </p:txBody>
      </p:sp>
      <p:sp>
        <p:nvSpPr>
          <p:cNvPr id="6" name="Text Placeholder 5">
            <a:extLst>
              <a:ext uri="{FF2B5EF4-FFF2-40B4-BE49-F238E27FC236}">
                <a16:creationId xmlns:a16="http://schemas.microsoft.com/office/drawing/2014/main" id="{23D3717A-E9D8-444D-8D16-5A32534671E2}"/>
              </a:ext>
            </a:extLst>
          </p:cNvPr>
          <p:cNvSpPr>
            <a:spLocks noGrp="1"/>
          </p:cNvSpPr>
          <p:nvPr userDrawn="1">
            <p:ph type="body" idx="1"/>
          </p:nvPr>
        </p:nvSpPr>
        <p:spPr>
          <a:xfrm>
            <a:off x="575734" y="1233489"/>
            <a:ext cx="11040533" cy="4932361"/>
          </a:xfrm>
          <a:prstGeom prst="rect">
            <a:avLst/>
          </a:prstGeom>
        </p:spPr>
        <p:txBody>
          <a:bodyPr vert="horz" lIns="0" tIns="0" rIns="0" bIns="0" rtlCol="0">
            <a:noAutofit/>
          </a:bodyPr>
          <a:lstStyle/>
          <a:p>
            <a:pPr marL="0" marR="0" lvl="0" indent="0" algn="l" defTabSz="914400" rtl="0" eaLnBrk="1" fontAlgn="auto" latinLnBrk="0" hangingPunct="1">
              <a:lnSpc>
                <a:spcPct val="90000"/>
              </a:lnSpc>
              <a:spcBef>
                <a:spcPts val="600"/>
              </a:spcBef>
              <a:spcAft>
                <a:spcPts val="300"/>
              </a:spcAft>
              <a:buClrTx/>
              <a:buSzTx/>
              <a:buFont typeface="Wingdings" pitchFamily="2" charset="2"/>
              <a:buNone/>
              <a:tabLst/>
              <a:defRPr/>
            </a:pPr>
            <a:r>
              <a:rPr lang="en-US" dirty="0"/>
              <a:t>Subheading (first level)</a:t>
            </a:r>
          </a:p>
          <a:p>
            <a:pPr lvl="1"/>
            <a:r>
              <a:rPr lang="en-US" dirty="0"/>
              <a:t>Body text (second level)</a:t>
            </a:r>
          </a:p>
          <a:p>
            <a:pPr lvl="2"/>
            <a:r>
              <a:rPr lang="en-US" dirty="0"/>
              <a:t>Square bullet (third level)</a:t>
            </a:r>
          </a:p>
          <a:p>
            <a:pPr lvl="3"/>
            <a:r>
              <a:rPr lang="en-US" dirty="0"/>
              <a:t>Dashed bullet (fourth level)</a:t>
            </a:r>
          </a:p>
          <a:p>
            <a:pPr lvl="4"/>
            <a:r>
              <a:rPr lang="en-US" dirty="0"/>
              <a:t>Dashed bullet (fifth level)</a:t>
            </a:r>
          </a:p>
          <a:p>
            <a:pPr lvl="5"/>
            <a:r>
              <a:rPr lang="en-US" dirty="0"/>
              <a:t>Dashed bullet (sixth level)</a:t>
            </a:r>
          </a:p>
          <a:p>
            <a:pPr lvl="6"/>
            <a:r>
              <a:rPr lang="en-US" dirty="0"/>
              <a:t>Dashed bullet (seventh level)</a:t>
            </a:r>
          </a:p>
          <a:p>
            <a:pPr lvl="7"/>
            <a:r>
              <a:rPr lang="en-US" dirty="0"/>
              <a:t>Dashed bullet (eighth level)</a:t>
            </a:r>
          </a:p>
          <a:p>
            <a:pPr lvl="8"/>
            <a:r>
              <a:rPr lang="en-US" dirty="0"/>
              <a:t>Dashed bullet (ninth level)</a:t>
            </a:r>
          </a:p>
        </p:txBody>
      </p:sp>
      <p:grpSp>
        <p:nvGrpSpPr>
          <p:cNvPr id="8" name="Group 7">
            <a:extLst>
              <a:ext uri="{FF2B5EF4-FFF2-40B4-BE49-F238E27FC236}">
                <a16:creationId xmlns:a16="http://schemas.microsoft.com/office/drawing/2014/main" id="{539F0740-B130-9148-920F-1FBC5D74BB85}"/>
              </a:ext>
            </a:extLst>
          </p:cNvPr>
          <p:cNvGrpSpPr/>
          <p:nvPr userDrawn="1"/>
        </p:nvGrpSpPr>
        <p:grpSpPr>
          <a:xfrm>
            <a:off x="-342618" y="-246933"/>
            <a:ext cx="12877239" cy="7348688"/>
            <a:chOff x="-256964" y="-246933"/>
            <a:chExt cx="9657929" cy="7348688"/>
          </a:xfrm>
        </p:grpSpPr>
        <p:grpSp>
          <p:nvGrpSpPr>
            <p:cNvPr id="20" name="Group 19">
              <a:extLst>
                <a:ext uri="{FF2B5EF4-FFF2-40B4-BE49-F238E27FC236}">
                  <a16:creationId xmlns:a16="http://schemas.microsoft.com/office/drawing/2014/main" id="{73BDEFE8-9FA7-3249-9B81-EC3C5E1E0CD6}"/>
                </a:ext>
              </a:extLst>
            </p:cNvPr>
            <p:cNvGrpSpPr/>
            <p:nvPr userDrawn="1"/>
          </p:nvGrpSpPr>
          <p:grpSpPr>
            <a:xfrm>
              <a:off x="-256964" y="421651"/>
              <a:ext cx="251461" cy="567396"/>
              <a:chOff x="-256404" y="360363"/>
              <a:chExt cx="251461" cy="692152"/>
            </a:xfrm>
          </p:grpSpPr>
          <p:grpSp>
            <p:nvGrpSpPr>
              <p:cNvPr id="41" name="Group 40">
                <a:extLst>
                  <a:ext uri="{FF2B5EF4-FFF2-40B4-BE49-F238E27FC236}">
                    <a16:creationId xmlns:a16="http://schemas.microsoft.com/office/drawing/2014/main" id="{5E12FD18-FB76-9E45-A035-FA2ACD4D007A}"/>
                  </a:ext>
                </a:extLst>
              </p:cNvPr>
              <p:cNvGrpSpPr/>
              <p:nvPr userDrawn="1"/>
            </p:nvGrpSpPr>
            <p:grpSpPr>
              <a:xfrm rot="16200000">
                <a:off x="-476749" y="580708"/>
                <a:ext cx="692152" cy="251461"/>
                <a:chOff x="431800" y="-235792"/>
                <a:chExt cx="4400551" cy="235792"/>
              </a:xfrm>
            </p:grpSpPr>
            <p:cxnSp>
              <p:nvCxnSpPr>
                <p:cNvPr id="42" name="Straight Connector 41">
                  <a:extLst>
                    <a:ext uri="{FF2B5EF4-FFF2-40B4-BE49-F238E27FC236}">
                      <a16:creationId xmlns:a16="http://schemas.microsoft.com/office/drawing/2014/main" id="{F22B49D1-B420-0E48-A6FA-450123A6193B}"/>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B8D8002-031B-CE42-98C5-47AAD17660DF}"/>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44" name="Rectangle 43">
                  <a:extLst>
                    <a:ext uri="{FF2B5EF4-FFF2-40B4-BE49-F238E27FC236}">
                      <a16:creationId xmlns:a16="http://schemas.microsoft.com/office/drawing/2014/main" id="{2C8986EF-5E91-E542-AF40-1DD8D8D0DAC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45" name="TextBox 44">
                <a:extLst>
                  <a:ext uri="{FF2B5EF4-FFF2-40B4-BE49-F238E27FC236}">
                    <a16:creationId xmlns:a16="http://schemas.microsoft.com/office/drawing/2014/main" id="{4A41689B-8D32-B948-A8FC-5383A4F1BF0A}"/>
                  </a:ext>
                </a:extLst>
              </p:cNvPr>
              <p:cNvSpPr txBox="1"/>
              <p:nvPr userDrawn="1"/>
            </p:nvSpPr>
            <p:spPr>
              <a:xfrm rot="16200000">
                <a:off x="-279288" y="662665"/>
                <a:ext cx="297230" cy="80792"/>
              </a:xfrm>
              <a:prstGeom prst="rect">
                <a:avLst/>
              </a:prstGeom>
            </p:spPr>
            <p:txBody>
              <a:bodyPr vert="horz" wrap="none" lIns="0" tIns="0" rIns="0" bIns="0" rtlCol="0" anchor="ctr">
                <a:spAutoFit/>
              </a:bodyPr>
              <a:lstStyle/>
              <a:p>
                <a:pPr algn="ctr"/>
                <a:r>
                  <a:rPr lang="en-US" sz="700" dirty="0">
                    <a:solidFill>
                      <a:schemeClr val="accent2"/>
                    </a:solidFill>
                    <a:latin typeface="Arial" charset="0"/>
                    <a:ea typeface="Arial" charset="0"/>
                    <a:cs typeface="Arial" charset="0"/>
                  </a:rPr>
                  <a:t>TITLE</a:t>
                </a:r>
              </a:p>
            </p:txBody>
          </p:sp>
        </p:grpSp>
        <p:grpSp>
          <p:nvGrpSpPr>
            <p:cNvPr id="19" name="Group 18">
              <a:extLst>
                <a:ext uri="{FF2B5EF4-FFF2-40B4-BE49-F238E27FC236}">
                  <a16:creationId xmlns:a16="http://schemas.microsoft.com/office/drawing/2014/main" id="{D3D8E7E2-5950-E647-8606-275BB3DBFB13}"/>
                </a:ext>
              </a:extLst>
            </p:cNvPr>
            <p:cNvGrpSpPr/>
            <p:nvPr userDrawn="1"/>
          </p:nvGrpSpPr>
          <p:grpSpPr>
            <a:xfrm>
              <a:off x="-256963" y="6199390"/>
              <a:ext cx="251461" cy="505509"/>
              <a:chOff x="-256403" y="6200775"/>
              <a:chExt cx="251461" cy="505509"/>
            </a:xfrm>
          </p:grpSpPr>
          <p:grpSp>
            <p:nvGrpSpPr>
              <p:cNvPr id="58" name="Group 57">
                <a:extLst>
                  <a:ext uri="{FF2B5EF4-FFF2-40B4-BE49-F238E27FC236}">
                    <a16:creationId xmlns:a16="http://schemas.microsoft.com/office/drawing/2014/main" id="{AA9EE014-7DD6-A04C-A2C6-7D9CCBE48B53}"/>
                  </a:ext>
                </a:extLst>
              </p:cNvPr>
              <p:cNvGrpSpPr/>
              <p:nvPr userDrawn="1"/>
            </p:nvGrpSpPr>
            <p:grpSpPr>
              <a:xfrm rot="16200000">
                <a:off x="-383427" y="6327799"/>
                <a:ext cx="505509" cy="251461"/>
                <a:chOff x="431800" y="-235792"/>
                <a:chExt cx="4400551" cy="235792"/>
              </a:xfrm>
            </p:grpSpPr>
            <p:cxnSp>
              <p:nvCxnSpPr>
                <p:cNvPr id="59" name="Straight Connector 58">
                  <a:extLst>
                    <a:ext uri="{FF2B5EF4-FFF2-40B4-BE49-F238E27FC236}">
                      <a16:creationId xmlns:a16="http://schemas.microsoft.com/office/drawing/2014/main" id="{73AE3D48-81C2-CC4E-A917-4EFA9A8758EF}"/>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D7BA2BEC-D71E-2D4A-8263-034DF97FA82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61" name="Rectangle 60">
                  <a:extLst>
                    <a:ext uri="{FF2B5EF4-FFF2-40B4-BE49-F238E27FC236}">
                      <a16:creationId xmlns:a16="http://schemas.microsoft.com/office/drawing/2014/main" id="{C5E46BE6-4D23-5749-A5BA-CC466FA5839E}"/>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62" name="TextBox 61">
                <a:extLst>
                  <a:ext uri="{FF2B5EF4-FFF2-40B4-BE49-F238E27FC236}">
                    <a16:creationId xmlns:a16="http://schemas.microsoft.com/office/drawing/2014/main" id="{F4593E23-5413-AB48-9A3C-62AE835EAF18}"/>
                  </a:ext>
                </a:extLst>
              </p:cNvPr>
              <p:cNvSpPr txBox="1"/>
              <p:nvPr userDrawn="1"/>
            </p:nvSpPr>
            <p:spPr>
              <a:xfrm rot="16200000">
                <a:off x="-284561" y="6399801"/>
                <a:ext cx="307777" cy="129266"/>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FOOT</a:t>
                </a:r>
                <a:br>
                  <a:rPr lang="en-US" sz="700" dirty="0">
                    <a:solidFill>
                      <a:schemeClr val="accent2"/>
                    </a:solidFill>
                    <a:latin typeface="Arial" charset="0"/>
                    <a:ea typeface="Arial" charset="0"/>
                    <a:cs typeface="Arial" charset="0"/>
                  </a:rPr>
                </a:br>
                <a:r>
                  <a:rPr lang="en-US" sz="700" dirty="0">
                    <a:solidFill>
                      <a:schemeClr val="accent2"/>
                    </a:solidFill>
                    <a:latin typeface="Arial" charset="0"/>
                    <a:ea typeface="Arial" charset="0"/>
                    <a:cs typeface="Arial" charset="0"/>
                  </a:rPr>
                  <a:t>NOTES</a:t>
                </a:r>
              </a:p>
            </p:txBody>
          </p:sp>
        </p:grpSp>
        <p:grpSp>
          <p:nvGrpSpPr>
            <p:cNvPr id="9" name="Group 8">
              <a:extLst>
                <a:ext uri="{FF2B5EF4-FFF2-40B4-BE49-F238E27FC236}">
                  <a16:creationId xmlns:a16="http://schemas.microsoft.com/office/drawing/2014/main" id="{F27CEBF6-43E9-5F47-8E2C-B54AD33300C0}"/>
                </a:ext>
              </a:extLst>
            </p:cNvPr>
            <p:cNvGrpSpPr/>
            <p:nvPr userDrawn="1"/>
          </p:nvGrpSpPr>
          <p:grpSpPr>
            <a:xfrm>
              <a:off x="431240" y="-246933"/>
              <a:ext cx="8280401" cy="7347304"/>
              <a:chOff x="431240" y="-246933"/>
              <a:chExt cx="8280401" cy="7347304"/>
            </a:xfrm>
          </p:grpSpPr>
          <p:grpSp>
            <p:nvGrpSpPr>
              <p:cNvPr id="54" name="Group 53">
                <a:extLst>
                  <a:ext uri="{FF2B5EF4-FFF2-40B4-BE49-F238E27FC236}">
                    <a16:creationId xmlns:a16="http://schemas.microsoft.com/office/drawing/2014/main" id="{0FC885F4-0406-DD40-A377-62D4618F4E97}"/>
                  </a:ext>
                </a:extLst>
              </p:cNvPr>
              <p:cNvGrpSpPr/>
              <p:nvPr userDrawn="1"/>
            </p:nvGrpSpPr>
            <p:grpSpPr>
              <a:xfrm>
                <a:off x="431242" y="6864579"/>
                <a:ext cx="8280398" cy="235792"/>
                <a:chOff x="431801" y="-235792"/>
                <a:chExt cx="4400550" cy="235792"/>
              </a:xfrm>
            </p:grpSpPr>
            <p:cxnSp>
              <p:nvCxnSpPr>
                <p:cNvPr id="55" name="Straight Connector 54">
                  <a:extLst>
                    <a:ext uri="{FF2B5EF4-FFF2-40B4-BE49-F238E27FC236}">
                      <a16:creationId xmlns:a16="http://schemas.microsoft.com/office/drawing/2014/main" id="{5BF68FD4-ABD4-6F49-AD60-341BFE5D1119}"/>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660F2D9F-628D-F44D-844A-F65DE298D8E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2015149B-889B-6140-AA46-36035191AC4D}"/>
                  </a:ext>
                </a:extLst>
              </p:cNvPr>
              <p:cNvGrpSpPr/>
              <p:nvPr userDrawn="1"/>
            </p:nvGrpSpPr>
            <p:grpSpPr>
              <a:xfrm>
                <a:off x="431240" y="-246933"/>
                <a:ext cx="8280401" cy="235792"/>
                <a:chOff x="431800" y="-240735"/>
                <a:chExt cx="8280401" cy="235792"/>
              </a:xfrm>
            </p:grpSpPr>
            <p:grpSp>
              <p:nvGrpSpPr>
                <p:cNvPr id="29" name="Group 28">
                  <a:extLst>
                    <a:ext uri="{FF2B5EF4-FFF2-40B4-BE49-F238E27FC236}">
                      <a16:creationId xmlns:a16="http://schemas.microsoft.com/office/drawing/2014/main" id="{6943FC13-01DD-AC42-A596-C5EAB432F263}"/>
                    </a:ext>
                  </a:extLst>
                </p:cNvPr>
                <p:cNvGrpSpPr/>
                <p:nvPr userDrawn="1"/>
              </p:nvGrpSpPr>
              <p:grpSpPr>
                <a:xfrm>
                  <a:off x="431800" y="-240735"/>
                  <a:ext cx="8280400" cy="235792"/>
                  <a:chOff x="431800" y="-235792"/>
                  <a:chExt cx="4400551" cy="235792"/>
                </a:xfrm>
              </p:grpSpPr>
              <p:cxnSp>
                <p:nvCxnSpPr>
                  <p:cNvPr id="23" name="Straight Connector 22">
                    <a:extLst>
                      <a:ext uri="{FF2B5EF4-FFF2-40B4-BE49-F238E27FC236}">
                        <a16:creationId xmlns:a16="http://schemas.microsoft.com/office/drawing/2014/main" id="{12F2B51E-5808-304B-9933-3B15AE6AE843}"/>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A3FF3526-1234-674B-80E7-BCA857B95E8C}"/>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F4605588-4BA0-B14E-B9D7-4220945390FF}"/>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30" name="TextBox 29">
                  <a:extLst>
                    <a:ext uri="{FF2B5EF4-FFF2-40B4-BE49-F238E27FC236}">
                      <a16:creationId xmlns:a16="http://schemas.microsoft.com/office/drawing/2014/main" id="{75E48346-3BAB-6A45-BD6B-2E12F1AC491B}"/>
                    </a:ext>
                  </a:extLst>
                </p:cNvPr>
                <p:cNvSpPr txBox="1"/>
                <p:nvPr userDrawn="1"/>
              </p:nvSpPr>
              <p:spPr>
                <a:xfrm>
                  <a:off x="3914336" y="-176700"/>
                  <a:ext cx="1315339" cy="10772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4" name="Straight Arrow Connector 63">
                  <a:extLst>
                    <a:ext uri="{FF2B5EF4-FFF2-40B4-BE49-F238E27FC236}">
                      <a16:creationId xmlns:a16="http://schemas.microsoft.com/office/drawing/2014/main" id="{7C3A3DDC-8736-8B47-957C-4DB3DC7BA389}"/>
                    </a:ext>
                  </a:extLst>
                </p:cNvPr>
                <p:cNvCxnSpPr>
                  <a:cxnSpLocks/>
                  <a:stCxn id="30" idx="1"/>
                  <a:endCxn id="22" idx="2"/>
                </p:cNvCxnSpPr>
                <p:nvPr userDrawn="1"/>
              </p:nvCxnSpPr>
              <p:spPr>
                <a:xfrm flipH="1">
                  <a:off x="431801" y="-122839"/>
                  <a:ext cx="3482535" cy="0"/>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5" name="Straight Arrow Connector 64">
                  <a:extLst>
                    <a:ext uri="{FF2B5EF4-FFF2-40B4-BE49-F238E27FC236}">
                      <a16:creationId xmlns:a16="http://schemas.microsoft.com/office/drawing/2014/main" id="{9E1BBA66-E33F-5246-A101-D1F7F9E3EFE0}"/>
                    </a:ext>
                  </a:extLst>
                </p:cNvPr>
                <p:cNvCxnSpPr>
                  <a:cxnSpLocks/>
                  <a:stCxn id="30" idx="3"/>
                  <a:endCxn id="22" idx="0"/>
                </p:cNvCxnSpPr>
                <p:nvPr userDrawn="1"/>
              </p:nvCxnSpPr>
              <p:spPr>
                <a:xfrm flipV="1">
                  <a:off x="5229674" y="-122840"/>
                  <a:ext cx="3482527" cy="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grpSp>
          <p:nvGrpSpPr>
            <p:cNvPr id="18" name="Group 17">
              <a:extLst>
                <a:ext uri="{FF2B5EF4-FFF2-40B4-BE49-F238E27FC236}">
                  <a16:creationId xmlns:a16="http://schemas.microsoft.com/office/drawing/2014/main" id="{00980A37-D446-294D-95D8-4AE280E4D28B}"/>
                </a:ext>
              </a:extLst>
            </p:cNvPr>
            <p:cNvGrpSpPr/>
            <p:nvPr userDrawn="1"/>
          </p:nvGrpSpPr>
          <p:grpSpPr>
            <a:xfrm>
              <a:off x="-256963" y="1233487"/>
              <a:ext cx="251461" cy="4930977"/>
              <a:chOff x="-256403" y="1304924"/>
              <a:chExt cx="251461" cy="4843215"/>
            </a:xfrm>
          </p:grpSpPr>
          <p:grpSp>
            <p:nvGrpSpPr>
              <p:cNvPr id="36" name="Group 35">
                <a:extLst>
                  <a:ext uri="{FF2B5EF4-FFF2-40B4-BE49-F238E27FC236}">
                    <a16:creationId xmlns:a16="http://schemas.microsoft.com/office/drawing/2014/main" id="{45EE91C7-0375-8348-97F0-234CD68ACFF0}"/>
                  </a:ext>
                </a:extLst>
              </p:cNvPr>
              <p:cNvGrpSpPr/>
              <p:nvPr userDrawn="1"/>
            </p:nvGrpSpPr>
            <p:grpSpPr>
              <a:xfrm rot="16200000">
                <a:off x="-2552280" y="3600801"/>
                <a:ext cx="4843215" cy="251461"/>
                <a:chOff x="431800" y="-235792"/>
                <a:chExt cx="4400551" cy="235792"/>
              </a:xfrm>
            </p:grpSpPr>
            <p:cxnSp>
              <p:nvCxnSpPr>
                <p:cNvPr id="37" name="Straight Connector 36">
                  <a:extLst>
                    <a:ext uri="{FF2B5EF4-FFF2-40B4-BE49-F238E27FC236}">
                      <a16:creationId xmlns:a16="http://schemas.microsoft.com/office/drawing/2014/main" id="{2EC75812-09C4-7D47-9562-5A8554E02090}"/>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786B1498-4B03-674C-80E6-9988AA331A62}"/>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9" name="Rectangle 38">
                  <a:extLst>
                    <a:ext uri="{FF2B5EF4-FFF2-40B4-BE49-F238E27FC236}">
                      <a16:creationId xmlns:a16="http://schemas.microsoft.com/office/drawing/2014/main" id="{3DD40D0F-5B45-A441-A065-F744384DF89A}"/>
                    </a:ext>
                  </a:extLst>
                </p:cNvPr>
                <p:cNvSpPr/>
                <p:nvPr userDrawn="1"/>
              </p:nvSpPr>
              <p:spPr>
                <a:xfrm rot="5400000">
                  <a:off x="2514180" y="-2318172"/>
                  <a:ext cx="235791" cy="4400551"/>
                </a:xfrm>
                <a:prstGeom prst="rect">
                  <a:avLst/>
                </a:prstGeom>
                <a:solidFill>
                  <a:schemeClr val="accent2">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grpSp>
          <p:sp>
            <p:nvSpPr>
              <p:cNvPr id="40" name="TextBox 39">
                <a:extLst>
                  <a:ext uri="{FF2B5EF4-FFF2-40B4-BE49-F238E27FC236}">
                    <a16:creationId xmlns:a16="http://schemas.microsoft.com/office/drawing/2014/main" id="{CE0455E3-6AFB-7D40-BC14-7ACB1F9DAD6E}"/>
                  </a:ext>
                </a:extLst>
              </p:cNvPr>
              <p:cNvSpPr txBox="1"/>
              <p:nvPr userDrawn="1"/>
            </p:nvSpPr>
            <p:spPr>
              <a:xfrm rot="16200000">
                <a:off x="-991958" y="3686134"/>
                <a:ext cx="1722572" cy="80792"/>
              </a:xfrm>
              <a:prstGeom prst="rect">
                <a:avLst/>
              </a:prstGeom>
            </p:spPr>
            <p:txBody>
              <a:bodyPr vert="horz" wrap="none" lIns="108000" tIns="0" rIns="108000" bIns="0" rtlCol="0" anchor="ctr">
                <a:spAutoFit/>
              </a:bodyPr>
              <a:lstStyle/>
              <a:p>
                <a:pPr algn="ctr"/>
                <a:r>
                  <a:rPr lang="en-US" sz="700" dirty="0">
                    <a:solidFill>
                      <a:schemeClr val="accent2"/>
                    </a:solidFill>
                    <a:latin typeface="Arial" charset="0"/>
                    <a:ea typeface="Arial" charset="0"/>
                    <a:cs typeface="Arial" charset="0"/>
                  </a:rPr>
                  <a:t>KEEP CONTENT WITHIN THIS AREA</a:t>
                </a:r>
              </a:p>
            </p:txBody>
          </p:sp>
          <p:cxnSp>
            <p:nvCxnSpPr>
              <p:cNvPr id="66" name="Straight Arrow Connector 65">
                <a:extLst>
                  <a:ext uri="{FF2B5EF4-FFF2-40B4-BE49-F238E27FC236}">
                    <a16:creationId xmlns:a16="http://schemas.microsoft.com/office/drawing/2014/main" id="{369A0288-B930-114B-B48F-D4F3EF647C47}"/>
                  </a:ext>
                </a:extLst>
              </p:cNvPr>
              <p:cNvCxnSpPr>
                <a:cxnSpLocks/>
                <a:stCxn id="40" idx="1"/>
              </p:cNvCxnSpPr>
              <p:nvPr userDrawn="1"/>
            </p:nvCxnSpPr>
            <p:spPr>
              <a:xfrm flipH="1">
                <a:off x="-130672" y="4587817"/>
                <a:ext cx="1" cy="1560321"/>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cxnSp>
            <p:nvCxnSpPr>
              <p:cNvPr id="67" name="Straight Arrow Connector 66">
                <a:extLst>
                  <a:ext uri="{FF2B5EF4-FFF2-40B4-BE49-F238E27FC236}">
                    <a16:creationId xmlns:a16="http://schemas.microsoft.com/office/drawing/2014/main" id="{C5709236-298B-344F-AFF7-86E5F553B2FA}"/>
                  </a:ext>
                </a:extLst>
              </p:cNvPr>
              <p:cNvCxnSpPr>
                <a:cxnSpLocks/>
                <a:stCxn id="40" idx="3"/>
              </p:cNvCxnSpPr>
              <p:nvPr userDrawn="1"/>
            </p:nvCxnSpPr>
            <p:spPr>
              <a:xfrm flipH="1" flipV="1">
                <a:off x="-130673" y="1304928"/>
                <a:ext cx="1" cy="1560317"/>
              </a:xfrm>
              <a:prstGeom prst="straightConnector1">
                <a:avLst/>
              </a:prstGeom>
              <a:ln>
                <a:solidFill>
                  <a:schemeClr val="accent2"/>
                </a:solidFill>
                <a:tailEnd type="arrow" w="sm" len="sm"/>
              </a:ln>
            </p:spPr>
            <p:style>
              <a:lnRef idx="1">
                <a:schemeClr val="accent1"/>
              </a:lnRef>
              <a:fillRef idx="0">
                <a:schemeClr val="accent1"/>
              </a:fillRef>
              <a:effectRef idx="0">
                <a:schemeClr val="accent1"/>
              </a:effectRef>
              <a:fontRef idx="minor">
                <a:schemeClr val="tx1"/>
              </a:fontRef>
            </p:style>
          </p:cxnSp>
        </p:grpSp>
        <p:grpSp>
          <p:nvGrpSpPr>
            <p:cNvPr id="68" name="Group 67">
              <a:extLst>
                <a:ext uri="{FF2B5EF4-FFF2-40B4-BE49-F238E27FC236}">
                  <a16:creationId xmlns:a16="http://schemas.microsoft.com/office/drawing/2014/main" id="{6943FE73-F9AD-6244-A555-E55A255D9C2B}"/>
                </a:ext>
              </a:extLst>
            </p:cNvPr>
            <p:cNvGrpSpPr/>
            <p:nvPr userDrawn="1"/>
          </p:nvGrpSpPr>
          <p:grpSpPr>
            <a:xfrm rot="16200000">
              <a:off x="8991537" y="579617"/>
              <a:ext cx="567396" cy="251461"/>
              <a:chOff x="431801" y="-235792"/>
              <a:chExt cx="4400550" cy="235792"/>
            </a:xfrm>
          </p:grpSpPr>
          <p:cxnSp>
            <p:nvCxnSpPr>
              <p:cNvPr id="70" name="Straight Connector 69">
                <a:extLst>
                  <a:ext uri="{FF2B5EF4-FFF2-40B4-BE49-F238E27FC236}">
                    <a16:creationId xmlns:a16="http://schemas.microsoft.com/office/drawing/2014/main" id="{C3628860-D8D8-0042-9BCF-5AA5EE7B1049}"/>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D8BB8402-4D22-B448-885D-1B05C4E245EB}"/>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2" name="Group 81">
              <a:extLst>
                <a:ext uri="{FF2B5EF4-FFF2-40B4-BE49-F238E27FC236}">
                  <a16:creationId xmlns:a16="http://schemas.microsoft.com/office/drawing/2014/main" id="{5AE26B18-92DF-3249-AC98-8FA7C7C05ACB}"/>
                </a:ext>
              </a:extLst>
            </p:cNvPr>
            <p:cNvGrpSpPr/>
            <p:nvPr userDrawn="1"/>
          </p:nvGrpSpPr>
          <p:grpSpPr>
            <a:xfrm rot="16200000">
              <a:off x="9022480" y="6326414"/>
              <a:ext cx="505509" cy="251461"/>
              <a:chOff x="431801" y="-235792"/>
              <a:chExt cx="4400550" cy="235792"/>
            </a:xfrm>
          </p:grpSpPr>
          <p:cxnSp>
            <p:nvCxnSpPr>
              <p:cNvPr id="84" name="Straight Connector 83">
                <a:extLst>
                  <a:ext uri="{FF2B5EF4-FFF2-40B4-BE49-F238E27FC236}">
                    <a16:creationId xmlns:a16="http://schemas.microsoft.com/office/drawing/2014/main" id="{CF4903C6-7D49-3144-8CA4-C4535B8178AD}"/>
                  </a:ext>
                </a:extLst>
              </p:cNvPr>
              <p:cNvCxnSpPr>
                <a:cxnSpLocks/>
              </p:cNvCxnSpPr>
              <p:nvPr userDrawn="1"/>
            </p:nvCxnSpPr>
            <p:spPr>
              <a:xfrm flipV="1">
                <a:off x="4832351"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C18B5DD9-7082-2F46-B230-AB7FEF259DF8}"/>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88" name="Group 87">
              <a:extLst>
                <a:ext uri="{FF2B5EF4-FFF2-40B4-BE49-F238E27FC236}">
                  <a16:creationId xmlns:a16="http://schemas.microsoft.com/office/drawing/2014/main" id="{2450701C-1FD4-734B-B53D-04C1A47F09EC}"/>
                </a:ext>
              </a:extLst>
            </p:cNvPr>
            <p:cNvGrpSpPr/>
            <p:nvPr userDrawn="1"/>
          </p:nvGrpSpPr>
          <p:grpSpPr>
            <a:xfrm rot="16200000">
              <a:off x="6810642" y="3574139"/>
              <a:ext cx="4929186" cy="251461"/>
              <a:chOff x="431801" y="-235792"/>
              <a:chExt cx="4462347" cy="235792"/>
            </a:xfrm>
          </p:grpSpPr>
          <p:cxnSp>
            <p:nvCxnSpPr>
              <p:cNvPr id="92" name="Straight Connector 91">
                <a:extLst>
                  <a:ext uri="{FF2B5EF4-FFF2-40B4-BE49-F238E27FC236}">
                    <a16:creationId xmlns:a16="http://schemas.microsoft.com/office/drawing/2014/main" id="{EA7F5C02-DBA8-114C-B8AD-E6E39FB3E452}"/>
                  </a:ext>
                </a:extLst>
              </p:cNvPr>
              <p:cNvCxnSpPr>
                <a:cxnSpLocks/>
              </p:cNvCxnSpPr>
              <p:nvPr userDrawn="1"/>
            </p:nvCxnSpPr>
            <p:spPr>
              <a:xfrm flipV="1">
                <a:off x="4894148" y="-235792"/>
                <a:ext cx="0" cy="235792"/>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2BBED8D4-0952-E441-B264-00A3F7C399D7}"/>
                  </a:ext>
                </a:extLst>
              </p:cNvPr>
              <p:cNvCxnSpPr>
                <a:cxnSpLocks/>
              </p:cNvCxnSpPr>
              <p:nvPr userDrawn="1"/>
            </p:nvCxnSpPr>
            <p:spPr>
              <a:xfrm flipV="1">
                <a:off x="431801" y="-235792"/>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3C2F4607-7DC3-324D-879F-E486D0EDF66B}"/>
                </a:ext>
              </a:extLst>
            </p:cNvPr>
            <p:cNvGrpSpPr/>
            <p:nvPr userDrawn="1"/>
          </p:nvGrpSpPr>
          <p:grpSpPr>
            <a:xfrm>
              <a:off x="3121397" y="6865965"/>
              <a:ext cx="2930114" cy="235790"/>
              <a:chOff x="3121388" y="6869197"/>
              <a:chExt cx="2930114" cy="235790"/>
            </a:xfrm>
          </p:grpSpPr>
          <p:grpSp>
            <p:nvGrpSpPr>
              <p:cNvPr id="11" name="Group 10">
                <a:extLst>
                  <a:ext uri="{FF2B5EF4-FFF2-40B4-BE49-F238E27FC236}">
                    <a16:creationId xmlns:a16="http://schemas.microsoft.com/office/drawing/2014/main" id="{AEF875DB-5EB3-4849-8E5F-39088FA886E7}"/>
                  </a:ext>
                </a:extLst>
              </p:cNvPr>
              <p:cNvGrpSpPr/>
              <p:nvPr userDrawn="1"/>
            </p:nvGrpSpPr>
            <p:grpSpPr>
              <a:xfrm>
                <a:off x="3184525" y="6869197"/>
                <a:ext cx="2774950" cy="60992"/>
                <a:chOff x="3184525" y="6869196"/>
                <a:chExt cx="2774950" cy="235791"/>
              </a:xfrm>
            </p:grpSpPr>
            <p:cxnSp>
              <p:nvCxnSpPr>
                <p:cNvPr id="73" name="Straight Connector 72">
                  <a:extLst>
                    <a:ext uri="{FF2B5EF4-FFF2-40B4-BE49-F238E27FC236}">
                      <a16:creationId xmlns:a16="http://schemas.microsoft.com/office/drawing/2014/main" id="{401B80A4-C088-3F40-B2A2-2D862F375A3C}"/>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D2736629-EF45-5843-9E91-AF39A137BD0F}"/>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AD5C415B-C58A-5143-B195-53B6A53B164E}"/>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87" name="TextBox 86">
                <a:extLst>
                  <a:ext uri="{FF2B5EF4-FFF2-40B4-BE49-F238E27FC236}">
                    <a16:creationId xmlns:a16="http://schemas.microsoft.com/office/drawing/2014/main" id="{7CA58A63-C828-AB49-B77B-45A6B4DBDD83}"/>
                  </a:ext>
                </a:extLst>
              </p:cNvPr>
              <p:cNvSpPr txBox="1"/>
              <p:nvPr userDrawn="1"/>
            </p:nvSpPr>
            <p:spPr>
              <a:xfrm>
                <a:off x="3121388" y="6954537"/>
                <a:ext cx="153888"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1/3</a:t>
                </a:r>
                <a:r>
                  <a:rPr lang="en-US" sz="650" kern="1200" baseline="30000" dirty="0">
                    <a:solidFill>
                      <a:schemeClr val="accent2"/>
                    </a:solidFill>
                    <a:latin typeface="Arial" charset="0"/>
                    <a:ea typeface="Arial" charset="0"/>
                    <a:cs typeface="Arial" charset="0"/>
                  </a:rPr>
                  <a:t>RD</a:t>
                </a:r>
              </a:p>
            </p:txBody>
          </p:sp>
          <p:sp>
            <p:nvSpPr>
              <p:cNvPr id="89" name="TextBox 88">
                <a:extLst>
                  <a:ext uri="{FF2B5EF4-FFF2-40B4-BE49-F238E27FC236}">
                    <a16:creationId xmlns:a16="http://schemas.microsoft.com/office/drawing/2014/main" id="{0005311A-1292-E544-A38B-88988BFE1577}"/>
                  </a:ext>
                </a:extLst>
              </p:cNvPr>
              <p:cNvSpPr txBox="1"/>
              <p:nvPr userDrawn="1"/>
            </p:nvSpPr>
            <p:spPr>
              <a:xfrm>
                <a:off x="4487991" y="6954537"/>
                <a:ext cx="170720"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HALF</a:t>
                </a:r>
              </a:p>
            </p:txBody>
          </p:sp>
          <p:sp>
            <p:nvSpPr>
              <p:cNvPr id="90" name="TextBox 89">
                <a:extLst>
                  <a:ext uri="{FF2B5EF4-FFF2-40B4-BE49-F238E27FC236}">
                    <a16:creationId xmlns:a16="http://schemas.microsoft.com/office/drawing/2014/main" id="{417A683D-6BBC-AD4D-9603-29408D7E4EE4}"/>
                  </a:ext>
                </a:extLst>
              </p:cNvPr>
              <p:cNvSpPr txBox="1"/>
              <p:nvPr userDrawn="1"/>
            </p:nvSpPr>
            <p:spPr>
              <a:xfrm>
                <a:off x="5869961" y="6954537"/>
                <a:ext cx="181541" cy="86177"/>
              </a:xfrm>
              <a:prstGeom prst="rect">
                <a:avLst/>
              </a:prstGeom>
            </p:spPr>
            <p:txBody>
              <a:bodyPr vert="horz" wrap="none" lIns="0" tIns="0" rIns="0" bIns="0" rtlCol="0" anchor="ctr">
                <a:spAutoFit/>
              </a:bodyPr>
              <a:lstStyle/>
              <a:p>
                <a:pPr algn="ctr">
                  <a:lnSpc>
                    <a:spcPct val="80000"/>
                  </a:lnSpc>
                </a:pPr>
                <a:r>
                  <a:rPr lang="en-US" sz="700" dirty="0">
                    <a:solidFill>
                      <a:schemeClr val="accent2"/>
                    </a:solidFill>
                    <a:latin typeface="Arial" charset="0"/>
                    <a:ea typeface="Arial" charset="0"/>
                    <a:cs typeface="Arial" charset="0"/>
                  </a:rPr>
                  <a:t>2/3</a:t>
                </a:r>
                <a:r>
                  <a:rPr lang="en-US" sz="650" baseline="30000" dirty="0">
                    <a:solidFill>
                      <a:schemeClr val="accent2"/>
                    </a:solidFill>
                    <a:latin typeface="Arial" charset="0"/>
                    <a:ea typeface="Arial" charset="0"/>
                    <a:cs typeface="Arial" charset="0"/>
                  </a:rPr>
                  <a:t>RDS</a:t>
                </a:r>
              </a:p>
            </p:txBody>
          </p:sp>
          <p:grpSp>
            <p:nvGrpSpPr>
              <p:cNvPr id="91" name="Group 90">
                <a:extLst>
                  <a:ext uri="{FF2B5EF4-FFF2-40B4-BE49-F238E27FC236}">
                    <a16:creationId xmlns:a16="http://schemas.microsoft.com/office/drawing/2014/main" id="{3236913A-BD45-484F-BBAE-557205654333}"/>
                  </a:ext>
                </a:extLst>
              </p:cNvPr>
              <p:cNvGrpSpPr/>
              <p:nvPr userDrawn="1"/>
            </p:nvGrpSpPr>
            <p:grpSpPr>
              <a:xfrm>
                <a:off x="3184525" y="7040714"/>
                <a:ext cx="2774950" cy="64273"/>
                <a:chOff x="3184525" y="6869196"/>
                <a:chExt cx="2774950" cy="235791"/>
              </a:xfrm>
            </p:grpSpPr>
            <p:cxnSp>
              <p:nvCxnSpPr>
                <p:cNvPr id="94" name="Straight Connector 93">
                  <a:extLst>
                    <a:ext uri="{FF2B5EF4-FFF2-40B4-BE49-F238E27FC236}">
                      <a16:creationId xmlns:a16="http://schemas.microsoft.com/office/drawing/2014/main" id="{B8DC771C-3FBD-2747-9F87-9ED9BB8478E7}"/>
                    </a:ext>
                  </a:extLst>
                </p:cNvPr>
                <p:cNvCxnSpPr>
                  <a:cxnSpLocks/>
                </p:cNvCxnSpPr>
                <p:nvPr userDrawn="1"/>
              </p:nvCxnSpPr>
              <p:spPr>
                <a:xfrm flipV="1">
                  <a:off x="318452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FE5CA426-9DD9-D944-BE42-16A5DAC54CDC}"/>
                    </a:ext>
                  </a:extLst>
                </p:cNvPr>
                <p:cNvCxnSpPr>
                  <a:cxnSpLocks/>
                </p:cNvCxnSpPr>
                <p:nvPr userDrawn="1"/>
              </p:nvCxnSpPr>
              <p:spPr>
                <a:xfrm flipV="1">
                  <a:off x="4569513"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02052529-8A86-4346-9F9F-9FB1DD488169}"/>
                    </a:ext>
                  </a:extLst>
                </p:cNvPr>
                <p:cNvCxnSpPr>
                  <a:cxnSpLocks/>
                </p:cNvCxnSpPr>
                <p:nvPr userDrawn="1"/>
              </p:nvCxnSpPr>
              <p:spPr>
                <a:xfrm flipV="1">
                  <a:off x="5959475" y="6869196"/>
                  <a:ext cx="0" cy="235791"/>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pSp>
        </p:grpSp>
      </p:grpSp>
      <p:sp>
        <p:nvSpPr>
          <p:cNvPr id="98" name="Slide Number Placeholder 97">
            <a:extLst>
              <a:ext uri="{FF2B5EF4-FFF2-40B4-BE49-F238E27FC236}">
                <a16:creationId xmlns:a16="http://schemas.microsoft.com/office/drawing/2014/main" id="{8B997069-D21E-5945-9056-B66AD470AD31}"/>
              </a:ext>
            </a:extLst>
          </p:cNvPr>
          <p:cNvSpPr>
            <a:spLocks noGrp="1"/>
          </p:cNvSpPr>
          <p:nvPr userDrawn="1">
            <p:ph type="sldNum" sz="quarter" idx="4"/>
          </p:nvPr>
        </p:nvSpPr>
        <p:spPr>
          <a:xfrm>
            <a:off x="11720052" y="6516149"/>
            <a:ext cx="467272" cy="174625"/>
          </a:xfrm>
          <a:prstGeom prst="rect">
            <a:avLst/>
          </a:prstGeom>
          <a:noFill/>
          <a:ln>
            <a:noFill/>
          </a:ln>
        </p:spPr>
        <p:txBody>
          <a:bodyPr vert="horz" wrap="square" lIns="0" tIns="0" rIns="0" bIns="0" rtlCol="0" anchor="ctr">
            <a:noAutofit/>
          </a:bodyPr>
          <a:lstStyle>
            <a:lvl1pPr algn="l">
              <a:defRPr sz="900" b="1">
                <a:solidFill>
                  <a:schemeClr val="accent1"/>
                </a:solidFill>
              </a:defRPr>
            </a:lvl1pPr>
          </a:lstStyle>
          <a:p>
            <a:pPr marL="12700"/>
            <a:fld id="{078C017C-E1B9-8443-B047-B08AAA027B45}" type="slidenum">
              <a:rPr lang="en-US" smtClean="0"/>
              <a:pPr marL="12700"/>
              <a:t>‹#›</a:t>
            </a:fld>
            <a:endParaRPr lang="en-US" dirty="0"/>
          </a:p>
        </p:txBody>
      </p:sp>
      <p:sp>
        <p:nvSpPr>
          <p:cNvPr id="5" name="Footer Placeholder 4">
            <a:extLst>
              <a:ext uri="{FF2B5EF4-FFF2-40B4-BE49-F238E27FC236}">
                <a16:creationId xmlns:a16="http://schemas.microsoft.com/office/drawing/2014/main" id="{C9CDD5D0-2B57-DD49-8A52-35BB8429C6FC}"/>
              </a:ext>
            </a:extLst>
          </p:cNvPr>
          <p:cNvSpPr>
            <a:spLocks noGrp="1"/>
          </p:cNvSpPr>
          <p:nvPr userDrawn="1">
            <p:ph type="ftr" sz="quarter" idx="3"/>
          </p:nvPr>
        </p:nvSpPr>
        <p:spPr>
          <a:xfrm>
            <a:off x="0" y="6864579"/>
            <a:ext cx="0" cy="0"/>
          </a:xfrm>
          <a:prstGeom prst="rect">
            <a:avLst/>
          </a:prstGeom>
          <a:ln w="0">
            <a:solidFill>
              <a:schemeClr val="bg1">
                <a:alpha val="0"/>
              </a:schemeClr>
            </a:solidFill>
          </a:ln>
        </p:spPr>
        <p:txBody>
          <a:bodyPr vert="horz" lIns="0" tIns="0" rIns="0" bIns="0" rtlCol="0" anchor="b"/>
          <a:lstStyle>
            <a:lvl1pPr marL="4763" indent="0" algn="l">
              <a:buFont typeface="Arial" panose="020B0604020202020204" pitchFamily="34" charset="0"/>
              <a:buNone/>
              <a:tabLst/>
              <a:defRPr sz="200">
                <a:solidFill>
                  <a:schemeClr val="tx1">
                    <a:alpha val="0"/>
                  </a:schemeClr>
                </a:solidFill>
              </a:defRPr>
            </a:lvl1pPr>
            <a:lvl2pPr marL="4763" indent="0" algn="l">
              <a:tabLst/>
              <a:defRPr sz="1100"/>
            </a:lvl2pPr>
            <a:lvl3pPr marL="4763" indent="0" algn="l">
              <a:tabLst/>
              <a:defRPr sz="1100"/>
            </a:lvl3pPr>
            <a:lvl4pPr marL="4763" indent="0" algn="l">
              <a:tabLst/>
              <a:defRPr sz="1100"/>
            </a:lvl4pPr>
            <a:lvl5pPr marL="4763" indent="0" algn="l">
              <a:tabLst/>
              <a:defRPr sz="1100"/>
            </a:lvl5pPr>
            <a:lvl6pPr marL="4763" indent="0" algn="l">
              <a:tabLst/>
              <a:defRPr sz="1100"/>
            </a:lvl6pPr>
            <a:lvl7pPr marL="4763" indent="0" algn="l">
              <a:tabLst/>
              <a:defRPr sz="1100"/>
            </a:lvl7pPr>
            <a:lvl8pPr marL="4763" indent="0" algn="l">
              <a:tabLst/>
              <a:defRPr sz="1100"/>
            </a:lvl8pPr>
            <a:lvl9pPr marL="4763" indent="0" algn="l">
              <a:tabLst/>
              <a:defRPr sz="1100"/>
            </a:lvl9pPr>
          </a:lstStyle>
          <a:p>
            <a:endParaRPr lang="en-US" dirty="0"/>
          </a:p>
        </p:txBody>
      </p:sp>
    </p:spTree>
    <p:extLst>
      <p:ext uri="{BB962C8B-B14F-4D97-AF65-F5344CB8AC3E}">
        <p14:creationId xmlns:p14="http://schemas.microsoft.com/office/powerpoint/2010/main" val="1781700023"/>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 id="2147483792" r:id="rId9"/>
    <p:sldLayoutId id="2147483793" r:id="rId10"/>
    <p:sldLayoutId id="2147483794" r:id="rId11"/>
    <p:sldLayoutId id="2147483795" r:id="rId12"/>
    <p:sldLayoutId id="2147483796" r:id="rId13"/>
    <p:sldLayoutId id="2147483797" r:id="rId14"/>
    <p:sldLayoutId id="2147483798" r:id="rId15"/>
    <p:sldLayoutId id="2147483799" r:id="rId16"/>
    <p:sldLayoutId id="2147483800" r:id="rId17"/>
    <p:sldLayoutId id="2147483801" r:id="rId18"/>
    <p:sldLayoutId id="2147483802" r:id="rId19"/>
    <p:sldLayoutId id="2147483803" r:id="rId20"/>
    <p:sldLayoutId id="2147483804" r:id="rId21"/>
    <p:sldLayoutId id="2147483805" r:id="rId22"/>
    <p:sldLayoutId id="2147483806" r:id="rId23"/>
    <p:sldLayoutId id="2147483807" r:id="rId24"/>
    <p:sldLayoutId id="2147483808" r:id="rId25"/>
    <p:sldLayoutId id="2147483809" r:id="rId26"/>
    <p:sldLayoutId id="2147483810" r:id="rId27"/>
    <p:sldLayoutId id="2147483811" r:id="rId28"/>
    <p:sldLayoutId id="2147483812" r:id="rId29"/>
    <p:sldLayoutId id="2147483813" r:id="rId30"/>
    <p:sldLayoutId id="2147483814" r:id="rId31"/>
    <p:sldLayoutId id="2147483815" r:id="rId32"/>
    <p:sldLayoutId id="2147483816" r:id="rId33"/>
    <p:sldLayoutId id="2147483817" r:id="rId34"/>
    <p:sldLayoutId id="2147483818" r:id="rId35"/>
    <p:sldLayoutId id="2147483819" r:id="rId36"/>
    <p:sldLayoutId id="2147483820" r:id="rId37"/>
    <p:sldLayoutId id="2147483821" r:id="rId38"/>
    <p:sldLayoutId id="2147483822" r:id="rId39"/>
    <p:sldLayoutId id="2147483823" r:id="rId40"/>
    <p:sldLayoutId id="2147483824" r:id="rId41"/>
    <p:sldLayoutId id="2147483825" r:id="rId42"/>
    <p:sldLayoutId id="2147483826" r:id="rId43"/>
    <p:sldLayoutId id="2147483827" r:id="rId44"/>
    <p:sldLayoutId id="2147483828" r:id="rId45"/>
    <p:sldLayoutId id="2147483829" r:id="rId46"/>
    <p:sldLayoutId id="2147483830" r:id="rId47"/>
    <p:sldLayoutId id="2147483831" r:id="rId48"/>
  </p:sldLayoutIdLst>
  <p:hf hdr="0" ftr="0" dt="0"/>
  <p:txStyles>
    <p:titleStyle>
      <a:lvl1pPr algn="l" defTabSz="914400" rtl="0" eaLnBrk="1" latinLnBrk="0" hangingPunct="1">
        <a:lnSpc>
          <a:spcPct val="90000"/>
        </a:lnSpc>
        <a:spcBef>
          <a:spcPct val="0"/>
        </a:spcBef>
        <a:buNone/>
        <a:defRPr sz="1900" b="1" kern="1200" cap="all" baseline="0">
          <a:solidFill>
            <a:schemeClr val="accent1"/>
          </a:solidFill>
          <a:latin typeface="+mj-lt"/>
          <a:ea typeface="+mj-ea"/>
          <a:cs typeface="+mj-cs"/>
        </a:defRPr>
      </a:lvl1pPr>
    </p:titleStyle>
    <p:body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sz="14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508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200" kern="1200">
          <a:solidFill>
            <a:schemeClr val="tx1"/>
          </a:solidFill>
          <a:latin typeface="+mn-lt"/>
          <a:ea typeface="+mn-ea"/>
          <a:cs typeface="+mn-cs"/>
        </a:defRPr>
      </a:lvl1pPr>
      <a:lvl2pPr marL="266700" indent="-266700" algn="l" defTabSz="914400" rtl="0" eaLnBrk="1" latinLnBrk="0" hangingPunct="1">
        <a:lnSpc>
          <a:spcPct val="90000"/>
        </a:lnSpc>
        <a:spcBef>
          <a:spcPts val="0"/>
        </a:spcBef>
        <a:spcAft>
          <a:spcPts val="300"/>
        </a:spcAft>
        <a:buFont typeface="Wingdings" pitchFamily="2" charset="2"/>
        <a:buChar char="§"/>
        <a:tabLst/>
        <a:defRPr sz="1200" kern="1200">
          <a:solidFill>
            <a:schemeClr val="tx1"/>
          </a:solidFill>
          <a:latin typeface="+mn-lt"/>
          <a:ea typeface="+mn-ea"/>
          <a:cs typeface="+mn-cs"/>
        </a:defRPr>
      </a:lvl2pPr>
      <a:lvl3pPr marL="5508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3pPr>
      <a:lvl4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2" pos="2880">
          <p15:clr>
            <a:srgbClr val="A4A3A4"/>
          </p15:clr>
        </p15:guide>
        <p15:guide id="3" pos="272">
          <p15:clr>
            <a:srgbClr val="C35EA4"/>
          </p15:clr>
        </p15:guide>
        <p15:guide id="4" pos="5488">
          <p15:clr>
            <a:srgbClr val="C35EA4"/>
          </p15:clr>
        </p15:guide>
        <p15:guide id="5" orient="horz" pos="624">
          <p15:clr>
            <a:srgbClr val="A4A3A4"/>
          </p15:clr>
        </p15:guide>
        <p15:guide id="6" orient="horz" pos="777">
          <p15:clr>
            <a:srgbClr val="F26B43"/>
          </p15:clr>
        </p15:guide>
        <p15:guide id="7" orient="horz" pos="3884">
          <p15:clr>
            <a:srgbClr val="F26B43"/>
          </p15:clr>
        </p15:guide>
        <p15:guide id="9" orient="horz" pos="3906">
          <p15:clr>
            <a:srgbClr val="A4A3A4"/>
          </p15:clr>
        </p15:guide>
        <p15:guide id="10" orient="horz" pos="4224">
          <p15:clr>
            <a:srgbClr val="A4A3A4"/>
          </p15:clr>
        </p15:guide>
        <p15:guide id="11" orient="horz" pos="265">
          <p15:clr>
            <a:srgbClr val="A4A3A4"/>
          </p15:clr>
        </p15:guide>
        <p15:guide id="13" pos="5624">
          <p15:clr>
            <a:srgbClr val="F26B43"/>
          </p15:clr>
        </p15:guide>
        <p15:guide id="14" orient="horz" pos="701">
          <p15:clr>
            <a:srgbClr val="5ACBF0"/>
          </p15:clr>
        </p15:guide>
        <p15:guide id="15" pos="136">
          <p15:clr>
            <a:srgbClr val="F26B43"/>
          </p15:clr>
        </p15:guide>
        <p15:guide id="16" pos="2006">
          <p15:clr>
            <a:srgbClr val="A4A3A4"/>
          </p15:clr>
        </p15:guide>
        <p15:guide id="17" pos="3754">
          <p15:clr>
            <a:srgbClr val="A4A3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8.jpg"/><Relationship Id="rId2" Type="http://schemas.openxmlformats.org/officeDocument/2006/relationships/notesSlide" Target="../notesSlides/notesSlide1.xml"/><Relationship Id="rId1"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8" Type="http://schemas.openxmlformats.org/officeDocument/2006/relationships/image" Target="../media/image46.jpeg"/><Relationship Id="rId3" Type="http://schemas.openxmlformats.org/officeDocument/2006/relationships/image" Target="../media/image41.svg"/><Relationship Id="rId7" Type="http://schemas.openxmlformats.org/officeDocument/2006/relationships/image" Target="../media/image45.svg"/><Relationship Id="rId2" Type="http://schemas.openxmlformats.org/officeDocument/2006/relationships/image" Target="../media/image40.png"/><Relationship Id="rId1" Type="http://schemas.openxmlformats.org/officeDocument/2006/relationships/slideLayout" Target="../slideLayouts/slideLayout41.xml"/><Relationship Id="rId6" Type="http://schemas.openxmlformats.org/officeDocument/2006/relationships/image" Target="../media/image44.png"/><Relationship Id="rId5" Type="http://schemas.openxmlformats.org/officeDocument/2006/relationships/image" Target="../media/image43.svg"/><Relationship Id="rId10" Type="http://schemas.openxmlformats.org/officeDocument/2006/relationships/image" Target="../media/image48.jpeg"/><Relationship Id="rId4" Type="http://schemas.openxmlformats.org/officeDocument/2006/relationships/image" Target="../media/image42.png"/><Relationship Id="rId9" Type="http://schemas.openxmlformats.org/officeDocument/2006/relationships/image" Target="../media/image47.jpeg"/></Relationships>
</file>

<file path=ppt/slides/_rels/slide4.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2" Type="http://schemas.openxmlformats.org/officeDocument/2006/relationships/image" Target="../media/image51.tiff"/><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3" Type="http://schemas.openxmlformats.org/officeDocument/2006/relationships/hyperlink" Target="mailto:hmckay@vedp.org" TargetMode="External"/><Relationship Id="rId2" Type="http://schemas.openxmlformats.org/officeDocument/2006/relationships/image" Target="../media/image52.jpeg"/><Relationship Id="rId1" Type="http://schemas.openxmlformats.org/officeDocument/2006/relationships/slideLayout" Target="../slideLayouts/slideLayout2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descr="A picture containing sky, outdoor, grass, field&#10;&#10;Description automatically generated">
            <a:extLst>
              <a:ext uri="{FF2B5EF4-FFF2-40B4-BE49-F238E27FC236}">
                <a16:creationId xmlns:a16="http://schemas.microsoft.com/office/drawing/2014/main" id="{01A0C2CF-B1C1-4969-84D5-D45959E43BAD}"/>
              </a:ext>
            </a:extLst>
          </p:cNvPr>
          <p:cNvPicPr>
            <a:picLocks noGrp="1" noChangeAspect="1"/>
          </p:cNvPicPr>
          <p:nvPr>
            <p:ph type="pic" sz="quarter" idx="25"/>
          </p:nvPr>
        </p:nvPicPr>
        <p:blipFill rotWithShape="1">
          <a:blip r:embed="rId3" cstate="print">
            <a:extLst>
              <a:ext uri="{28A0092B-C50C-407E-A947-70E740481C1C}">
                <a14:useLocalDpi xmlns:a14="http://schemas.microsoft.com/office/drawing/2010/main" val="0"/>
              </a:ext>
            </a:extLst>
          </a:blip>
          <a:srcRect t="18845" b="18845"/>
          <a:stretch/>
        </p:blipFill>
        <p:spPr>
          <a:xfrm>
            <a:off x="0" y="1"/>
            <a:ext cx="10668001" cy="5696907"/>
          </a:xfrm>
        </p:spPr>
      </p:pic>
      <p:sp>
        <p:nvSpPr>
          <p:cNvPr id="14" name="Text Placeholder 13">
            <a:extLst>
              <a:ext uri="{FF2B5EF4-FFF2-40B4-BE49-F238E27FC236}">
                <a16:creationId xmlns:a16="http://schemas.microsoft.com/office/drawing/2014/main" id="{5BFD8533-BB9C-4A59-9B96-916BD9ED3F4A}"/>
              </a:ext>
            </a:extLst>
          </p:cNvPr>
          <p:cNvSpPr>
            <a:spLocks noGrp="1"/>
          </p:cNvSpPr>
          <p:nvPr>
            <p:ph type="body" sz="quarter" idx="500"/>
          </p:nvPr>
        </p:nvSpPr>
        <p:spPr>
          <a:xfrm>
            <a:off x="8197517" y="5204026"/>
            <a:ext cx="2254584" cy="304699"/>
          </a:xfrm>
        </p:spPr>
        <p:txBody>
          <a:bodyPr/>
          <a:lstStyle/>
          <a:p>
            <a:r>
              <a:rPr lang="en-US" dirty="0"/>
              <a:t>Beaver Dam Farm, </a:t>
            </a:r>
            <a:br>
              <a:rPr lang="en-US" dirty="0"/>
            </a:br>
            <a:r>
              <a:rPr lang="en-US" dirty="0"/>
              <a:t>Roanoke Region </a:t>
            </a:r>
          </a:p>
        </p:txBody>
      </p:sp>
      <p:sp>
        <p:nvSpPr>
          <p:cNvPr id="4" name="Title 3">
            <a:extLst>
              <a:ext uri="{FF2B5EF4-FFF2-40B4-BE49-F238E27FC236}">
                <a16:creationId xmlns:a16="http://schemas.microsoft.com/office/drawing/2014/main" id="{4FB68C05-A3C4-462F-A8EE-8E06A814B643}"/>
              </a:ext>
            </a:extLst>
          </p:cNvPr>
          <p:cNvSpPr>
            <a:spLocks noGrp="1"/>
          </p:cNvSpPr>
          <p:nvPr>
            <p:ph type="title"/>
          </p:nvPr>
        </p:nvSpPr>
        <p:spPr/>
        <p:txBody>
          <a:bodyPr/>
          <a:lstStyle/>
          <a:p>
            <a:r>
              <a:rPr lang="en-US" sz="3300" dirty="0"/>
              <a:t>Virginia Office </a:t>
            </a:r>
            <a:br>
              <a:rPr lang="en-US" sz="3300" dirty="0"/>
            </a:br>
            <a:r>
              <a:rPr lang="en-US" sz="3300" dirty="0"/>
              <a:t>of Education Economics (VOEE)</a:t>
            </a:r>
            <a:endParaRPr lang="en-CA" sz="3300" dirty="0"/>
          </a:p>
        </p:txBody>
      </p:sp>
      <p:sp>
        <p:nvSpPr>
          <p:cNvPr id="13" name="Text Placeholder 12">
            <a:extLst>
              <a:ext uri="{FF2B5EF4-FFF2-40B4-BE49-F238E27FC236}">
                <a16:creationId xmlns:a16="http://schemas.microsoft.com/office/drawing/2014/main" id="{04C81C78-73D1-41E0-9FBF-F3BF2E03D8D1}"/>
              </a:ext>
            </a:extLst>
          </p:cNvPr>
          <p:cNvSpPr>
            <a:spLocks noGrp="1"/>
          </p:cNvSpPr>
          <p:nvPr>
            <p:ph type="body" sz="quarter" idx="26"/>
          </p:nvPr>
        </p:nvSpPr>
        <p:spPr/>
        <p:txBody>
          <a:bodyPr/>
          <a:lstStyle/>
          <a:p>
            <a:r>
              <a:rPr lang="en-US" dirty="0"/>
              <a:t>March 2022</a:t>
            </a:r>
          </a:p>
        </p:txBody>
      </p:sp>
      <p:sp>
        <p:nvSpPr>
          <p:cNvPr id="3" name="TextBox 2">
            <a:extLst>
              <a:ext uri="{FF2B5EF4-FFF2-40B4-BE49-F238E27FC236}">
                <a16:creationId xmlns:a16="http://schemas.microsoft.com/office/drawing/2014/main" id="{D9C1D780-CF86-1943-80ED-F90A86D83547}"/>
              </a:ext>
            </a:extLst>
          </p:cNvPr>
          <p:cNvSpPr txBox="1"/>
          <p:nvPr/>
        </p:nvSpPr>
        <p:spPr>
          <a:xfrm>
            <a:off x="9902688" y="6559826"/>
            <a:ext cx="65" cy="215444"/>
          </a:xfrm>
          <a:prstGeom prst="rect">
            <a:avLst/>
          </a:prstGeom>
        </p:spPr>
        <p:txBody>
          <a:bodyPr vert="horz" wrap="none" lIns="0" tIns="0" rIns="0" bIns="0" rtlCol="0" anchor="t">
            <a:spAutoFit/>
          </a:bodyPr>
          <a:lstStyle/>
          <a:p>
            <a:pPr algn="l"/>
            <a:endParaRPr lang="en-US" sz="1400" dirty="0" err="1">
              <a:latin typeface="Arial" charset="0"/>
              <a:ea typeface="Arial" charset="0"/>
              <a:cs typeface="Arial" charset="0"/>
            </a:endParaRPr>
          </a:p>
        </p:txBody>
      </p:sp>
    </p:spTree>
    <p:extLst>
      <p:ext uri="{BB962C8B-B14F-4D97-AF65-F5344CB8AC3E}">
        <p14:creationId xmlns:p14="http://schemas.microsoft.com/office/powerpoint/2010/main" val="285742423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0DA3E44D-C688-4DD0-B6B0-675A51B35333}"/>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l="1356" t="12847" r="13248" b="27450"/>
          <a:stretch/>
        </p:blipFill>
        <p:spPr>
          <a:xfrm>
            <a:off x="1" y="1112838"/>
            <a:ext cx="12192001" cy="5745162"/>
          </a:xfrm>
        </p:spPr>
      </p:pic>
      <p:sp>
        <p:nvSpPr>
          <p:cNvPr id="20" name="Text Placeholder 19">
            <a:extLst>
              <a:ext uri="{FF2B5EF4-FFF2-40B4-BE49-F238E27FC236}">
                <a16:creationId xmlns:a16="http://schemas.microsoft.com/office/drawing/2014/main" id="{79569CED-F72D-41CA-918D-40E675FBA0FE}"/>
              </a:ext>
            </a:extLst>
          </p:cNvPr>
          <p:cNvSpPr>
            <a:spLocks noGrp="1"/>
          </p:cNvSpPr>
          <p:nvPr>
            <p:ph type="body" sz="quarter" idx="200"/>
          </p:nvPr>
        </p:nvSpPr>
        <p:spPr/>
        <p:txBody>
          <a:bodyPr/>
          <a:lstStyle/>
          <a:p>
            <a:pPr lvl="1"/>
            <a:r>
              <a:rPr lang="en-US" sz="1600"/>
              <a:t>In January 2021, </a:t>
            </a:r>
            <a:r>
              <a:rPr lang="en-US" sz="1600" err="1"/>
              <a:t>SB1314</a:t>
            </a:r>
            <a:r>
              <a:rPr lang="en-US" sz="1600"/>
              <a:t> created the new office of education and labor market alignment at VEDP, with two complementary functions:</a:t>
            </a:r>
          </a:p>
          <a:p>
            <a:pPr lvl="1"/>
            <a:endParaRPr lang="en-US" sz="1600"/>
          </a:p>
          <a:p>
            <a:pPr marL="265176" lvl="1" indent="-265176">
              <a:buFont typeface="System Font Regular"/>
              <a:buAutoNum type="arabicPeriod"/>
            </a:pPr>
            <a:r>
              <a:rPr lang="en-US" sz="1600"/>
              <a:t>Provide a unified, consistent source of analysis for policy development and implementation related to talent development</a:t>
            </a:r>
          </a:p>
          <a:p>
            <a:pPr marL="265176" lvl="1" indent="-265176">
              <a:buFont typeface="System Font Regular"/>
              <a:buAutoNum type="arabicPeriod"/>
            </a:pPr>
            <a:endParaRPr lang="en-US" sz="1600"/>
          </a:p>
          <a:p>
            <a:pPr marL="265176" lvl="1" indent="-265176">
              <a:buFont typeface="System Font Regular"/>
              <a:buAutoNum type="arabicPeriod"/>
            </a:pPr>
            <a:r>
              <a:rPr lang="en-US" sz="1600"/>
              <a:t>Offer resources and expertise related to education and labor market alignment</a:t>
            </a:r>
          </a:p>
          <a:p>
            <a:pPr lvl="1"/>
            <a:endParaRPr lang="en-US" sz="1600"/>
          </a:p>
          <a:p>
            <a:pPr lvl="1"/>
            <a:r>
              <a:rPr lang="en-US" sz="1600"/>
              <a:t>We work closely with key partners to accomplish our mandate. </a:t>
            </a:r>
            <a:r>
              <a:rPr lang="en-US" sz="1600" err="1"/>
              <a:t>VOEE’s</a:t>
            </a:r>
            <a:r>
              <a:rPr lang="en-US" sz="1600"/>
              <a:t> key partners include the Virginia Dept of Labor, the Virginia Secretariat of Commerce &amp; Trade, SCHEV, Higher education institutions, Virginia Dept of Education, Virginia Employment Commission, GO Virginia, Virginia Board of Workforce Development, and other workforce partners.</a:t>
            </a:r>
          </a:p>
        </p:txBody>
      </p:sp>
      <p:sp>
        <p:nvSpPr>
          <p:cNvPr id="18" name="Title 17">
            <a:extLst>
              <a:ext uri="{FF2B5EF4-FFF2-40B4-BE49-F238E27FC236}">
                <a16:creationId xmlns:a16="http://schemas.microsoft.com/office/drawing/2014/main" id="{C56C2C2B-BCED-40AC-8710-50D8BA8DAFCE}"/>
              </a:ext>
            </a:extLst>
          </p:cNvPr>
          <p:cNvSpPr>
            <a:spLocks noGrp="1"/>
          </p:cNvSpPr>
          <p:nvPr>
            <p:ph type="title"/>
          </p:nvPr>
        </p:nvSpPr>
        <p:spPr/>
        <p:txBody>
          <a:bodyPr/>
          <a:lstStyle/>
          <a:p>
            <a:r>
              <a:rPr lang="en-US"/>
              <a:t>What we Do</a:t>
            </a:r>
          </a:p>
        </p:txBody>
      </p:sp>
      <p:sp>
        <p:nvSpPr>
          <p:cNvPr id="21" name="Text Placeholder 20">
            <a:extLst>
              <a:ext uri="{FF2B5EF4-FFF2-40B4-BE49-F238E27FC236}">
                <a16:creationId xmlns:a16="http://schemas.microsoft.com/office/drawing/2014/main" id="{F6A74F73-8DE3-492B-9DA9-1E366BE1F31D}"/>
              </a:ext>
            </a:extLst>
          </p:cNvPr>
          <p:cNvSpPr>
            <a:spLocks noGrp="1"/>
          </p:cNvSpPr>
          <p:nvPr>
            <p:ph type="body" sz="quarter" idx="500"/>
          </p:nvPr>
        </p:nvSpPr>
        <p:spPr/>
        <p:txBody>
          <a:bodyPr/>
          <a:lstStyle/>
          <a:p>
            <a:r>
              <a:rPr lang="en-US"/>
              <a:t>Virginia Tech</a:t>
            </a:r>
          </a:p>
        </p:txBody>
      </p:sp>
      <p:sp>
        <p:nvSpPr>
          <p:cNvPr id="3" name="Slide Number Placeholder 2">
            <a:extLst>
              <a:ext uri="{FF2B5EF4-FFF2-40B4-BE49-F238E27FC236}">
                <a16:creationId xmlns:a16="http://schemas.microsoft.com/office/drawing/2014/main" id="{D5B564DF-9FBE-4DAC-9280-A8D778DF4139}"/>
              </a:ext>
            </a:extLst>
          </p:cNvPr>
          <p:cNvSpPr>
            <a:spLocks noGrp="1"/>
          </p:cNvSpPr>
          <p:nvPr>
            <p:ph type="sldNum" sz="quarter" idx="112"/>
          </p:nvPr>
        </p:nvSpPr>
        <p:spPr/>
        <p:txBody>
          <a:bodyPr/>
          <a:lstStyle/>
          <a:p>
            <a:pPr marL="12700"/>
            <a:fld id="{078C017C-E1B9-8443-B047-B08AAA027B45}" type="slidenum">
              <a:rPr lang="en-US" smtClean="0"/>
              <a:pPr marL="12700"/>
              <a:t>2</a:t>
            </a:fld>
            <a:endParaRPr lang="en-US"/>
          </a:p>
        </p:txBody>
      </p:sp>
    </p:spTree>
    <p:extLst>
      <p:ext uri="{BB962C8B-B14F-4D97-AF65-F5344CB8AC3E}">
        <p14:creationId xmlns:p14="http://schemas.microsoft.com/office/powerpoint/2010/main" val="181034629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F963551E-437E-49C7-B627-A5D80572B4A3}"/>
              </a:ext>
            </a:extLst>
          </p:cNvPr>
          <p:cNvSpPr>
            <a:spLocks noGrp="1"/>
          </p:cNvSpPr>
          <p:nvPr>
            <p:ph type="title"/>
          </p:nvPr>
        </p:nvSpPr>
        <p:spPr/>
        <p:txBody>
          <a:bodyPr/>
          <a:lstStyle/>
          <a:p>
            <a:r>
              <a:rPr lang="en-US" dirty="0"/>
              <a:t>Non –Degree Credentials in Our work</a:t>
            </a:r>
          </a:p>
        </p:txBody>
      </p:sp>
      <p:sp>
        <p:nvSpPr>
          <p:cNvPr id="7" name="Slide Number Placeholder 6">
            <a:extLst>
              <a:ext uri="{FF2B5EF4-FFF2-40B4-BE49-F238E27FC236}">
                <a16:creationId xmlns:a16="http://schemas.microsoft.com/office/drawing/2014/main" id="{2E150556-2D09-4D23-8E35-FE3650AB93F1}"/>
              </a:ext>
            </a:extLst>
          </p:cNvPr>
          <p:cNvSpPr>
            <a:spLocks noGrp="1"/>
          </p:cNvSpPr>
          <p:nvPr>
            <p:ph type="sldNum" sz="quarter" idx="1003"/>
          </p:nvPr>
        </p:nvSpPr>
        <p:spPr/>
        <p:txBody>
          <a:bodyPr/>
          <a:lstStyle/>
          <a:p>
            <a:pPr marL="12700"/>
            <a:fld id="{078C017C-E1B9-8443-B047-B08AAA027B45}" type="slidenum">
              <a:rPr lang="en-US" smtClean="0"/>
              <a:pPr marL="12700"/>
              <a:t>3</a:t>
            </a:fld>
            <a:endParaRPr lang="en-US"/>
          </a:p>
        </p:txBody>
      </p:sp>
      <p:pic>
        <p:nvPicPr>
          <p:cNvPr id="28" name="Graphic 27">
            <a:extLst>
              <a:ext uri="{FF2B5EF4-FFF2-40B4-BE49-F238E27FC236}">
                <a16:creationId xmlns:a16="http://schemas.microsoft.com/office/drawing/2014/main" id="{56571184-5449-498F-8B6D-A79E7645669D}"/>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rcRect r="72903"/>
          <a:stretch/>
        </p:blipFill>
        <p:spPr>
          <a:xfrm>
            <a:off x="419207" y="2920137"/>
            <a:ext cx="8848942" cy="1463040"/>
          </a:xfrm>
          <a:custGeom>
            <a:avLst/>
            <a:gdLst>
              <a:gd name="connsiteX0" fmla="*/ 0 w 8848942"/>
              <a:gd name="connsiteY0" fmla="*/ 0 h 1463040"/>
              <a:gd name="connsiteX1" fmla="*/ 2773262 w 8848942"/>
              <a:gd name="connsiteY1" fmla="*/ 0 h 1463040"/>
              <a:gd name="connsiteX2" fmla="*/ 6075680 w 8848942"/>
              <a:gd name="connsiteY2" fmla="*/ 0 h 1463040"/>
              <a:gd name="connsiteX3" fmla="*/ 8848942 w 8848942"/>
              <a:gd name="connsiteY3" fmla="*/ 0 h 1463040"/>
              <a:gd name="connsiteX4" fmla="*/ 8848942 w 8848942"/>
              <a:gd name="connsiteY4" fmla="*/ 1463040 h 1463040"/>
              <a:gd name="connsiteX5" fmla="*/ 6075680 w 8848942"/>
              <a:gd name="connsiteY5" fmla="*/ 1463040 h 1463040"/>
              <a:gd name="connsiteX6" fmla="*/ 2773262 w 8848942"/>
              <a:gd name="connsiteY6" fmla="*/ 1463040 h 1463040"/>
              <a:gd name="connsiteX7" fmla="*/ 0 w 8848942"/>
              <a:gd name="connsiteY7" fmla="*/ 1463040 h 146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48942" h="1463040">
                <a:moveTo>
                  <a:pt x="0" y="0"/>
                </a:moveTo>
                <a:lnTo>
                  <a:pt x="2773262" y="0"/>
                </a:lnTo>
                <a:lnTo>
                  <a:pt x="6075680" y="0"/>
                </a:lnTo>
                <a:lnTo>
                  <a:pt x="8848942" y="0"/>
                </a:lnTo>
                <a:lnTo>
                  <a:pt x="8848942" y="1463040"/>
                </a:lnTo>
                <a:lnTo>
                  <a:pt x="6075680" y="1463040"/>
                </a:lnTo>
                <a:lnTo>
                  <a:pt x="2773262" y="1463040"/>
                </a:lnTo>
                <a:lnTo>
                  <a:pt x="0" y="1463040"/>
                </a:lnTo>
                <a:close/>
              </a:path>
            </a:pathLst>
          </a:custGeom>
        </p:spPr>
      </p:pic>
      <p:pic>
        <p:nvPicPr>
          <p:cNvPr id="30" name="Graphic 29">
            <a:extLst>
              <a:ext uri="{FF2B5EF4-FFF2-40B4-BE49-F238E27FC236}">
                <a16:creationId xmlns:a16="http://schemas.microsoft.com/office/drawing/2014/main" id="{CF2CBAAC-481D-4360-B807-300B1AFDEC64}"/>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rcRect r="72524"/>
          <a:stretch/>
        </p:blipFill>
        <p:spPr>
          <a:xfrm>
            <a:off x="461851" y="4676553"/>
            <a:ext cx="8806297" cy="1463040"/>
          </a:xfrm>
          <a:custGeom>
            <a:avLst/>
            <a:gdLst>
              <a:gd name="connsiteX0" fmla="*/ 0 w 8806297"/>
              <a:gd name="connsiteY0" fmla="*/ 0 h 1463040"/>
              <a:gd name="connsiteX1" fmla="*/ 2773262 w 8806297"/>
              <a:gd name="connsiteY1" fmla="*/ 0 h 1463040"/>
              <a:gd name="connsiteX2" fmla="*/ 6033035 w 8806297"/>
              <a:gd name="connsiteY2" fmla="*/ 0 h 1463040"/>
              <a:gd name="connsiteX3" fmla="*/ 8806297 w 8806297"/>
              <a:gd name="connsiteY3" fmla="*/ 0 h 1463040"/>
              <a:gd name="connsiteX4" fmla="*/ 8806297 w 8806297"/>
              <a:gd name="connsiteY4" fmla="*/ 1463040 h 1463040"/>
              <a:gd name="connsiteX5" fmla="*/ 6033035 w 8806297"/>
              <a:gd name="connsiteY5" fmla="*/ 1463040 h 1463040"/>
              <a:gd name="connsiteX6" fmla="*/ 2773262 w 8806297"/>
              <a:gd name="connsiteY6" fmla="*/ 1463040 h 1463040"/>
              <a:gd name="connsiteX7" fmla="*/ 0 w 8806297"/>
              <a:gd name="connsiteY7" fmla="*/ 1463040 h 146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806297" h="1463040">
                <a:moveTo>
                  <a:pt x="0" y="0"/>
                </a:moveTo>
                <a:lnTo>
                  <a:pt x="2773262" y="0"/>
                </a:lnTo>
                <a:lnTo>
                  <a:pt x="6033035" y="0"/>
                </a:lnTo>
                <a:lnTo>
                  <a:pt x="8806297" y="0"/>
                </a:lnTo>
                <a:lnTo>
                  <a:pt x="8806297" y="1463040"/>
                </a:lnTo>
                <a:lnTo>
                  <a:pt x="6033035" y="1463040"/>
                </a:lnTo>
                <a:lnTo>
                  <a:pt x="2773262" y="1463040"/>
                </a:lnTo>
                <a:lnTo>
                  <a:pt x="0" y="1463040"/>
                </a:lnTo>
                <a:close/>
              </a:path>
            </a:pathLst>
          </a:custGeom>
        </p:spPr>
      </p:pic>
      <p:pic>
        <p:nvPicPr>
          <p:cNvPr id="29" name="Graphic 28">
            <a:extLst>
              <a:ext uri="{FF2B5EF4-FFF2-40B4-BE49-F238E27FC236}">
                <a16:creationId xmlns:a16="http://schemas.microsoft.com/office/drawing/2014/main" id="{2085F7B8-DF8E-4F23-BC41-EBBDA30C9DB7}"/>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asvg="http://schemas.microsoft.com/office/drawing/2016/SVG/main" r:embed="rId7"/>
              </a:ext>
            </a:extLst>
          </a:blip>
          <a:srcRect r="73308"/>
          <a:stretch>
            <a:fillRect/>
          </a:stretch>
        </p:blipFill>
        <p:spPr>
          <a:xfrm>
            <a:off x="551379" y="1233640"/>
            <a:ext cx="8716768" cy="1463040"/>
          </a:xfrm>
          <a:custGeom>
            <a:avLst/>
            <a:gdLst>
              <a:gd name="connsiteX0" fmla="*/ 0 w 8716768"/>
              <a:gd name="connsiteY0" fmla="*/ 0 h 1463040"/>
              <a:gd name="connsiteX1" fmla="*/ 2773262 w 8716768"/>
              <a:gd name="connsiteY1" fmla="*/ 0 h 1463040"/>
              <a:gd name="connsiteX2" fmla="*/ 5943506 w 8716768"/>
              <a:gd name="connsiteY2" fmla="*/ 0 h 1463040"/>
              <a:gd name="connsiteX3" fmla="*/ 8716768 w 8716768"/>
              <a:gd name="connsiteY3" fmla="*/ 0 h 1463040"/>
              <a:gd name="connsiteX4" fmla="*/ 8716768 w 8716768"/>
              <a:gd name="connsiteY4" fmla="*/ 1463040 h 1463040"/>
              <a:gd name="connsiteX5" fmla="*/ 5943506 w 8716768"/>
              <a:gd name="connsiteY5" fmla="*/ 1463040 h 1463040"/>
              <a:gd name="connsiteX6" fmla="*/ 2773262 w 8716768"/>
              <a:gd name="connsiteY6" fmla="*/ 1463040 h 1463040"/>
              <a:gd name="connsiteX7" fmla="*/ 0 w 8716768"/>
              <a:gd name="connsiteY7" fmla="*/ 1463040 h 1463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716768" h="1463040">
                <a:moveTo>
                  <a:pt x="0" y="0"/>
                </a:moveTo>
                <a:lnTo>
                  <a:pt x="2773262" y="0"/>
                </a:lnTo>
                <a:lnTo>
                  <a:pt x="5943506" y="0"/>
                </a:lnTo>
                <a:lnTo>
                  <a:pt x="8716768" y="0"/>
                </a:lnTo>
                <a:lnTo>
                  <a:pt x="8716768" y="1463040"/>
                </a:lnTo>
                <a:lnTo>
                  <a:pt x="5943506" y="1463040"/>
                </a:lnTo>
                <a:lnTo>
                  <a:pt x="2773262" y="1463040"/>
                </a:lnTo>
                <a:lnTo>
                  <a:pt x="0" y="1463040"/>
                </a:lnTo>
                <a:close/>
              </a:path>
            </a:pathLst>
          </a:custGeom>
        </p:spPr>
      </p:pic>
      <p:sp>
        <p:nvSpPr>
          <p:cNvPr id="13" name="Text Placeholder 2">
            <a:extLst>
              <a:ext uri="{FF2B5EF4-FFF2-40B4-BE49-F238E27FC236}">
                <a16:creationId xmlns:a16="http://schemas.microsoft.com/office/drawing/2014/main" id="{7C0964A9-FCC4-4B3A-83D5-34ED9B5125FA}"/>
              </a:ext>
            </a:extLst>
          </p:cNvPr>
          <p:cNvSpPr txBox="1">
            <a:spLocks/>
          </p:cNvSpPr>
          <p:nvPr/>
        </p:nvSpPr>
        <p:spPr>
          <a:xfrm>
            <a:off x="1779642" y="1227685"/>
            <a:ext cx="4834527" cy="1468996"/>
          </a:xfrm>
          <a:prstGeom prst="rect">
            <a:avLst/>
          </a:prstGeom>
        </p:spPr>
        <p:txBody>
          <a:bodyPr lIns="91440" tIns="45720" rIns="91440" bIns="45720" anchor="ctr" anchorCtr="0"/>
          <a:lst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sz="14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508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1800">
              <a:solidFill>
                <a:schemeClr val="bg1"/>
              </a:solidFill>
              <a:cs typeface="Arial"/>
            </a:endParaRPr>
          </a:p>
          <a:p>
            <a:pPr lvl="1"/>
            <a:endParaRPr lang="en-US">
              <a:solidFill>
                <a:schemeClr val="bg1"/>
              </a:solidFill>
            </a:endParaRPr>
          </a:p>
        </p:txBody>
      </p:sp>
      <p:sp>
        <p:nvSpPr>
          <p:cNvPr id="14" name="Text Placeholder 2">
            <a:extLst>
              <a:ext uri="{FF2B5EF4-FFF2-40B4-BE49-F238E27FC236}">
                <a16:creationId xmlns:a16="http://schemas.microsoft.com/office/drawing/2014/main" id="{BE052F09-27BD-433D-B598-1E50F0381285}"/>
              </a:ext>
            </a:extLst>
          </p:cNvPr>
          <p:cNvSpPr txBox="1">
            <a:spLocks/>
          </p:cNvSpPr>
          <p:nvPr/>
        </p:nvSpPr>
        <p:spPr>
          <a:xfrm>
            <a:off x="1791564" y="2917100"/>
            <a:ext cx="4703321" cy="1477535"/>
          </a:xfrm>
          <a:prstGeom prst="rect">
            <a:avLst/>
          </a:prstGeom>
        </p:spPr>
        <p:txBody>
          <a:bodyPr vert="horz" lIns="91440" tIns="45720" rIns="91440" bIns="45720" rtlCol="0" anchor="ctr" anchorCtr="0">
            <a:noAutofit/>
          </a:bodyPr>
          <a:lst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sz="14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508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1800">
              <a:solidFill>
                <a:schemeClr val="bg1"/>
              </a:solidFill>
              <a:cs typeface="Arial"/>
            </a:endParaRPr>
          </a:p>
          <a:p>
            <a:pPr lvl="1"/>
            <a:endParaRPr lang="en-US">
              <a:solidFill>
                <a:schemeClr val="bg1"/>
              </a:solidFill>
              <a:cs typeface="Arial"/>
            </a:endParaRPr>
          </a:p>
        </p:txBody>
      </p:sp>
      <p:sp>
        <p:nvSpPr>
          <p:cNvPr id="15" name="Text Placeholder 2">
            <a:extLst>
              <a:ext uri="{FF2B5EF4-FFF2-40B4-BE49-F238E27FC236}">
                <a16:creationId xmlns:a16="http://schemas.microsoft.com/office/drawing/2014/main" id="{5CA55E6F-2292-46EB-93EA-FE3165547FA5}"/>
              </a:ext>
            </a:extLst>
          </p:cNvPr>
          <p:cNvSpPr txBox="1">
            <a:spLocks/>
          </p:cNvSpPr>
          <p:nvPr/>
        </p:nvSpPr>
        <p:spPr>
          <a:xfrm>
            <a:off x="1791564" y="4673516"/>
            <a:ext cx="4703321" cy="1463040"/>
          </a:xfrm>
          <a:prstGeom prst="rect">
            <a:avLst/>
          </a:prstGeom>
        </p:spPr>
        <p:txBody>
          <a:bodyPr vert="horz" lIns="91440" tIns="45720" rIns="91440" bIns="45720" rtlCol="0" anchor="ctr" anchorCtr="0">
            <a:noAutofit/>
          </a:bodyPr>
          <a:lstStyle>
            <a:lvl1pPr marL="0" marR="0" indent="0" algn="l" defTabSz="914400" rtl="0" eaLnBrk="1" fontAlgn="auto" latinLnBrk="0" hangingPunct="1">
              <a:lnSpc>
                <a:spcPct val="90000"/>
              </a:lnSpc>
              <a:spcBef>
                <a:spcPts val="600"/>
              </a:spcBef>
              <a:spcAft>
                <a:spcPts val="300"/>
              </a:spcAft>
              <a:buClrTx/>
              <a:buSzTx/>
              <a:buFont typeface="Wingdings" pitchFamily="2" charset="2"/>
              <a:buNone/>
              <a:tabLst/>
              <a:defRPr sz="1400" b="1" kern="1200">
                <a:solidFill>
                  <a:schemeClr val="accent1"/>
                </a:solidFill>
                <a:latin typeface="+mn-lt"/>
                <a:ea typeface="+mn-ea"/>
                <a:cs typeface="+mn-cs"/>
              </a:defRPr>
            </a:lvl1pPr>
            <a:lvl2pPr marL="0" indent="0" algn="l" defTabSz="914400" rtl="0" eaLnBrk="1" latinLnBrk="0" hangingPunct="1">
              <a:lnSpc>
                <a:spcPct val="90000"/>
              </a:lnSpc>
              <a:spcBef>
                <a:spcPts val="0"/>
              </a:spcBef>
              <a:spcAft>
                <a:spcPts val="300"/>
              </a:spcAft>
              <a:buFont typeface="System Font Regular"/>
              <a:buNone/>
              <a:tabLst/>
              <a:defRPr sz="1400" kern="1200">
                <a:solidFill>
                  <a:schemeClr val="tx1"/>
                </a:solidFill>
                <a:latin typeface="+mn-lt"/>
                <a:ea typeface="+mn-ea"/>
                <a:cs typeface="+mn-cs"/>
              </a:defRPr>
            </a:lvl2pPr>
            <a:lvl3pPr marL="266700" indent="-266700" algn="l" defTabSz="914400" rtl="0" eaLnBrk="1" latinLnBrk="0" hangingPunct="1">
              <a:lnSpc>
                <a:spcPct val="90000"/>
              </a:lnSpc>
              <a:spcBef>
                <a:spcPts val="0"/>
              </a:spcBef>
              <a:spcAft>
                <a:spcPts val="300"/>
              </a:spcAft>
              <a:buFont typeface="Wingdings" pitchFamily="2" charset="2"/>
              <a:buChar char="§"/>
              <a:tabLst/>
              <a:defRPr sz="1400" kern="1200">
                <a:solidFill>
                  <a:schemeClr val="tx1"/>
                </a:solidFill>
                <a:latin typeface="+mn-lt"/>
                <a:ea typeface="+mn-ea"/>
                <a:cs typeface="+mn-cs"/>
              </a:defRPr>
            </a:lvl3pPr>
            <a:lvl4pPr marL="5508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4pPr>
            <a:lvl5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5pPr>
            <a:lvl6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6pPr>
            <a:lvl7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7pPr>
            <a:lvl8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8pPr>
            <a:lvl9pPr marL="835200" indent="-266400" algn="l" defTabSz="914400" rtl="0" eaLnBrk="1" latinLnBrk="0" hangingPunct="1">
              <a:lnSpc>
                <a:spcPct val="90000"/>
              </a:lnSpc>
              <a:spcBef>
                <a:spcPts val="0"/>
              </a:spcBef>
              <a:spcAft>
                <a:spcPts val="300"/>
              </a:spcAft>
              <a:buFont typeface="System Font Regular"/>
              <a:buChar char="–"/>
              <a:tabLst/>
              <a:defRPr sz="1400" kern="1200">
                <a:solidFill>
                  <a:schemeClr val="tx1"/>
                </a:solidFill>
                <a:latin typeface="+mn-lt"/>
                <a:ea typeface="+mn-ea"/>
                <a:cs typeface="+mn-cs"/>
              </a:defRPr>
            </a:lvl9pPr>
          </a:lstStyle>
          <a:p>
            <a:endParaRPr lang="en-US" sz="1800">
              <a:solidFill>
                <a:schemeClr val="bg1"/>
              </a:solidFill>
              <a:cs typeface="Arial"/>
            </a:endParaRPr>
          </a:p>
          <a:p>
            <a:pPr lvl="1"/>
            <a:endParaRPr lang="en-US">
              <a:solidFill>
                <a:schemeClr val="bg1"/>
              </a:solidFill>
              <a:cs typeface="Arial"/>
            </a:endParaRPr>
          </a:p>
        </p:txBody>
      </p:sp>
      <p:pic>
        <p:nvPicPr>
          <p:cNvPr id="16" name="Picture Placeholder 11" descr="A picture containing text&#10;&#10;Description automatically generated">
            <a:extLst>
              <a:ext uri="{FF2B5EF4-FFF2-40B4-BE49-F238E27FC236}">
                <a16:creationId xmlns:a16="http://schemas.microsoft.com/office/drawing/2014/main" id="{3F769F11-6126-4231-BBBC-F42AAA4E4B07}"/>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r="-26"/>
          <a:stretch/>
        </p:blipFill>
        <p:spPr>
          <a:xfrm>
            <a:off x="9448472" y="1230722"/>
            <a:ext cx="2172295" cy="1466077"/>
          </a:xfrm>
          <a:prstGeom prst="rect">
            <a:avLst/>
          </a:prstGeom>
          <a:solidFill>
            <a:schemeClr val="accent2"/>
          </a:solidFill>
        </p:spPr>
      </p:pic>
      <p:pic>
        <p:nvPicPr>
          <p:cNvPr id="17" name="Picture 3">
            <a:extLst>
              <a:ext uri="{FF2B5EF4-FFF2-40B4-BE49-F238E27FC236}">
                <a16:creationId xmlns:a16="http://schemas.microsoft.com/office/drawing/2014/main" id="{930425F0-B14C-4606-A645-16AFE1549ED1}"/>
              </a:ext>
            </a:extLst>
          </p:cNvPr>
          <p:cNvPicPr>
            <a:picLocks noChangeAspect="1"/>
          </p:cNvPicPr>
          <p:nvPr/>
        </p:nvPicPr>
        <p:blipFill rotWithShape="1">
          <a:blip r:embed="rId9">
            <a:extLst>
              <a:ext uri="{28A0092B-C50C-407E-A947-70E740481C1C}">
                <a14:useLocalDpi xmlns:a14="http://schemas.microsoft.com/office/drawing/2010/main"/>
              </a:ext>
            </a:extLst>
          </a:blip>
          <a:srcRect/>
          <a:stretch/>
        </p:blipFill>
        <p:spPr>
          <a:xfrm>
            <a:off x="9448472" y="2928558"/>
            <a:ext cx="2172295" cy="1466077"/>
          </a:xfrm>
          <a:prstGeom prst="rect">
            <a:avLst/>
          </a:prstGeom>
        </p:spPr>
      </p:pic>
      <p:pic>
        <p:nvPicPr>
          <p:cNvPr id="18" name="Picture 16" descr="A picture containing person, person, indoor, working&#10;&#10;Description automatically generated">
            <a:extLst>
              <a:ext uri="{FF2B5EF4-FFF2-40B4-BE49-F238E27FC236}">
                <a16:creationId xmlns:a16="http://schemas.microsoft.com/office/drawing/2014/main" id="{149C0F55-82A2-4B19-91C6-57E538F6B167}"/>
              </a:ext>
            </a:extLst>
          </p:cNvPr>
          <p:cNvPicPr>
            <a:picLocks noChangeAspect="1"/>
          </p:cNvPicPr>
          <p:nvPr/>
        </p:nvPicPr>
        <p:blipFill rotWithShape="1">
          <a:blip r:embed="rId10">
            <a:extLst>
              <a:ext uri="{28A0092B-C50C-407E-A947-70E740481C1C}">
                <a14:useLocalDpi xmlns:a14="http://schemas.microsoft.com/office/drawing/2010/main"/>
              </a:ext>
            </a:extLst>
          </a:blip>
          <a:srcRect/>
          <a:stretch/>
        </p:blipFill>
        <p:spPr>
          <a:xfrm>
            <a:off x="9448472" y="4675645"/>
            <a:ext cx="2167795" cy="1463040"/>
          </a:xfrm>
          <a:prstGeom prst="rect">
            <a:avLst/>
          </a:prstGeom>
        </p:spPr>
      </p:pic>
      <p:sp>
        <p:nvSpPr>
          <p:cNvPr id="19" name="TextBox 18">
            <a:extLst>
              <a:ext uri="{FF2B5EF4-FFF2-40B4-BE49-F238E27FC236}">
                <a16:creationId xmlns:a16="http://schemas.microsoft.com/office/drawing/2014/main" id="{F718E57B-FE5A-4E62-998B-1320FA5EE07D}"/>
              </a:ext>
            </a:extLst>
          </p:cNvPr>
          <p:cNvSpPr txBox="1"/>
          <p:nvPr/>
        </p:nvSpPr>
        <p:spPr>
          <a:xfrm>
            <a:off x="1649186" y="1518884"/>
            <a:ext cx="7456714" cy="46166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dirty="0">
                <a:solidFill>
                  <a:srgbClr val="FFFFFF"/>
                </a:solidFill>
                <a:ea typeface="Arial" charset="0"/>
                <a:cs typeface="Segoe UI"/>
              </a:rPr>
              <a:t>VA State-Wide Supply-Demand Comprehensive Labor Market Data Analysis​</a:t>
            </a:r>
          </a:p>
          <a:p>
            <a:r>
              <a:rPr lang="en-US" sz="1400" dirty="0">
                <a:solidFill>
                  <a:srgbClr val="FFFFFF"/>
                </a:solidFill>
                <a:cs typeface="Segoe UI"/>
              </a:rPr>
              <a:t>The majority of focus in the next year will be on creating this foundational data analysis.</a:t>
            </a:r>
          </a:p>
        </p:txBody>
      </p:sp>
      <p:sp>
        <p:nvSpPr>
          <p:cNvPr id="20" name="TextBox 19">
            <a:extLst>
              <a:ext uri="{FF2B5EF4-FFF2-40B4-BE49-F238E27FC236}">
                <a16:creationId xmlns:a16="http://schemas.microsoft.com/office/drawing/2014/main" id="{14563E6B-68F2-4B8E-8C98-F149748DB254}"/>
              </a:ext>
            </a:extLst>
          </p:cNvPr>
          <p:cNvSpPr txBox="1"/>
          <p:nvPr/>
        </p:nvSpPr>
        <p:spPr>
          <a:xfrm>
            <a:off x="1649186" y="3110740"/>
            <a:ext cx="7456714" cy="110799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dirty="0">
                <a:solidFill>
                  <a:srgbClr val="FFFFFF"/>
                </a:solidFill>
                <a:ea typeface="Arial" charset="0"/>
                <a:cs typeface="Segoe UI"/>
              </a:rPr>
              <a:t>Taking a look at existing non-degree credential data in Virginia</a:t>
            </a:r>
          </a:p>
          <a:p>
            <a:pPr marL="342900" indent="-342900">
              <a:buAutoNum type="arabicPeriod"/>
            </a:pPr>
            <a:r>
              <a:rPr lang="en-US" sz="1400" dirty="0">
                <a:solidFill>
                  <a:srgbClr val="FFFFFF"/>
                </a:solidFill>
                <a:cs typeface="Segoe UI"/>
              </a:rPr>
              <a:t>Workforce Credential Grant/Fast Forward – community colleges</a:t>
            </a:r>
          </a:p>
          <a:p>
            <a:pPr marL="342900" indent="-342900">
              <a:buAutoNum type="arabicPeriod"/>
            </a:pPr>
            <a:r>
              <a:rPr lang="en-US" sz="1400" dirty="0">
                <a:solidFill>
                  <a:srgbClr val="FFFFFF"/>
                </a:solidFill>
                <a:cs typeface="Segoe UI"/>
              </a:rPr>
              <a:t>Funding streams work – workforce and education </a:t>
            </a:r>
          </a:p>
          <a:p>
            <a:pPr marL="342900" indent="-342900">
              <a:buAutoNum type="arabicPeriod"/>
            </a:pPr>
            <a:r>
              <a:rPr lang="en-US" sz="1400" dirty="0">
                <a:solidFill>
                  <a:srgbClr val="FFFFFF"/>
                </a:solidFill>
                <a:cs typeface="Segoe UI"/>
              </a:rPr>
              <a:t>Differences in state data and institutional data</a:t>
            </a:r>
          </a:p>
          <a:p>
            <a:pPr marL="342900" indent="-342900">
              <a:buAutoNum type="arabicPeriod"/>
            </a:pPr>
            <a:r>
              <a:rPr lang="en-US" sz="1400" dirty="0">
                <a:solidFill>
                  <a:srgbClr val="FFFFFF"/>
                </a:solidFill>
                <a:cs typeface="Segoe UI"/>
              </a:rPr>
              <a:t>Bills in this session on non-degree credentials</a:t>
            </a:r>
            <a:endParaRPr lang="en-US" sz="1400" dirty="0">
              <a:solidFill>
                <a:schemeClr val="bg1"/>
              </a:solidFill>
            </a:endParaRPr>
          </a:p>
        </p:txBody>
      </p:sp>
      <p:sp>
        <p:nvSpPr>
          <p:cNvPr id="21" name="TextBox 20">
            <a:extLst>
              <a:ext uri="{FF2B5EF4-FFF2-40B4-BE49-F238E27FC236}">
                <a16:creationId xmlns:a16="http://schemas.microsoft.com/office/drawing/2014/main" id="{A2EA840A-862C-458C-8D75-082DE32CE509}"/>
              </a:ext>
            </a:extLst>
          </p:cNvPr>
          <p:cNvSpPr txBox="1"/>
          <p:nvPr/>
        </p:nvSpPr>
        <p:spPr>
          <a:xfrm>
            <a:off x="1649186" y="5061055"/>
            <a:ext cx="7268475" cy="89255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r>
              <a:rPr lang="en-US" sz="1600" b="1" dirty="0">
                <a:solidFill>
                  <a:srgbClr val="FFFFFF"/>
                </a:solidFill>
                <a:ea typeface="Arial" charset="0"/>
                <a:cs typeface="Segoe UI"/>
              </a:rPr>
              <a:t>Virginia Skills Initiative </a:t>
            </a:r>
          </a:p>
          <a:p>
            <a:r>
              <a:rPr lang="en-US" sz="1400" dirty="0">
                <a:solidFill>
                  <a:srgbClr val="FFFFFF"/>
                </a:solidFill>
                <a:ea typeface="Arial" charset="0"/>
                <a:cs typeface="Segoe UI"/>
              </a:rPr>
              <a:t>Develop two new data sets for Virginia. </a:t>
            </a:r>
          </a:p>
          <a:p>
            <a:pPr marL="265176" lvl="1" indent="-265176">
              <a:buFont typeface="System Font Regular"/>
              <a:buAutoNum type="arabicPeriod"/>
            </a:pPr>
            <a:r>
              <a:rPr lang="en-US" sz="1400" dirty="0">
                <a:solidFill>
                  <a:schemeClr val="bg1"/>
                </a:solidFill>
              </a:rPr>
              <a:t>Tracking alumni to gather info on occupation, job alignment w/ major, migration etc. </a:t>
            </a:r>
          </a:p>
          <a:p>
            <a:pPr marL="265176" lvl="1" indent="-265176">
              <a:buFont typeface="System Font Regular"/>
              <a:buAutoNum type="arabicPeriod"/>
            </a:pPr>
            <a:r>
              <a:rPr lang="en-US" sz="1400" dirty="0">
                <a:solidFill>
                  <a:schemeClr val="bg1"/>
                </a:solidFill>
              </a:rPr>
              <a:t>Develop a supply side skills data set </a:t>
            </a:r>
            <a:endParaRPr lang="en-US" sz="1600" dirty="0">
              <a:solidFill>
                <a:schemeClr val="bg1"/>
              </a:solidFill>
            </a:endParaRPr>
          </a:p>
        </p:txBody>
      </p:sp>
    </p:spTree>
    <p:extLst>
      <p:ext uri="{BB962C8B-B14F-4D97-AF65-F5344CB8AC3E}">
        <p14:creationId xmlns:p14="http://schemas.microsoft.com/office/powerpoint/2010/main" val="35664653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9E63C5D7-EE21-4613-878C-25290F2BD654}"/>
              </a:ext>
            </a:extLst>
          </p:cNvPr>
          <p:cNvPicPr>
            <a:picLocks noGrp="1" noChangeAspect="1"/>
          </p:cNvPicPr>
          <p:nvPr>
            <p:ph type="pic" sz="quarter" idx="13"/>
          </p:nvPr>
        </p:nvPicPr>
        <p:blipFill rotWithShape="1">
          <a:blip r:embed="rId2" cstate="print">
            <a:extLst>
              <a:ext uri="{28A0092B-C50C-407E-A947-70E740481C1C}">
                <a14:useLocalDpi xmlns:a14="http://schemas.microsoft.com/office/drawing/2010/main" val="0"/>
              </a:ext>
            </a:extLst>
          </a:blip>
          <a:srcRect t="8063" b="8063"/>
          <a:stretch/>
        </p:blipFill>
        <p:spPr/>
      </p:pic>
      <p:sp>
        <p:nvSpPr>
          <p:cNvPr id="3" name="Text Placeholder 2">
            <a:extLst>
              <a:ext uri="{FF2B5EF4-FFF2-40B4-BE49-F238E27FC236}">
                <a16:creationId xmlns:a16="http://schemas.microsoft.com/office/drawing/2014/main" id="{943E6637-22B9-4D29-8EE3-FAB41FF7DAC6}"/>
              </a:ext>
            </a:extLst>
          </p:cNvPr>
          <p:cNvSpPr>
            <a:spLocks noGrp="1"/>
          </p:cNvSpPr>
          <p:nvPr>
            <p:ph type="body" sz="quarter" idx="200"/>
          </p:nvPr>
        </p:nvSpPr>
        <p:spPr/>
        <p:txBody>
          <a:bodyPr/>
          <a:lstStyle/>
          <a:p>
            <a:r>
              <a:rPr lang="en-US" sz="1600" dirty="0"/>
              <a:t>HB 1275: Virginia Credential Registry </a:t>
            </a:r>
          </a:p>
          <a:p>
            <a:r>
              <a:rPr lang="en-US" b="0" dirty="0"/>
              <a:t>Virginia Credential Registry; established. Directs the State Council of Higher Education for Virginia to create the Virginia Credential Registry for the purpose of ensuring that the general public has access to essential information about all educational and occupational credentials that are delivered, issued, funded, recognized, authorized, overseen, or governed in the Commonwealth. The bill describes such credentials as all degrees, certificates, certifications, licenses, apprenticeships, military training, diplomas, and badges that are available in the Commonwealth. The bill sets out other information required to be included in the Registry and requires the Council to establish and populate the Registry no later than July 1, 2023, and report on its progress in implementing the Virginia Credential Registry to the General Assembly no later than October 1, 2023.</a:t>
            </a:r>
          </a:p>
        </p:txBody>
      </p:sp>
      <p:sp>
        <p:nvSpPr>
          <p:cNvPr id="2" name="Title 1">
            <a:extLst>
              <a:ext uri="{FF2B5EF4-FFF2-40B4-BE49-F238E27FC236}">
                <a16:creationId xmlns:a16="http://schemas.microsoft.com/office/drawing/2014/main" id="{B1704B57-DBD9-45DD-81C6-4F0A7C9635EB}"/>
              </a:ext>
            </a:extLst>
          </p:cNvPr>
          <p:cNvSpPr>
            <a:spLocks noGrp="1"/>
          </p:cNvSpPr>
          <p:nvPr>
            <p:ph type="title"/>
          </p:nvPr>
        </p:nvSpPr>
        <p:spPr/>
        <p:txBody>
          <a:bodyPr/>
          <a:lstStyle/>
          <a:p>
            <a:r>
              <a:rPr lang="en-US" dirty="0"/>
              <a:t>Non-degree credential legislation</a:t>
            </a:r>
          </a:p>
        </p:txBody>
      </p:sp>
      <p:sp>
        <p:nvSpPr>
          <p:cNvPr id="10" name="Subtitle 9">
            <a:extLst>
              <a:ext uri="{FF2B5EF4-FFF2-40B4-BE49-F238E27FC236}">
                <a16:creationId xmlns:a16="http://schemas.microsoft.com/office/drawing/2014/main" id="{36FE8144-5E5E-400A-88B7-BE9D969B6938}"/>
              </a:ext>
            </a:extLst>
          </p:cNvPr>
          <p:cNvSpPr>
            <a:spLocks noGrp="1"/>
          </p:cNvSpPr>
          <p:nvPr>
            <p:ph type="subTitle" sz="quarter" idx="1000"/>
          </p:nvPr>
        </p:nvSpPr>
        <p:spPr/>
        <p:txBody>
          <a:bodyPr/>
          <a:lstStyle/>
          <a:p>
            <a:endParaRPr lang="en-US"/>
          </a:p>
        </p:txBody>
      </p:sp>
      <p:sp>
        <p:nvSpPr>
          <p:cNvPr id="5" name="Text Placeholder 4">
            <a:extLst>
              <a:ext uri="{FF2B5EF4-FFF2-40B4-BE49-F238E27FC236}">
                <a16:creationId xmlns:a16="http://schemas.microsoft.com/office/drawing/2014/main" id="{827812FE-F920-4071-9455-4CD067E9FEFB}"/>
              </a:ext>
            </a:extLst>
          </p:cNvPr>
          <p:cNvSpPr>
            <a:spLocks noGrp="1"/>
          </p:cNvSpPr>
          <p:nvPr>
            <p:ph type="body" sz="quarter" idx="500"/>
          </p:nvPr>
        </p:nvSpPr>
        <p:spPr/>
        <p:txBody>
          <a:bodyPr/>
          <a:lstStyle/>
          <a:p>
            <a:r>
              <a:rPr lang="en-US" dirty="0"/>
              <a:t>Richmond Main Street Station</a:t>
            </a:r>
          </a:p>
        </p:txBody>
      </p:sp>
      <p:sp>
        <p:nvSpPr>
          <p:cNvPr id="4" name="Slide Number Placeholder 3">
            <a:extLst>
              <a:ext uri="{FF2B5EF4-FFF2-40B4-BE49-F238E27FC236}">
                <a16:creationId xmlns:a16="http://schemas.microsoft.com/office/drawing/2014/main" id="{BDF7D71A-9D25-401F-AD74-54C2920C390C}"/>
              </a:ext>
            </a:extLst>
          </p:cNvPr>
          <p:cNvSpPr>
            <a:spLocks noGrp="1"/>
          </p:cNvSpPr>
          <p:nvPr>
            <p:ph type="sldNum" sz="quarter" idx="112"/>
          </p:nvPr>
        </p:nvSpPr>
        <p:spPr/>
        <p:txBody>
          <a:bodyPr/>
          <a:lstStyle/>
          <a:p>
            <a:pPr marL="12700"/>
            <a:fld id="{078C017C-E1B9-8443-B047-B08AAA027B45}" type="slidenum">
              <a:rPr lang="en-US" smtClean="0"/>
              <a:pPr marL="12700"/>
              <a:t>4</a:t>
            </a:fld>
            <a:endParaRPr lang="en-US"/>
          </a:p>
        </p:txBody>
      </p:sp>
    </p:spTree>
    <p:extLst>
      <p:ext uri="{BB962C8B-B14F-4D97-AF65-F5344CB8AC3E}">
        <p14:creationId xmlns:p14="http://schemas.microsoft.com/office/powerpoint/2010/main" val="17335512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1B37BDB5-F951-4269-B13E-1E9E429168CC}"/>
              </a:ext>
            </a:extLst>
          </p:cNvPr>
          <p:cNvPicPr>
            <a:picLocks noGrp="1" noChangeAspect="1"/>
          </p:cNvPicPr>
          <p:nvPr>
            <p:ph type="pic" sz="quarter" idx="13"/>
          </p:nvPr>
        </p:nvPicPr>
        <p:blipFill>
          <a:blip r:embed="rId2"/>
          <a:srcRect t="8113" b="8113"/>
          <a:stretch>
            <a:fillRect/>
          </a:stretch>
        </p:blipFill>
        <p:spPr>
          <a:prstGeom prst="rect">
            <a:avLst/>
          </a:prstGeom>
        </p:spPr>
      </p:pic>
      <p:sp>
        <p:nvSpPr>
          <p:cNvPr id="3" name="Text Placeholder 2">
            <a:extLst>
              <a:ext uri="{FF2B5EF4-FFF2-40B4-BE49-F238E27FC236}">
                <a16:creationId xmlns:a16="http://schemas.microsoft.com/office/drawing/2014/main" id="{C2EB3DB1-FFB5-4469-894E-665DF6E4BBE9}"/>
              </a:ext>
            </a:extLst>
          </p:cNvPr>
          <p:cNvSpPr>
            <a:spLocks noGrp="1"/>
          </p:cNvSpPr>
          <p:nvPr>
            <p:ph type="body" sz="quarter" idx="200"/>
          </p:nvPr>
        </p:nvSpPr>
        <p:spPr/>
        <p:txBody>
          <a:bodyPr/>
          <a:lstStyle/>
          <a:p>
            <a:r>
              <a:rPr lang="en-US" dirty="0"/>
              <a:t>HB 565:  </a:t>
            </a:r>
            <a:r>
              <a:rPr lang="en-US" sz="1800" b="0" i="0" dirty="0">
                <a:effectLst/>
                <a:latin typeface="Arial" panose="020B0604020202020204" pitchFamily="34" charset="0"/>
              </a:rPr>
              <a:t>Advanced Manufacturing Talent Investment Program and Fund; created, report.</a:t>
            </a:r>
            <a:endParaRPr lang="en-US" dirty="0"/>
          </a:p>
          <a:p>
            <a:r>
              <a:rPr lang="en-US" b="0" dirty="0"/>
              <a:t>Advanced Manufacturing Talent Investment Program and Fund. Creates the Advanced Manufacturing Talent Investment Program and Fund to assist qualified institutions, as defined in the bill, in reaching, by 2042, a goal of increasing by at least 25,000 new eligible credentials, which are noncredit workforce credentials awarded by a qualified institution in a high demand advanced manufacturing field as identified by the Board of Workforce Development. To be eligible for an annual grant, a qualified institution is required to enter into a memorandum of understanding setting forth specific criteria for eligible credentials, eligible expenses, credential production goals, and completion rates.</a:t>
            </a:r>
          </a:p>
        </p:txBody>
      </p:sp>
      <p:sp>
        <p:nvSpPr>
          <p:cNvPr id="4" name="Title 3">
            <a:extLst>
              <a:ext uri="{FF2B5EF4-FFF2-40B4-BE49-F238E27FC236}">
                <a16:creationId xmlns:a16="http://schemas.microsoft.com/office/drawing/2014/main" id="{24937F15-7B15-46BF-B9F7-F519B64D1C52}"/>
              </a:ext>
            </a:extLst>
          </p:cNvPr>
          <p:cNvSpPr>
            <a:spLocks noGrp="1"/>
          </p:cNvSpPr>
          <p:nvPr>
            <p:ph type="title"/>
          </p:nvPr>
        </p:nvSpPr>
        <p:spPr/>
        <p:txBody>
          <a:bodyPr/>
          <a:lstStyle/>
          <a:p>
            <a:r>
              <a:rPr lang="en-US" dirty="0"/>
              <a:t>Non-degree credential legislation</a:t>
            </a:r>
          </a:p>
        </p:txBody>
      </p:sp>
      <p:sp>
        <p:nvSpPr>
          <p:cNvPr id="5" name="Subtitle 4">
            <a:extLst>
              <a:ext uri="{FF2B5EF4-FFF2-40B4-BE49-F238E27FC236}">
                <a16:creationId xmlns:a16="http://schemas.microsoft.com/office/drawing/2014/main" id="{23BA8283-A651-4DF9-B7EB-5D0150F61549}"/>
              </a:ext>
            </a:extLst>
          </p:cNvPr>
          <p:cNvSpPr>
            <a:spLocks noGrp="1"/>
          </p:cNvSpPr>
          <p:nvPr>
            <p:ph type="subTitle" sz="quarter" idx="1000"/>
          </p:nvPr>
        </p:nvSpPr>
        <p:spPr/>
        <p:txBody>
          <a:bodyPr/>
          <a:lstStyle/>
          <a:p>
            <a:endParaRPr lang="en-US"/>
          </a:p>
        </p:txBody>
      </p:sp>
      <p:sp>
        <p:nvSpPr>
          <p:cNvPr id="6" name="Text Placeholder 5">
            <a:extLst>
              <a:ext uri="{FF2B5EF4-FFF2-40B4-BE49-F238E27FC236}">
                <a16:creationId xmlns:a16="http://schemas.microsoft.com/office/drawing/2014/main" id="{771BA893-1993-4CE7-8494-5314A42C6753}"/>
              </a:ext>
            </a:extLst>
          </p:cNvPr>
          <p:cNvSpPr>
            <a:spLocks noGrp="1"/>
          </p:cNvSpPr>
          <p:nvPr>
            <p:ph type="body" sz="quarter" idx="500"/>
          </p:nvPr>
        </p:nvSpPr>
        <p:spPr/>
        <p:txBody>
          <a:bodyPr/>
          <a:lstStyle/>
          <a:p>
            <a:r>
              <a:rPr lang="en-US" dirty="0"/>
              <a:t>Arlington County</a:t>
            </a:r>
          </a:p>
        </p:txBody>
      </p:sp>
      <p:sp>
        <p:nvSpPr>
          <p:cNvPr id="7" name="Slide Number Placeholder 6">
            <a:extLst>
              <a:ext uri="{FF2B5EF4-FFF2-40B4-BE49-F238E27FC236}">
                <a16:creationId xmlns:a16="http://schemas.microsoft.com/office/drawing/2014/main" id="{6EAF5F01-9E8F-4A85-9405-5635EA0F2297}"/>
              </a:ext>
            </a:extLst>
          </p:cNvPr>
          <p:cNvSpPr>
            <a:spLocks noGrp="1"/>
          </p:cNvSpPr>
          <p:nvPr>
            <p:ph type="sldNum" sz="quarter" idx="112"/>
          </p:nvPr>
        </p:nvSpPr>
        <p:spPr/>
        <p:txBody>
          <a:bodyPr/>
          <a:lstStyle/>
          <a:p>
            <a:pPr marL="12700"/>
            <a:fld id="{078C017C-E1B9-8443-B047-B08AAA027B45}" type="slidenum">
              <a:rPr lang="en-US" smtClean="0"/>
              <a:pPr marL="12700"/>
              <a:t>5</a:t>
            </a:fld>
            <a:endParaRPr lang="en-US"/>
          </a:p>
        </p:txBody>
      </p:sp>
    </p:spTree>
    <p:extLst>
      <p:ext uri="{BB962C8B-B14F-4D97-AF65-F5344CB8AC3E}">
        <p14:creationId xmlns:p14="http://schemas.microsoft.com/office/powerpoint/2010/main" val="391710095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Content Placeholder 5" descr="A picture containing water, sky, outdoor, boat&#10;&#10;Description automatically generated">
            <a:extLst>
              <a:ext uri="{FF2B5EF4-FFF2-40B4-BE49-F238E27FC236}">
                <a16:creationId xmlns:a16="http://schemas.microsoft.com/office/drawing/2014/main" id="{AAF512C2-A6A8-420A-881F-0AA7FFF32D9A}"/>
              </a:ext>
            </a:extLst>
          </p:cNvPr>
          <p:cNvPicPr>
            <a:picLocks noGrp="1" noChangeAspect="1"/>
          </p:cNvPicPr>
          <p:nvPr>
            <p:ph type="pic" sz="quarter" idx="25"/>
          </p:nvPr>
        </p:nvPicPr>
        <p:blipFill rotWithShape="1">
          <a:blip r:embed="rId2"/>
          <a:srcRect t="10831" b="31289"/>
          <a:stretch/>
        </p:blipFill>
        <p:spPr>
          <a:xfrm>
            <a:off x="6383338" y="1112838"/>
            <a:ext cx="5808662" cy="5053012"/>
          </a:xfrm>
        </p:spPr>
      </p:pic>
      <p:sp>
        <p:nvSpPr>
          <p:cNvPr id="11" name="Text Placeholder 10">
            <a:extLst>
              <a:ext uri="{FF2B5EF4-FFF2-40B4-BE49-F238E27FC236}">
                <a16:creationId xmlns:a16="http://schemas.microsoft.com/office/drawing/2014/main" id="{D58D06FD-860A-4C46-BBC1-F5B92DD88128}"/>
              </a:ext>
            </a:extLst>
          </p:cNvPr>
          <p:cNvSpPr>
            <a:spLocks noGrp="1"/>
          </p:cNvSpPr>
          <p:nvPr>
            <p:ph type="body" sz="quarter" idx="500"/>
          </p:nvPr>
        </p:nvSpPr>
        <p:spPr/>
        <p:txBody>
          <a:bodyPr/>
          <a:lstStyle/>
          <a:p>
            <a:r>
              <a:rPr lang="en-US"/>
              <a:t>Chesapeake Bay Bridge</a:t>
            </a:r>
          </a:p>
        </p:txBody>
      </p:sp>
      <p:sp>
        <p:nvSpPr>
          <p:cNvPr id="7" name="Slide Number Placeholder 6">
            <a:extLst>
              <a:ext uri="{FF2B5EF4-FFF2-40B4-BE49-F238E27FC236}">
                <a16:creationId xmlns:a16="http://schemas.microsoft.com/office/drawing/2014/main" id="{122A1919-D34D-402D-8963-1ACF13A99012}"/>
              </a:ext>
            </a:extLst>
          </p:cNvPr>
          <p:cNvSpPr>
            <a:spLocks noGrp="1"/>
          </p:cNvSpPr>
          <p:nvPr>
            <p:ph type="sldNum" sz="quarter" idx="103"/>
          </p:nvPr>
        </p:nvSpPr>
        <p:spPr/>
        <p:txBody>
          <a:bodyPr/>
          <a:lstStyle/>
          <a:p>
            <a:pPr marL="12700"/>
            <a:fld id="{078C017C-E1B9-8443-B047-B08AAA027B45}" type="slidenum">
              <a:rPr lang="en-US" smtClean="0"/>
              <a:pPr marL="12700"/>
              <a:t>6</a:t>
            </a:fld>
            <a:endParaRPr lang="en-US"/>
          </a:p>
        </p:txBody>
      </p:sp>
      <p:sp>
        <p:nvSpPr>
          <p:cNvPr id="10" name="Text Placeholder 9">
            <a:extLst>
              <a:ext uri="{FF2B5EF4-FFF2-40B4-BE49-F238E27FC236}">
                <a16:creationId xmlns:a16="http://schemas.microsoft.com/office/drawing/2014/main" id="{68860148-5177-4D00-B130-82C364958E7A}"/>
              </a:ext>
            </a:extLst>
          </p:cNvPr>
          <p:cNvSpPr>
            <a:spLocks noGrp="1"/>
          </p:cNvSpPr>
          <p:nvPr>
            <p:ph type="body" sz="quarter" idx="200"/>
          </p:nvPr>
        </p:nvSpPr>
        <p:spPr/>
        <p:txBody>
          <a:bodyPr/>
          <a:lstStyle/>
          <a:p>
            <a:r>
              <a:rPr lang="en-US" sz="1500" dirty="0"/>
              <a:t>Skills Database</a:t>
            </a:r>
          </a:p>
          <a:p>
            <a:pPr lvl="2"/>
            <a:r>
              <a:rPr lang="en-US" sz="1500" dirty="0"/>
              <a:t>Collect information on skills and competencies taught in Virginia higher ed and some secondary programs</a:t>
            </a:r>
          </a:p>
          <a:p>
            <a:pPr lvl="2"/>
            <a:r>
              <a:rPr lang="en-US" sz="1500" dirty="0"/>
              <a:t>Collect information on non-degree credentials awarded in education programs.</a:t>
            </a:r>
          </a:p>
          <a:p>
            <a:pPr lvl="2"/>
            <a:r>
              <a:rPr lang="en-US" sz="1500" dirty="0"/>
              <a:t>Will be directly included into the supply demand metrics</a:t>
            </a:r>
          </a:p>
          <a:p>
            <a:pPr lvl="2"/>
            <a:r>
              <a:rPr lang="en-US" sz="1500" dirty="0"/>
              <a:t>Can be used to inform:</a:t>
            </a:r>
          </a:p>
          <a:p>
            <a:pPr lvl="3"/>
            <a:r>
              <a:rPr lang="en-US" sz="1500" dirty="0"/>
              <a:t>Worker preparation or reskilling</a:t>
            </a:r>
          </a:p>
          <a:p>
            <a:pPr lvl="3"/>
            <a:r>
              <a:rPr lang="en-US" sz="1500" dirty="0"/>
              <a:t>Transference of skills for skills-based hiring</a:t>
            </a:r>
          </a:p>
          <a:p>
            <a:pPr lvl="3"/>
            <a:r>
              <a:rPr lang="en-US" sz="1500" dirty="0"/>
              <a:t>Student decision making/career navigation</a:t>
            </a:r>
          </a:p>
          <a:p>
            <a:pPr lvl="3"/>
            <a:r>
              <a:rPr lang="en-US" sz="1500" dirty="0"/>
              <a:t>Individual Learner records </a:t>
            </a:r>
          </a:p>
          <a:p>
            <a:r>
              <a:rPr lang="en-US" sz="1500" dirty="0"/>
              <a:t>Alumni Tracking – Database will be built by collecting social media information related to education and work for graduates of Virginia institutions</a:t>
            </a:r>
          </a:p>
          <a:p>
            <a:pPr lvl="2"/>
            <a:r>
              <a:rPr lang="en-US" sz="1500" dirty="0"/>
              <a:t>Help to understand first/second jobs out of school, occupations, migration, non-degree credentials students have acquired.</a:t>
            </a:r>
          </a:p>
          <a:p>
            <a:pPr lvl="2"/>
            <a:r>
              <a:rPr lang="en-US" sz="1500" dirty="0"/>
              <a:t>An addition to the recent survey of graduate</a:t>
            </a:r>
          </a:p>
          <a:p>
            <a:pPr lvl="2"/>
            <a:r>
              <a:rPr lang="en-US" sz="1500" dirty="0"/>
              <a:t>Can be used to inform:</a:t>
            </a:r>
          </a:p>
          <a:p>
            <a:pPr lvl="3"/>
            <a:r>
              <a:rPr lang="en-US" sz="1500" dirty="0"/>
              <a:t>Pathways work</a:t>
            </a:r>
          </a:p>
          <a:p>
            <a:pPr lvl="3"/>
            <a:r>
              <a:rPr lang="en-US" sz="1500" dirty="0"/>
              <a:t>Student and worker navigation</a:t>
            </a:r>
          </a:p>
          <a:p>
            <a:pPr lvl="3"/>
            <a:r>
              <a:rPr lang="en-US" sz="1500" dirty="0"/>
              <a:t>Migration</a:t>
            </a:r>
          </a:p>
          <a:p>
            <a:pPr lvl="3"/>
            <a:r>
              <a:rPr lang="en-US" sz="1500" dirty="0"/>
              <a:t>Occupation/wage/major alignment</a:t>
            </a:r>
          </a:p>
          <a:p>
            <a:endParaRPr lang="en-US" sz="1500" dirty="0"/>
          </a:p>
          <a:p>
            <a:endParaRPr lang="en-US" sz="1500" dirty="0"/>
          </a:p>
          <a:p>
            <a:endParaRPr lang="en-US" sz="1500" dirty="0"/>
          </a:p>
        </p:txBody>
      </p:sp>
      <p:sp>
        <p:nvSpPr>
          <p:cNvPr id="8" name="Title 7">
            <a:extLst>
              <a:ext uri="{FF2B5EF4-FFF2-40B4-BE49-F238E27FC236}">
                <a16:creationId xmlns:a16="http://schemas.microsoft.com/office/drawing/2014/main" id="{AC0B8896-8EAA-49F2-965A-560F4BB65BA0}"/>
              </a:ext>
            </a:extLst>
          </p:cNvPr>
          <p:cNvSpPr>
            <a:spLocks noGrp="1"/>
          </p:cNvSpPr>
          <p:nvPr>
            <p:ph type="title"/>
          </p:nvPr>
        </p:nvSpPr>
        <p:spPr/>
        <p:txBody>
          <a:bodyPr/>
          <a:lstStyle/>
          <a:p>
            <a:r>
              <a:rPr lang="en-US" err="1"/>
              <a:t>VOEE</a:t>
            </a:r>
            <a:r>
              <a:rPr lang="en-US"/>
              <a:t> Skills Initiative Will develop two new data sets for the Commonwealth to inform data driven decision making for stakeholders at all levels</a:t>
            </a:r>
          </a:p>
        </p:txBody>
      </p:sp>
    </p:spTree>
    <p:extLst>
      <p:ext uri="{BB962C8B-B14F-4D97-AF65-F5344CB8AC3E}">
        <p14:creationId xmlns:p14="http://schemas.microsoft.com/office/powerpoint/2010/main" val="38607444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a:extLst>
              <a:ext uri="{FF2B5EF4-FFF2-40B4-BE49-F238E27FC236}">
                <a16:creationId xmlns:a16="http://schemas.microsoft.com/office/drawing/2014/main" id="{0D847C08-7211-4F4D-ADCD-EDBE2ABED92E}"/>
              </a:ext>
            </a:extLst>
          </p:cNvPr>
          <p:cNvPicPr>
            <a:picLocks noGrp="1" noChangeAspect="1"/>
          </p:cNvPicPr>
          <p:nvPr>
            <p:ph type="pic" sz="quarter" idx="10"/>
          </p:nvPr>
        </p:nvPicPr>
        <p:blipFill rotWithShape="1">
          <a:blip r:embed="rId2">
            <a:extLst>
              <a:ext uri="{28A0092B-C50C-407E-A947-70E740481C1C}">
                <a14:useLocalDpi xmlns:a14="http://schemas.microsoft.com/office/drawing/2010/main" val="0"/>
              </a:ext>
            </a:extLst>
          </a:blip>
          <a:srcRect l="1" t="16380" r="38696" b="31896"/>
          <a:stretch/>
        </p:blipFill>
        <p:spPr>
          <a:xfrm>
            <a:off x="0" y="0"/>
            <a:ext cx="12192000" cy="6858000"/>
          </a:xfrm>
          <a:effectLst>
            <a:innerShdw blurRad="812800" dist="787400" dir="5400000">
              <a:prstClr val="black">
                <a:alpha val="50000"/>
              </a:prstClr>
            </a:innerShdw>
          </a:effectLst>
        </p:spPr>
      </p:pic>
      <p:sp>
        <p:nvSpPr>
          <p:cNvPr id="6" name="Text Placeholder 5">
            <a:extLst>
              <a:ext uri="{FF2B5EF4-FFF2-40B4-BE49-F238E27FC236}">
                <a16:creationId xmlns:a16="http://schemas.microsoft.com/office/drawing/2014/main" id="{A8C74E3F-0D42-4EAA-9D1E-33F5A54D453B}"/>
              </a:ext>
            </a:extLst>
          </p:cNvPr>
          <p:cNvSpPr>
            <a:spLocks noGrp="1"/>
          </p:cNvSpPr>
          <p:nvPr>
            <p:ph type="body" sz="quarter" idx="200"/>
          </p:nvPr>
        </p:nvSpPr>
        <p:spPr/>
        <p:txBody>
          <a:bodyPr/>
          <a:lstStyle/>
          <a:p>
            <a:r>
              <a:rPr lang="en-US" sz="4000" dirty="0"/>
              <a:t>Questions? </a:t>
            </a:r>
            <a:br>
              <a:rPr lang="en-US" sz="4000" dirty="0"/>
            </a:br>
            <a:r>
              <a:rPr lang="en-US" sz="4000" dirty="0"/>
              <a:t>Get in touch </a:t>
            </a:r>
            <a:endParaRPr lang="en-US" sz="4000"/>
          </a:p>
          <a:p>
            <a:r>
              <a:rPr lang="en-US" dirty="0"/>
              <a:t>Heather McKay</a:t>
            </a:r>
            <a:r>
              <a:rPr lang="en-US" b="0" dirty="0"/>
              <a:t> </a:t>
            </a:r>
            <a:br>
              <a:rPr lang="en-US" b="0" dirty="0"/>
            </a:br>
            <a:r>
              <a:rPr lang="en-US" b="0" dirty="0"/>
              <a:t>Executive Director </a:t>
            </a:r>
            <a:br>
              <a:rPr lang="en-US" b="0" dirty="0"/>
            </a:br>
            <a:r>
              <a:rPr lang="en-US" b="0" u="sng" dirty="0">
                <a:hlinkClick r:id="rId3"/>
              </a:rPr>
              <a:t>hmckay@vedp.org</a:t>
            </a:r>
            <a:r>
              <a:rPr lang="en-US" b="0" dirty="0"/>
              <a:t> </a:t>
            </a:r>
            <a:endParaRPr lang="en-US" b="0" dirty="0">
              <a:cs typeface="Arial"/>
            </a:endParaRPr>
          </a:p>
          <a:p>
            <a:endParaRPr lang="en-US" b="0" dirty="0">
              <a:cs typeface="Arial"/>
            </a:endParaRPr>
          </a:p>
        </p:txBody>
      </p:sp>
      <p:sp>
        <p:nvSpPr>
          <p:cNvPr id="4" name="Slide Number Placeholder 3">
            <a:extLst>
              <a:ext uri="{FF2B5EF4-FFF2-40B4-BE49-F238E27FC236}">
                <a16:creationId xmlns:a16="http://schemas.microsoft.com/office/drawing/2014/main" id="{1194153A-FE28-4E06-BF9B-3D8C50DADE94}"/>
              </a:ext>
            </a:extLst>
          </p:cNvPr>
          <p:cNvSpPr>
            <a:spLocks noGrp="1"/>
          </p:cNvSpPr>
          <p:nvPr>
            <p:ph type="sldNum" sz="quarter" idx="112"/>
          </p:nvPr>
        </p:nvSpPr>
        <p:spPr/>
        <p:txBody>
          <a:bodyPr/>
          <a:lstStyle/>
          <a:p>
            <a:pPr marL="12700"/>
            <a:fld id="{078C017C-E1B9-8443-B047-B08AAA027B45}" type="slidenum">
              <a:rPr lang="en-US" smtClean="0"/>
              <a:pPr marL="12700"/>
              <a:t>7</a:t>
            </a:fld>
            <a:endParaRPr lang="en-US"/>
          </a:p>
        </p:txBody>
      </p:sp>
      <p:sp>
        <p:nvSpPr>
          <p:cNvPr id="7" name="Text Placeholder 6">
            <a:extLst>
              <a:ext uri="{FF2B5EF4-FFF2-40B4-BE49-F238E27FC236}">
                <a16:creationId xmlns:a16="http://schemas.microsoft.com/office/drawing/2014/main" id="{7FB9EECA-165B-4F2C-AC3C-3E6CFDD7E641}"/>
              </a:ext>
            </a:extLst>
          </p:cNvPr>
          <p:cNvSpPr>
            <a:spLocks noGrp="1"/>
          </p:cNvSpPr>
          <p:nvPr>
            <p:ph type="body" sz="quarter" idx="500"/>
          </p:nvPr>
        </p:nvSpPr>
        <p:spPr>
          <a:xfrm>
            <a:off x="7947046" y="6048426"/>
            <a:ext cx="3657167" cy="304699"/>
          </a:xfrm>
        </p:spPr>
        <p:txBody>
          <a:bodyPr/>
          <a:lstStyle/>
          <a:p>
            <a:r>
              <a:rPr lang="en-US"/>
              <a:t>Maggie L. Walker Governor’s School, </a:t>
            </a:r>
            <a:br>
              <a:rPr lang="en-US"/>
            </a:br>
            <a:r>
              <a:rPr lang="en-US"/>
              <a:t>Richmond</a:t>
            </a:r>
          </a:p>
        </p:txBody>
      </p:sp>
    </p:spTree>
    <p:extLst>
      <p:ext uri="{BB962C8B-B14F-4D97-AF65-F5344CB8AC3E}">
        <p14:creationId xmlns:p14="http://schemas.microsoft.com/office/powerpoint/2010/main" val="263977192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EDP - Q2 2020">
  <a:themeElements>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fontScheme name="Arial">
      <a:majorFont>
        <a:latin typeface="Arial Bold"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0" tIns="0" rIns="0" bIns="0" rtlCol="0" anchor="t">
        <a:spAutoFit/>
      </a:bodyPr>
      <a:lstStyle>
        <a:defPPr algn="l">
          <a:defRPr sz="1400" dirty="0" err="1" smtClean="0">
            <a:latin typeface="Arial" charset="0"/>
            <a:ea typeface="Arial" charset="0"/>
            <a:cs typeface="Arial" charset="0"/>
          </a:defRPr>
        </a:defPPr>
      </a:lstStyle>
    </a:txDef>
  </a:objectDefaults>
  <a:extraClrSchemeLst/>
  <a:custClrLst>
    <a:custClr name="#428249">
      <a:srgbClr val="428249"/>
    </a:custClr>
    <a:custClr name="#6FA775">
      <a:srgbClr val="6FA775"/>
    </a:custClr>
    <a:custClr name="#9CCCA2">
      <a:srgbClr val="9CCCA2"/>
    </a:custClr>
    <a:custClr name="#EE9286">
      <a:srgbClr val="EE9286"/>
    </a:custClr>
    <a:custClr name="#D15F4F">
      <a:srgbClr val="D15F4F"/>
    </a:custClr>
    <a:custClr name="#B52C19">
      <a:srgbClr val="B52C19"/>
    </a:custClr>
    <a:custClr name="Blank">
      <a:srgbClr val="FFFFFF"/>
    </a:custClr>
    <a:custClr name="Blank">
      <a:srgbClr val="FFFFFF"/>
    </a:custClr>
    <a:custClr name="Blank">
      <a:srgbClr val="FFFFFF"/>
    </a:custClr>
    <a:custClr name="Blank">
      <a:srgbClr val="FFFFFF"/>
    </a:custClr>
    <a:custClr name="#D9E9F7">
      <a:srgbClr val="D9E9F7"/>
    </a:custClr>
    <a:custClr name="#97CAED">
      <a:srgbClr val="97CAED"/>
    </a:custClr>
    <a:custClr name="#0C9ED9">
      <a:srgbClr val="0C9ED9"/>
    </a:custClr>
    <a:custClr name="#0070B4">
      <a:srgbClr val="0070B4"/>
    </a:custClr>
    <a:custClr name="#00508C">
      <a:srgbClr val="00508C"/>
    </a:custClr>
    <a:custClr name="#003865">
      <a:srgbClr val="003865"/>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Team Virginia Widescreen Template 2021" id="{2200ADEA-DACD-2A47-BBCD-3C0A1D36FA91}" vid="{59AA84CC-3007-F34D-B0F6-3E6676AEF0DD}"/>
    </a:ext>
  </a:extLst>
</a:theme>
</file>

<file path=ppt/theme/theme2.xml><?xml version="1.0" encoding="utf-8"?>
<a:theme xmlns:a="http://schemas.openxmlformats.org/drawingml/2006/main" name="VEDP - Q2 2020">
  <a:themeElements>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fontScheme name="Arial">
      <a:majorFont>
        <a:latin typeface="Arial Bold"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0" tIns="0" rIns="0" bIns="0" rtlCol="0" anchor="t">
        <a:spAutoFit/>
      </a:bodyPr>
      <a:lstStyle>
        <a:defPPr algn="l">
          <a:defRPr sz="1400" dirty="0" err="1" smtClean="0">
            <a:latin typeface="Arial" charset="0"/>
            <a:ea typeface="Arial" charset="0"/>
            <a:cs typeface="Arial" charset="0"/>
          </a:defRPr>
        </a:defPPr>
      </a:lstStyle>
    </a:txDef>
  </a:objectDefaults>
  <a:extraClrSchemeLst/>
  <a:custClrLst>
    <a:custClr name="#428249">
      <a:srgbClr val="428249"/>
    </a:custClr>
    <a:custClr name="#6FA775">
      <a:srgbClr val="6FA775"/>
    </a:custClr>
    <a:custClr name="#9CCCA2">
      <a:srgbClr val="9CCCA2"/>
    </a:custClr>
    <a:custClr name="#EE9286">
      <a:srgbClr val="EE9286"/>
    </a:custClr>
    <a:custClr name="#D15F4F">
      <a:srgbClr val="D15F4F"/>
    </a:custClr>
    <a:custClr name="#B52C19">
      <a:srgbClr val="B52C19"/>
    </a:custClr>
    <a:custClr name="Blank">
      <a:srgbClr val="FFFFFF"/>
    </a:custClr>
    <a:custClr name="Blank">
      <a:srgbClr val="FFFFFF"/>
    </a:custClr>
    <a:custClr name="Blank">
      <a:srgbClr val="FFFFFF"/>
    </a:custClr>
    <a:custClr name="Blank">
      <a:srgbClr val="FFFFFF"/>
    </a:custClr>
    <a:custClr name="#D9E9F7">
      <a:srgbClr val="D9E9F7"/>
    </a:custClr>
    <a:custClr name="#97CAED">
      <a:srgbClr val="97CAED"/>
    </a:custClr>
    <a:custClr name="#0C9ED9">
      <a:srgbClr val="0C9ED9"/>
    </a:custClr>
    <a:custClr name="#0070B4">
      <a:srgbClr val="0070B4"/>
    </a:custClr>
    <a:custClr name="#00508C">
      <a:srgbClr val="00508C"/>
    </a:custClr>
    <a:custClr name="#003865">
      <a:srgbClr val="003865"/>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OEE Template_2021.potx" id="{78ADA45D-B509-A64C-83DD-B2E7C44A51A8}" vid="{FC212D22-4131-D249-A86E-537DD7D23BE8}"/>
    </a:ext>
  </a:extLst>
</a:theme>
</file>

<file path=ppt/theme/theme3.xml><?xml version="1.0" encoding="utf-8"?>
<a:theme xmlns:a="http://schemas.openxmlformats.org/drawingml/2006/main" name="1_VEDP - Q2 2020">
  <a:themeElements>
    <a:clrScheme name="VEDP 2019 2">
      <a:dk1>
        <a:srgbClr val="000000"/>
      </a:dk1>
      <a:lt1>
        <a:srgbClr val="FFFFFF"/>
      </a:lt1>
      <a:dk2>
        <a:srgbClr val="000000"/>
      </a:dk2>
      <a:lt2>
        <a:srgbClr val="FFFFFF"/>
      </a:lt2>
      <a:accent1>
        <a:srgbClr val="003865"/>
      </a:accent1>
      <a:accent2>
        <a:srgbClr val="007DBA"/>
      </a:accent2>
      <a:accent3>
        <a:srgbClr val="C3C3C3"/>
      </a:accent3>
      <a:accent4>
        <a:srgbClr val="707371"/>
      </a:accent4>
      <a:accent5>
        <a:srgbClr val="FFB900"/>
      </a:accent5>
      <a:accent6>
        <a:srgbClr val="F17916"/>
      </a:accent6>
      <a:hlink>
        <a:srgbClr val="003865"/>
      </a:hlink>
      <a:folHlink>
        <a:srgbClr val="003865"/>
      </a:folHlink>
    </a:clrScheme>
    <a:fontScheme name="Arial">
      <a:majorFont>
        <a:latin typeface="Arial Bold"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bodyPr vert="horz" wrap="none" lIns="0" tIns="0" rIns="0" bIns="0" rtlCol="0" anchor="t">
        <a:spAutoFit/>
      </a:bodyPr>
      <a:lstStyle>
        <a:defPPr algn="l">
          <a:defRPr sz="1400" dirty="0" err="1" smtClean="0">
            <a:latin typeface="Arial" charset="0"/>
            <a:ea typeface="Arial" charset="0"/>
            <a:cs typeface="Arial" charset="0"/>
          </a:defRPr>
        </a:defPPr>
      </a:lstStyle>
    </a:txDef>
  </a:objectDefaults>
  <a:extraClrSchemeLst/>
  <a:custClrLst>
    <a:custClr name="#428249">
      <a:srgbClr val="428249"/>
    </a:custClr>
    <a:custClr name="#6FA775">
      <a:srgbClr val="6FA775"/>
    </a:custClr>
    <a:custClr name="#9CCCA2">
      <a:srgbClr val="9CCCA2"/>
    </a:custClr>
    <a:custClr name="#EE9286">
      <a:srgbClr val="EE9286"/>
    </a:custClr>
    <a:custClr name="#D15F4F">
      <a:srgbClr val="D15F4F"/>
    </a:custClr>
    <a:custClr name="#B52C19">
      <a:srgbClr val="B52C19"/>
    </a:custClr>
    <a:custClr name="Blank">
      <a:srgbClr val="FFFFFF"/>
    </a:custClr>
    <a:custClr name="Blank">
      <a:srgbClr val="FFFFFF"/>
    </a:custClr>
    <a:custClr name="Blank">
      <a:srgbClr val="FFFFFF"/>
    </a:custClr>
    <a:custClr name="Blank">
      <a:srgbClr val="FFFFFF"/>
    </a:custClr>
    <a:custClr name="#D9E9F7">
      <a:srgbClr val="D9E9F7"/>
    </a:custClr>
    <a:custClr name="#97CAED">
      <a:srgbClr val="97CAED"/>
    </a:custClr>
    <a:custClr name="#0C9ED9">
      <a:srgbClr val="0C9ED9"/>
    </a:custClr>
    <a:custClr name="#0070B4">
      <a:srgbClr val="0070B4"/>
    </a:custClr>
    <a:custClr name="#00508C">
      <a:srgbClr val="00508C"/>
    </a:custClr>
    <a:custClr name="#003865">
      <a:srgbClr val="003865"/>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VOEE Template_2021.potx" id="{78ADA45D-B509-A64C-83DD-B2E7C44A51A8}" vid="{FC212D22-4131-D249-A86E-537DD7D23BE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59</TotalTime>
  <Words>720</Words>
  <Application>Microsoft Office PowerPoint</Application>
  <PresentationFormat>Widescreen</PresentationFormat>
  <Paragraphs>62</Paragraphs>
  <Slides>7</Slides>
  <Notes>1</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7</vt:i4>
      </vt:variant>
    </vt:vector>
  </HeadingPairs>
  <TitlesOfParts>
    <vt:vector size="16" baseType="lpstr">
      <vt:lpstr>Arial</vt:lpstr>
      <vt:lpstr>Arial Bold</vt:lpstr>
      <vt:lpstr>Calibri</vt:lpstr>
      <vt:lpstr>System Font Regular</vt:lpstr>
      <vt:lpstr>Wingdings</vt:lpstr>
      <vt:lpstr>VEDP - Q2 2020</vt:lpstr>
      <vt:lpstr>VEDP - Q2 2020</vt:lpstr>
      <vt:lpstr>1_VEDP - Q2 2020</vt:lpstr>
      <vt:lpstr>think-cell Slide</vt:lpstr>
      <vt:lpstr>Virginia Office  of Education Economics (VOEE)</vt:lpstr>
      <vt:lpstr>What we Do</vt:lpstr>
      <vt:lpstr>Non –Degree Credentials in Our work</vt:lpstr>
      <vt:lpstr>Non-degree credential legislation</vt:lpstr>
      <vt:lpstr>Non-degree credential legislation</vt:lpstr>
      <vt:lpstr>VOEE Skills Initiative Will develop two new data sets for the Commonwealth to inform data driven decision making for stakeholders at all level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cKay, Heather</dc:creator>
  <cp:lastModifiedBy>McKay, Heather</cp:lastModifiedBy>
  <cp:revision>20</cp:revision>
  <dcterms:created xsi:type="dcterms:W3CDTF">2022-04-27T13:22:51Z</dcterms:created>
  <dcterms:modified xsi:type="dcterms:W3CDTF">2022-04-28T15:53:34Z</dcterms:modified>
</cp:coreProperties>
</file>